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notesSlides/notesSlide1.xml" ContentType="application/vnd.openxmlformats-officedocument.presentationml.notesSlide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notesSlides/notesSlide2.xml" ContentType="application/vnd.openxmlformats-officedocument.presentationml.notesSlide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notesSlides/notesSlide3.xml" ContentType="application/vnd.openxmlformats-officedocument.presentationml.notesSlide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notesSlides/notesSlide4.xml" ContentType="application/vnd.openxmlformats-officedocument.presentationml.notesSlide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notesSlides/notesSlide5.xml" ContentType="application/vnd.openxmlformats-officedocument.presentationml.notesSlide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notesSlides/notesSlide6.xml" ContentType="application/vnd.openxmlformats-officedocument.presentationml.notesSlide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notesSlides/notesSlide7.xml" ContentType="application/vnd.openxmlformats-officedocument.presentationml.notesSlide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notesSlides/notesSlide8.xml" ContentType="application/vnd.openxmlformats-officedocument.presentationml.notesSlide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notesSlides/notesSlide9.xml" ContentType="application/vnd.openxmlformats-officedocument.presentationml.notesSlide+xml"/>
  <Override PartName="/ppt/tags/tag208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5117" r:id="rId1"/>
  </p:sldMasterIdLst>
  <p:notesMasterIdLst>
    <p:notesMasterId r:id="rId16"/>
  </p:notesMasterIdLst>
  <p:handoutMasterIdLst>
    <p:handoutMasterId r:id="rId17"/>
  </p:handoutMasterIdLst>
  <p:sldIdLst>
    <p:sldId id="279" r:id="rId2"/>
    <p:sldId id="301" r:id="rId3"/>
    <p:sldId id="302" r:id="rId4"/>
    <p:sldId id="368" r:id="rId5"/>
    <p:sldId id="363" r:id="rId6"/>
    <p:sldId id="364" r:id="rId7"/>
    <p:sldId id="365" r:id="rId8"/>
    <p:sldId id="366" r:id="rId9"/>
    <p:sldId id="367" r:id="rId10"/>
    <p:sldId id="359" r:id="rId11"/>
    <p:sldId id="360" r:id="rId12"/>
    <p:sldId id="369" r:id="rId13"/>
    <p:sldId id="371" r:id="rId14"/>
    <p:sldId id="278" r:id="rId15"/>
  </p:sldIdLst>
  <p:sldSz cx="12192000" cy="6858000"/>
  <p:notesSz cx="6950075" cy="9236075"/>
  <p:custShowLst>
    <p:custShow name="Format Guide Workshop" id="0">
      <p:sldLst/>
    </p:custShow>
  </p:custShowLst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06" autoAdjust="0"/>
    <p:restoredTop sz="96323" autoAdjust="0"/>
  </p:normalViewPr>
  <p:slideViewPr>
    <p:cSldViewPr snapToGrid="0">
      <p:cViewPr varScale="1">
        <p:scale>
          <a:sx n="67" d="100"/>
          <a:sy n="67" d="100"/>
        </p:scale>
        <p:origin x="48" y="12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75" d="100"/>
          <a:sy n="75" d="100"/>
        </p:scale>
        <p:origin x="2574" y="444"/>
      </p:cViewPr>
      <p:guideLst/>
    </p:cSldViewPr>
  </p:notesViewPr>
  <p:gridSpacing cx="39601" cy="39601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72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13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2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70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5/23/2019</a:t>
            </a:fld>
            <a:endParaRPr lang="en-US" sz="8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70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4410720"/>
            <a:ext cx="6948467" cy="48253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2427" y="3"/>
            <a:ext cx="2929274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40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6103" y="575009"/>
            <a:ext cx="6620256" cy="3724113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2427" y="8744096"/>
            <a:ext cx="2929274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40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70" y="8744096"/>
            <a:ext cx="2919957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40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59519" y="4714653"/>
            <a:ext cx="6413424" cy="3768947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3937000" y="0"/>
            <a:ext cx="301148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F2C7CF5F-7CF3-4DF3-838A-EE34544862CC}" type="datetimeFigureOut">
              <a:rPr lang="en-US" smtClean="0"/>
              <a:pPr/>
              <a:t>5/23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  <a:sym typeface="+mn-lt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  <a:sym typeface="+mn-lt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  <a:sym typeface="+mn-lt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  <a:sym typeface="+mn-lt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  <a:sym typeface="+mn-lt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 mod="1">
    <p:ext uri="{620B2872-D7B9-4A21-9093-7833F8D536E1}">
      <p15:sldGuideLst xmlns:p15="http://schemas.microsoft.com/office/powerpoint/2012/main">
        <p15:guide id="1" orient="horz" pos="2910" userDrawn="1">
          <p15:clr>
            <a:srgbClr val="F26B43"/>
          </p15:clr>
        </p15:guide>
        <p15:guide id="2" pos="2189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50838" y="725488"/>
            <a:ext cx="6430962" cy="36179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671613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83596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64977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8113" y="582613"/>
            <a:ext cx="6716712" cy="37798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smtClean="0"/>
              <a:t>Notes view: </a:t>
            </a:r>
            <a:fld id="{128CEAFE-FA94-43E5-B0FF-D47E1CCDD1B4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30276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76213" y="638175"/>
            <a:ext cx="7342188" cy="41290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970175" y="9695740"/>
            <a:ext cx="2944734" cy="51384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88339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2113" y="708025"/>
            <a:ext cx="6286500" cy="35369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094417" y="9154589"/>
            <a:ext cx="3036886" cy="485161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10829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7163" y="592138"/>
            <a:ext cx="6832600" cy="38433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059185" y="9021239"/>
            <a:ext cx="3010753" cy="478094"/>
          </a:xfrm>
          <a:prstGeom prst="rect">
            <a:avLst/>
          </a:prstGeom>
        </p:spPr>
        <p:txBody>
          <a:bodyPr/>
          <a:lstStyle/>
          <a:p>
            <a:pPr hangingPunct="0"/>
            <a:r>
              <a:rPr lang="en-US" ker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t>Notes view: </a:t>
            </a:r>
            <a:fld id="{128CEAFE-FA94-43E5-B0FF-D47E1CCDD1B4}" type="slidenum">
              <a:rPr lang="en-US" kern="0" smtClean="0">
                <a:solidFill>
                  <a:srgbClr val="000000"/>
                </a:solidFill>
                <a:latin typeface="Calibri"/>
                <a:cs typeface="Calibri"/>
                <a:sym typeface="Calibri"/>
              </a:rPr>
              <a:pPr hangingPunct="0"/>
              <a:t>8</a:t>
            </a:fld>
            <a:endParaRPr lang="en-US" kern="0" dirty="0"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302535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smtClean="0"/>
              <a:t>Notes view: </a:t>
            </a:r>
            <a:fld id="{128CEAFE-FA94-43E5-B0FF-D47E1CCDD1B4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1126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508000" y="665163"/>
            <a:ext cx="7646988" cy="43021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smtClean="0"/>
              <a:t>Notes view: </a:t>
            </a:r>
            <a:fld id="{128CEAFE-FA94-43E5-B0FF-D47E1CCDD1B4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49163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85277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5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Relationship Id="rId9" Type="http://schemas.openxmlformats.org/officeDocument/2006/relationships/image" Target="../media/image4.jp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9.xml"/><Relationship Id="rId7" Type="http://schemas.openxmlformats.org/officeDocument/2006/relationships/image" Target="../media/image5.emf"/><Relationship Id="rId2" Type="http://schemas.openxmlformats.org/officeDocument/2006/relationships/tags" Target="../tags/tag28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0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32.xml"/><Relationship Id="rId7" Type="http://schemas.openxmlformats.org/officeDocument/2006/relationships/image" Target="../media/image5.emf"/><Relationship Id="rId2" Type="http://schemas.openxmlformats.org/officeDocument/2006/relationships/tags" Target="../tags/tag31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3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35.xml"/><Relationship Id="rId7" Type="http://schemas.openxmlformats.org/officeDocument/2006/relationships/image" Target="../media/image5.emf"/><Relationship Id="rId2" Type="http://schemas.openxmlformats.org/officeDocument/2006/relationships/tags" Target="../tags/tag34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6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38.xml"/><Relationship Id="rId7" Type="http://schemas.openxmlformats.org/officeDocument/2006/relationships/image" Target="../media/image5.emf"/><Relationship Id="rId2" Type="http://schemas.openxmlformats.org/officeDocument/2006/relationships/tags" Target="../tags/tag37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9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g"/><Relationship Id="rId3" Type="http://schemas.openxmlformats.org/officeDocument/2006/relationships/tags" Target="../tags/tag41.xml"/><Relationship Id="rId7" Type="http://schemas.openxmlformats.org/officeDocument/2006/relationships/image" Target="../media/image5.emf"/><Relationship Id="rId2" Type="http://schemas.openxmlformats.org/officeDocument/2006/relationships/tags" Target="../tags/tag40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2.xml"/><Relationship Id="rId9" Type="http://schemas.openxmlformats.org/officeDocument/2006/relationships/image" Target="../media/image8.pn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44.xml"/><Relationship Id="rId7" Type="http://schemas.openxmlformats.org/officeDocument/2006/relationships/image" Target="../media/image9.emf"/><Relationship Id="rId2" Type="http://schemas.openxmlformats.org/officeDocument/2006/relationships/tags" Target="../tags/tag43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5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47.xml"/><Relationship Id="rId7" Type="http://schemas.openxmlformats.org/officeDocument/2006/relationships/image" Target="../media/image5.emf"/><Relationship Id="rId2" Type="http://schemas.openxmlformats.org/officeDocument/2006/relationships/tags" Target="../tags/tag46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8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50.xml"/><Relationship Id="rId7" Type="http://schemas.openxmlformats.org/officeDocument/2006/relationships/image" Target="../media/image5.emf"/><Relationship Id="rId2" Type="http://schemas.openxmlformats.org/officeDocument/2006/relationships/tags" Target="../tags/tag49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53.xml"/><Relationship Id="rId7" Type="http://schemas.openxmlformats.org/officeDocument/2006/relationships/image" Target="../media/image5.emf"/><Relationship Id="rId2" Type="http://schemas.openxmlformats.org/officeDocument/2006/relationships/tags" Target="../tags/tag52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4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56.xml"/><Relationship Id="rId7" Type="http://schemas.openxmlformats.org/officeDocument/2006/relationships/image" Target="../media/image5.emf"/><Relationship Id="rId2" Type="http://schemas.openxmlformats.org/officeDocument/2006/relationships/tags" Target="../tags/tag55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59.xml"/><Relationship Id="rId7" Type="http://schemas.openxmlformats.org/officeDocument/2006/relationships/image" Target="../media/image5.emf"/><Relationship Id="rId2" Type="http://schemas.openxmlformats.org/officeDocument/2006/relationships/tags" Target="../tags/tag58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0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7" Type="http://schemas.openxmlformats.org/officeDocument/2006/relationships/image" Target="../media/image5.emf"/><Relationship Id="rId2" Type="http://schemas.openxmlformats.org/officeDocument/2006/relationships/tags" Target="../tags/tag61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7" Type="http://schemas.openxmlformats.org/officeDocument/2006/relationships/image" Target="../media/image5.emf"/><Relationship Id="rId2" Type="http://schemas.openxmlformats.org/officeDocument/2006/relationships/tags" Target="../tags/tag64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6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1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7" Type="http://schemas.openxmlformats.org/officeDocument/2006/relationships/image" Target="../media/image5.emf"/><Relationship Id="rId2" Type="http://schemas.openxmlformats.org/officeDocument/2006/relationships/tags" Target="../tags/tag68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0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2" Type="http://schemas.openxmlformats.org/officeDocument/2006/relationships/tags" Target="../tags/tag73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7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5.emf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81.xml"/><Relationship Id="rId7" Type="http://schemas.openxmlformats.org/officeDocument/2006/relationships/image" Target="../media/image2.emf"/><Relationship Id="rId2" Type="http://schemas.openxmlformats.org/officeDocument/2006/relationships/tags" Target="../tags/tag80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2.xml"/><Relationship Id="rId9" Type="http://schemas.openxmlformats.org/officeDocument/2006/relationships/image" Target="../media/image4.jp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7" Type="http://schemas.openxmlformats.org/officeDocument/2006/relationships/image" Target="../media/image5.emf"/><Relationship Id="rId2" Type="http://schemas.openxmlformats.org/officeDocument/2006/relationships/tags" Target="../tags/tag83.xml"/><Relationship Id="rId1" Type="http://schemas.openxmlformats.org/officeDocument/2006/relationships/vmlDrawing" Target="../drawings/vmlDrawing32.vml"/><Relationship Id="rId6" Type="http://schemas.openxmlformats.org/officeDocument/2006/relationships/oleObject" Target="../embeddings/oleObject3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5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7" Type="http://schemas.openxmlformats.org/officeDocument/2006/relationships/image" Target="../media/image5.emf"/><Relationship Id="rId2" Type="http://schemas.openxmlformats.org/officeDocument/2006/relationships/tags" Target="../tags/tag88.xml"/><Relationship Id="rId1" Type="http://schemas.openxmlformats.org/officeDocument/2006/relationships/vmlDrawing" Target="../drawings/vmlDrawing34.vml"/><Relationship Id="rId6" Type="http://schemas.openxmlformats.org/officeDocument/2006/relationships/oleObject" Target="../embeddings/oleObject3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0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7" Type="http://schemas.openxmlformats.org/officeDocument/2006/relationships/image" Target="../media/image5.emf"/><Relationship Id="rId2" Type="http://schemas.openxmlformats.org/officeDocument/2006/relationships/tags" Target="../tags/tag91.xml"/><Relationship Id="rId1" Type="http://schemas.openxmlformats.org/officeDocument/2006/relationships/vmlDrawing" Target="../drawings/vmlDrawing35.vml"/><Relationship Id="rId6" Type="http://schemas.openxmlformats.org/officeDocument/2006/relationships/oleObject" Target="../embeddings/oleObject3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97.xml"/><Relationship Id="rId7" Type="http://schemas.openxmlformats.org/officeDocument/2006/relationships/image" Target="../media/image5.emf"/><Relationship Id="rId2" Type="http://schemas.openxmlformats.org/officeDocument/2006/relationships/tags" Target="../tags/tag96.xml"/><Relationship Id="rId1" Type="http://schemas.openxmlformats.org/officeDocument/2006/relationships/vmlDrawing" Target="../drawings/vmlDrawing37.vml"/><Relationship Id="rId6" Type="http://schemas.openxmlformats.org/officeDocument/2006/relationships/oleObject" Target="../embeddings/oleObject3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8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00.xml"/><Relationship Id="rId7" Type="http://schemas.openxmlformats.org/officeDocument/2006/relationships/image" Target="../media/image5.emf"/><Relationship Id="rId2" Type="http://schemas.openxmlformats.org/officeDocument/2006/relationships/tags" Target="../tags/tag99.xml"/><Relationship Id="rId1" Type="http://schemas.openxmlformats.org/officeDocument/2006/relationships/vmlDrawing" Target="../drawings/vmlDrawing38.vml"/><Relationship Id="rId6" Type="http://schemas.openxmlformats.org/officeDocument/2006/relationships/oleObject" Target="../embeddings/oleObject3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1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03.xml"/><Relationship Id="rId7" Type="http://schemas.openxmlformats.org/officeDocument/2006/relationships/image" Target="../media/image5.emf"/><Relationship Id="rId2" Type="http://schemas.openxmlformats.org/officeDocument/2006/relationships/tags" Target="../tags/tag102.xml"/><Relationship Id="rId1" Type="http://schemas.openxmlformats.org/officeDocument/2006/relationships/vmlDrawing" Target="../drawings/vmlDrawing39.vml"/><Relationship Id="rId6" Type="http://schemas.openxmlformats.org/officeDocument/2006/relationships/oleObject" Target="../embeddings/oleObject3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4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06.xml"/><Relationship Id="rId7" Type="http://schemas.openxmlformats.org/officeDocument/2006/relationships/image" Target="../media/image5.emf"/><Relationship Id="rId2" Type="http://schemas.openxmlformats.org/officeDocument/2006/relationships/tags" Target="../tags/tag105.xml"/><Relationship Id="rId1" Type="http://schemas.openxmlformats.org/officeDocument/2006/relationships/vmlDrawing" Target="../drawings/vmlDrawing40.vml"/><Relationship Id="rId6" Type="http://schemas.openxmlformats.org/officeDocument/2006/relationships/oleObject" Target="../embeddings/oleObject4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7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09.xml"/><Relationship Id="rId7" Type="http://schemas.openxmlformats.org/officeDocument/2006/relationships/image" Target="../media/image5.emf"/><Relationship Id="rId2" Type="http://schemas.openxmlformats.org/officeDocument/2006/relationships/tags" Target="../tags/tag108.xml"/><Relationship Id="rId1" Type="http://schemas.openxmlformats.org/officeDocument/2006/relationships/vmlDrawing" Target="../drawings/vmlDrawing41.vml"/><Relationship Id="rId6" Type="http://schemas.openxmlformats.org/officeDocument/2006/relationships/oleObject" Target="../embeddings/oleObject4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0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12.xml"/><Relationship Id="rId7" Type="http://schemas.openxmlformats.org/officeDocument/2006/relationships/image" Target="../media/image5.emf"/><Relationship Id="rId2" Type="http://schemas.openxmlformats.org/officeDocument/2006/relationships/tags" Target="../tags/tag111.xml"/><Relationship Id="rId1" Type="http://schemas.openxmlformats.org/officeDocument/2006/relationships/vmlDrawing" Target="../drawings/vmlDrawing42.vml"/><Relationship Id="rId6" Type="http://schemas.openxmlformats.org/officeDocument/2006/relationships/oleObject" Target="../embeddings/oleObject4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3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5.xml"/><Relationship Id="rId7" Type="http://schemas.openxmlformats.org/officeDocument/2006/relationships/image" Target="../media/image9.emf"/><Relationship Id="rId2" Type="http://schemas.openxmlformats.org/officeDocument/2006/relationships/tags" Target="../tags/tag114.xml"/><Relationship Id="rId1" Type="http://schemas.openxmlformats.org/officeDocument/2006/relationships/vmlDrawing" Target="../drawings/vmlDrawing43.vml"/><Relationship Id="rId6" Type="http://schemas.openxmlformats.org/officeDocument/2006/relationships/oleObject" Target="../embeddings/oleObject4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6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18.xml"/><Relationship Id="rId7" Type="http://schemas.openxmlformats.org/officeDocument/2006/relationships/image" Target="../media/image5.emf"/><Relationship Id="rId2" Type="http://schemas.openxmlformats.org/officeDocument/2006/relationships/tags" Target="../tags/tag117.xml"/><Relationship Id="rId1" Type="http://schemas.openxmlformats.org/officeDocument/2006/relationships/vmlDrawing" Target="../drawings/vmlDrawing44.vml"/><Relationship Id="rId6" Type="http://schemas.openxmlformats.org/officeDocument/2006/relationships/oleObject" Target="../embeddings/oleObject4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9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21.xml"/><Relationship Id="rId7" Type="http://schemas.openxmlformats.org/officeDocument/2006/relationships/image" Target="../media/image5.emf"/><Relationship Id="rId2" Type="http://schemas.openxmlformats.org/officeDocument/2006/relationships/tags" Target="../tags/tag120.xml"/><Relationship Id="rId1" Type="http://schemas.openxmlformats.org/officeDocument/2006/relationships/vmlDrawing" Target="../drawings/vmlDrawing45.vml"/><Relationship Id="rId6" Type="http://schemas.openxmlformats.org/officeDocument/2006/relationships/oleObject" Target="../embeddings/oleObject4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2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24.xml"/><Relationship Id="rId7" Type="http://schemas.openxmlformats.org/officeDocument/2006/relationships/image" Target="../media/image5.emf"/><Relationship Id="rId2" Type="http://schemas.openxmlformats.org/officeDocument/2006/relationships/tags" Target="../tags/tag123.xml"/><Relationship Id="rId1" Type="http://schemas.openxmlformats.org/officeDocument/2006/relationships/vmlDrawing" Target="../drawings/vmlDrawing46.vml"/><Relationship Id="rId6" Type="http://schemas.openxmlformats.org/officeDocument/2006/relationships/oleObject" Target="../embeddings/oleObject4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5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27.xml"/><Relationship Id="rId7" Type="http://schemas.openxmlformats.org/officeDocument/2006/relationships/image" Target="../media/image5.emf"/><Relationship Id="rId2" Type="http://schemas.openxmlformats.org/officeDocument/2006/relationships/tags" Target="../tags/tag126.xml"/><Relationship Id="rId1" Type="http://schemas.openxmlformats.org/officeDocument/2006/relationships/vmlDrawing" Target="../drawings/vmlDrawing47.vml"/><Relationship Id="rId6" Type="http://schemas.openxmlformats.org/officeDocument/2006/relationships/oleObject" Target="../embeddings/oleObject4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8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30.xml"/><Relationship Id="rId7" Type="http://schemas.openxmlformats.org/officeDocument/2006/relationships/image" Target="../media/image5.emf"/><Relationship Id="rId2" Type="http://schemas.openxmlformats.org/officeDocument/2006/relationships/tags" Target="../tags/tag129.xml"/><Relationship Id="rId1" Type="http://schemas.openxmlformats.org/officeDocument/2006/relationships/vmlDrawing" Target="../drawings/vmlDrawing48.vml"/><Relationship Id="rId6" Type="http://schemas.openxmlformats.org/officeDocument/2006/relationships/oleObject" Target="../embeddings/oleObject4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1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33.xml"/><Relationship Id="rId7" Type="http://schemas.openxmlformats.org/officeDocument/2006/relationships/image" Target="../media/image5.emf"/><Relationship Id="rId2" Type="http://schemas.openxmlformats.org/officeDocument/2006/relationships/tags" Target="../tags/tag132.xml"/><Relationship Id="rId1" Type="http://schemas.openxmlformats.org/officeDocument/2006/relationships/vmlDrawing" Target="../drawings/vmlDrawing49.vml"/><Relationship Id="rId6" Type="http://schemas.openxmlformats.org/officeDocument/2006/relationships/oleObject" Target="../embeddings/oleObject4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4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36.xml"/><Relationship Id="rId7" Type="http://schemas.openxmlformats.org/officeDocument/2006/relationships/image" Target="../media/image5.emf"/><Relationship Id="rId2" Type="http://schemas.openxmlformats.org/officeDocument/2006/relationships/tags" Target="../tags/tag135.xml"/><Relationship Id="rId1" Type="http://schemas.openxmlformats.org/officeDocument/2006/relationships/vmlDrawing" Target="../drawings/vmlDrawing50.vml"/><Relationship Id="rId6" Type="http://schemas.openxmlformats.org/officeDocument/2006/relationships/oleObject" Target="../embeddings/oleObject5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5.emf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6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7" Type="http://schemas.openxmlformats.org/officeDocument/2006/relationships/image" Target="../media/image5.emf"/><Relationship Id="rId2" Type="http://schemas.openxmlformats.org/officeDocument/2006/relationships/tags" Target="../tags/tag138.xml"/><Relationship Id="rId1" Type="http://schemas.openxmlformats.org/officeDocument/2006/relationships/vmlDrawing" Target="../drawings/vmlDrawing51.vml"/><Relationship Id="rId6" Type="http://schemas.openxmlformats.org/officeDocument/2006/relationships/oleObject" Target="../embeddings/oleObject5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0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142.xml"/><Relationship Id="rId7" Type="http://schemas.openxmlformats.org/officeDocument/2006/relationships/image" Target="../media/image5.emf"/><Relationship Id="rId2" Type="http://schemas.openxmlformats.org/officeDocument/2006/relationships/tags" Target="../tags/tag141.xml"/><Relationship Id="rId1" Type="http://schemas.openxmlformats.org/officeDocument/2006/relationships/vmlDrawing" Target="../drawings/vmlDrawing52.vml"/><Relationship Id="rId6" Type="http://schemas.openxmlformats.org/officeDocument/2006/relationships/oleObject" Target="../embeddings/oleObject5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3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146.xml"/><Relationship Id="rId7" Type="http://schemas.openxmlformats.org/officeDocument/2006/relationships/image" Target="../media/image5.emf"/><Relationship Id="rId2" Type="http://schemas.openxmlformats.org/officeDocument/2006/relationships/tags" Target="../tags/tag145.xml"/><Relationship Id="rId1" Type="http://schemas.openxmlformats.org/officeDocument/2006/relationships/vmlDrawing" Target="../drawings/vmlDrawing54.vml"/><Relationship Id="rId6" Type="http://schemas.openxmlformats.org/officeDocument/2006/relationships/oleObject" Target="../embeddings/oleObject5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7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149.xml"/><Relationship Id="rId7" Type="http://schemas.openxmlformats.org/officeDocument/2006/relationships/image" Target="../media/image6.png"/><Relationship Id="rId2" Type="http://schemas.openxmlformats.org/officeDocument/2006/relationships/tags" Target="../tags/tag148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151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6.bin"/><Relationship Id="rId4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153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155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9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158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5.emf"/><Relationship Id="rId2" Type="http://schemas.openxmlformats.org/officeDocument/2006/relationships/tags" Target="../tags/tag17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9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160.xml"/><Relationship Id="rId2" Type="http://schemas.openxmlformats.org/officeDocument/2006/relationships/tags" Target="../tags/tag159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1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2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164.xml"/><Relationship Id="rId7" Type="http://schemas.openxmlformats.org/officeDocument/2006/relationships/image" Target="../media/image3.png"/><Relationship Id="rId2" Type="http://schemas.openxmlformats.org/officeDocument/2006/relationships/tags" Target="../tags/tag163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4.bin"/><Relationship Id="rId4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166.xml"/><Relationship Id="rId2" Type="http://schemas.openxmlformats.org/officeDocument/2006/relationships/tags" Target="../tags/tag165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5.bin"/><Relationship Id="rId4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7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170.xml"/><Relationship Id="rId7" Type="http://schemas.openxmlformats.org/officeDocument/2006/relationships/image" Target="../media/image3.png"/><Relationship Id="rId2" Type="http://schemas.openxmlformats.org/officeDocument/2006/relationships/tags" Target="../tags/tag169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8.bin"/><Relationship Id="rId4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1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g"/><Relationship Id="rId3" Type="http://schemas.openxmlformats.org/officeDocument/2006/relationships/tags" Target="../tags/tag173.xml"/><Relationship Id="rId7" Type="http://schemas.openxmlformats.org/officeDocument/2006/relationships/image" Target="../media/image5.emf"/><Relationship Id="rId2" Type="http://schemas.openxmlformats.org/officeDocument/2006/relationships/tags" Target="../tags/tag172.xml"/><Relationship Id="rId1" Type="http://schemas.openxmlformats.org/officeDocument/2006/relationships/vmlDrawing" Target="../drawings/vmlDrawing70.vml"/><Relationship Id="rId6" Type="http://schemas.openxmlformats.org/officeDocument/2006/relationships/oleObject" Target="../embeddings/oleObject7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7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176.xml"/><Relationship Id="rId2" Type="http://schemas.openxmlformats.org/officeDocument/2006/relationships/tags" Target="../tags/tag175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71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3.xml"/><Relationship Id="rId7" Type="http://schemas.openxmlformats.org/officeDocument/2006/relationships/image" Target="../media/image5.emf"/><Relationship Id="rId2" Type="http://schemas.openxmlformats.org/officeDocument/2006/relationships/tags" Target="../tags/tag22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4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6.xml"/><Relationship Id="rId7" Type="http://schemas.openxmlformats.org/officeDocument/2006/relationships/image" Target="../media/image5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46198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18" name="think-cell Slide" r:id="rId6" imgW="384" imgH="384" progId="TCLayout.ActiveDocument.1">
                  <p:embed/>
                </p:oleObj>
              </mc:Choice>
              <mc:Fallback>
                <p:oleObj name="think-cell Slide" r:id="rId6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pic>
        <p:nvPicPr>
          <p:cNvPr id="15" name="TitleAndEndImages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056"/>
          <a:stretch/>
        </p:blipFill>
        <p:spPr>
          <a:xfrm flipH="1">
            <a:off x="0" y="0"/>
            <a:ext cx="12192000" cy="527685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cap="all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cap="all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grpSp>
        <p:nvGrpSpPr>
          <p:cNvPr id="13" name="Group 12"/>
          <p:cNvGrpSpPr>
            <a:grpSpLocks noChangeAspect="1"/>
          </p:cNvGrpSpPr>
          <p:nvPr userDrawn="1"/>
        </p:nvGrpSpPr>
        <p:grpSpPr>
          <a:xfrm>
            <a:off x="10028055" y="5402272"/>
            <a:ext cx="1442366" cy="1442363"/>
            <a:chOff x="5815584" y="2615183"/>
            <a:chExt cx="2999232" cy="2999233"/>
          </a:xfrm>
        </p:grpSpPr>
        <p:sp>
          <p:nvSpPr>
            <p:cNvPr id="16" name="object 3"/>
            <p:cNvSpPr/>
            <p:nvPr userDrawn="1"/>
          </p:nvSpPr>
          <p:spPr>
            <a:xfrm>
              <a:off x="5815584" y="2615183"/>
              <a:ext cx="2999232" cy="2999233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45719" rIns="45719"/>
            <a:lstStyle/>
            <a:p>
              <a:pPr hangingPunct="0"/>
              <a:endParaRPr kern="0" dirty="0">
                <a:solidFill>
                  <a:srgbClr val="000000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7" name="object 4"/>
            <p:cNvSpPr/>
            <p:nvPr userDrawn="1"/>
          </p:nvSpPr>
          <p:spPr>
            <a:xfrm>
              <a:off x="6192863" y="5033555"/>
              <a:ext cx="2244662" cy="203582"/>
            </a:xfrm>
            <a:prstGeom prst="rect">
              <a:avLst/>
            </a:prstGeom>
            <a:solidFill>
              <a:srgbClr val="2B9CDA"/>
            </a:solidFill>
            <a:ln w="12700">
              <a:miter lim="400000"/>
            </a:ln>
          </p:spPr>
          <p:txBody>
            <a:bodyPr lIns="45719" rIns="45719"/>
            <a:lstStyle/>
            <a:p>
              <a:pPr hangingPunct="0"/>
              <a:endParaRPr kern="0" dirty="0">
                <a:solidFill>
                  <a:srgbClr val="000000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9" name="object 5"/>
            <p:cNvSpPr/>
            <p:nvPr userDrawn="1"/>
          </p:nvSpPr>
          <p:spPr>
            <a:xfrm>
              <a:off x="6192863" y="2992475"/>
              <a:ext cx="2244662" cy="203581"/>
            </a:xfrm>
            <a:prstGeom prst="rect">
              <a:avLst/>
            </a:prstGeom>
            <a:solidFill>
              <a:srgbClr val="2B9CDA"/>
            </a:solidFill>
            <a:ln w="12700">
              <a:miter lim="400000"/>
            </a:ln>
          </p:spPr>
          <p:txBody>
            <a:bodyPr lIns="45719" rIns="45719"/>
            <a:lstStyle/>
            <a:p>
              <a:pPr hangingPunct="0"/>
              <a:endParaRPr kern="0" dirty="0">
                <a:solidFill>
                  <a:srgbClr val="000000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23" name="object 6"/>
            <p:cNvGrpSpPr/>
            <p:nvPr userDrawn="1"/>
          </p:nvGrpSpPr>
          <p:grpSpPr>
            <a:xfrm>
              <a:off x="6928174" y="3562082"/>
              <a:ext cx="717183" cy="1105435"/>
              <a:chOff x="0" y="0"/>
              <a:chExt cx="717182" cy="1105433"/>
            </a:xfrm>
          </p:grpSpPr>
          <p:sp>
            <p:nvSpPr>
              <p:cNvPr id="32" name="Shape"/>
              <p:cNvSpPr/>
              <p:nvPr/>
            </p:nvSpPr>
            <p:spPr>
              <a:xfrm>
                <a:off x="0" y="741183"/>
                <a:ext cx="687910" cy="36425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474" y="6278"/>
                    </a:lnTo>
                    <a:lnTo>
                      <a:pt x="1313" y="10162"/>
                    </a:lnTo>
                    <a:lnTo>
                      <a:pt x="2534" y="13673"/>
                    </a:lnTo>
                    <a:lnTo>
                      <a:pt x="4114" y="16744"/>
                    </a:lnTo>
                    <a:lnTo>
                      <a:pt x="5935" y="19103"/>
                    </a:lnTo>
                    <a:lnTo>
                      <a:pt x="7964" y="20699"/>
                    </a:lnTo>
                    <a:lnTo>
                      <a:pt x="10118" y="21500"/>
                    </a:lnTo>
                    <a:lnTo>
                      <a:pt x="11237" y="21600"/>
                    </a:lnTo>
                    <a:lnTo>
                      <a:pt x="12360" y="21500"/>
                    </a:lnTo>
                    <a:lnTo>
                      <a:pt x="14523" y="20705"/>
                    </a:lnTo>
                    <a:lnTo>
                      <a:pt x="16571" y="19120"/>
                    </a:lnTo>
                    <a:lnTo>
                      <a:pt x="18403" y="16776"/>
                    </a:lnTo>
                    <a:lnTo>
                      <a:pt x="19966" y="13723"/>
                    </a:lnTo>
                    <a:lnTo>
                      <a:pt x="21176" y="10228"/>
                    </a:lnTo>
                    <a:lnTo>
                      <a:pt x="21600" y="8540"/>
                    </a:lnTo>
                    <a:lnTo>
                      <a:pt x="11237" y="8540"/>
                    </a:lnTo>
                    <a:lnTo>
                      <a:pt x="10782" y="8498"/>
                    </a:lnTo>
                    <a:lnTo>
                      <a:pt x="9517" y="7870"/>
                    </a:lnTo>
                    <a:lnTo>
                      <a:pt x="8437" y="6583"/>
                    </a:lnTo>
                    <a:lnTo>
                      <a:pt x="7593" y="4763"/>
                    </a:lnTo>
                    <a:lnTo>
                      <a:pt x="7025" y="2520"/>
                    </a:lnTo>
                    <a:lnTo>
                      <a:pt x="6849" y="866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hangingPunct="0"/>
                <a:endParaRPr kern="0" dirty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34" name="Shape"/>
              <p:cNvSpPr/>
              <p:nvPr/>
            </p:nvSpPr>
            <p:spPr>
              <a:xfrm>
                <a:off x="79754" y="0"/>
                <a:ext cx="637428" cy="88520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4"/>
                    </a:lnTo>
                    <a:lnTo>
                      <a:pt x="9472" y="5374"/>
                    </a:lnTo>
                    <a:lnTo>
                      <a:pt x="3797" y="14602"/>
                    </a:lnTo>
                    <a:lnTo>
                      <a:pt x="9420" y="14602"/>
                    </a:lnTo>
                    <a:lnTo>
                      <a:pt x="9913" y="14619"/>
                    </a:lnTo>
                    <a:lnTo>
                      <a:pt x="11302" y="14876"/>
                    </a:lnTo>
                    <a:lnTo>
                      <a:pt x="12490" y="15404"/>
                    </a:lnTo>
                    <a:lnTo>
                      <a:pt x="13405" y="16150"/>
                    </a:lnTo>
                    <a:lnTo>
                      <a:pt x="14018" y="17068"/>
                    </a:lnTo>
                    <a:lnTo>
                      <a:pt x="14232" y="18086"/>
                    </a:lnTo>
                    <a:lnTo>
                      <a:pt x="14231" y="18121"/>
                    </a:lnTo>
                    <a:lnTo>
                      <a:pt x="14018" y="19133"/>
                    </a:lnTo>
                    <a:lnTo>
                      <a:pt x="13405" y="20052"/>
                    </a:lnTo>
                    <a:lnTo>
                      <a:pt x="12492" y="20798"/>
                    </a:lnTo>
                    <a:lnTo>
                      <a:pt x="11304" y="21325"/>
                    </a:lnTo>
                    <a:lnTo>
                      <a:pt x="9917" y="21583"/>
                    </a:lnTo>
                    <a:lnTo>
                      <a:pt x="9425" y="21600"/>
                    </a:lnTo>
                    <a:lnTo>
                      <a:pt x="20608" y="21600"/>
                    </a:lnTo>
                    <a:lnTo>
                      <a:pt x="21074" y="20701"/>
                    </a:lnTo>
                    <a:lnTo>
                      <a:pt x="21542" y="19005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1071" y="15540"/>
                    </a:lnTo>
                    <a:lnTo>
                      <a:pt x="20144" y="13947"/>
                    </a:lnTo>
                    <a:lnTo>
                      <a:pt x="18832" y="12509"/>
                    </a:lnTo>
                    <a:lnTo>
                      <a:pt x="17625" y="11582"/>
                    </a:lnTo>
                    <a:lnTo>
                      <a:pt x="16373" y="10852"/>
                    </a:lnTo>
                    <a:lnTo>
                      <a:pt x="15041" y="10257"/>
                    </a:lnTo>
                    <a:lnTo>
                      <a:pt x="14568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hangingPunct="0"/>
                <a:endParaRPr kern="0" dirty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24" name="object 7"/>
            <p:cNvGrpSpPr/>
            <p:nvPr userDrawn="1"/>
          </p:nvGrpSpPr>
          <p:grpSpPr>
            <a:xfrm>
              <a:off x="7718148" y="3562082"/>
              <a:ext cx="717182" cy="1105434"/>
              <a:chOff x="0" y="0"/>
              <a:chExt cx="717181" cy="1105432"/>
            </a:xfrm>
          </p:grpSpPr>
          <p:sp>
            <p:nvSpPr>
              <p:cNvPr id="30" name="Shape"/>
              <p:cNvSpPr/>
              <p:nvPr/>
            </p:nvSpPr>
            <p:spPr>
              <a:xfrm>
                <a:off x="0" y="741183"/>
                <a:ext cx="687910" cy="36425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474" y="6278"/>
                    </a:lnTo>
                    <a:lnTo>
                      <a:pt x="1313" y="10162"/>
                    </a:lnTo>
                    <a:lnTo>
                      <a:pt x="2534" y="13673"/>
                    </a:lnTo>
                    <a:lnTo>
                      <a:pt x="4114" y="16744"/>
                    </a:lnTo>
                    <a:lnTo>
                      <a:pt x="5935" y="19103"/>
                    </a:lnTo>
                    <a:lnTo>
                      <a:pt x="7964" y="20699"/>
                    </a:lnTo>
                    <a:lnTo>
                      <a:pt x="10118" y="21500"/>
                    </a:lnTo>
                    <a:lnTo>
                      <a:pt x="11237" y="21600"/>
                    </a:lnTo>
                    <a:lnTo>
                      <a:pt x="12360" y="21500"/>
                    </a:lnTo>
                    <a:lnTo>
                      <a:pt x="14522" y="20705"/>
                    </a:lnTo>
                    <a:lnTo>
                      <a:pt x="16571" y="19120"/>
                    </a:lnTo>
                    <a:lnTo>
                      <a:pt x="18403" y="16776"/>
                    </a:lnTo>
                    <a:lnTo>
                      <a:pt x="19966" y="13723"/>
                    </a:lnTo>
                    <a:lnTo>
                      <a:pt x="21176" y="10228"/>
                    </a:lnTo>
                    <a:lnTo>
                      <a:pt x="21600" y="8540"/>
                    </a:lnTo>
                    <a:lnTo>
                      <a:pt x="11237" y="8540"/>
                    </a:lnTo>
                    <a:lnTo>
                      <a:pt x="10782" y="8498"/>
                    </a:lnTo>
                    <a:lnTo>
                      <a:pt x="9516" y="7870"/>
                    </a:lnTo>
                    <a:lnTo>
                      <a:pt x="8437" y="6583"/>
                    </a:lnTo>
                    <a:lnTo>
                      <a:pt x="7593" y="4763"/>
                    </a:lnTo>
                    <a:lnTo>
                      <a:pt x="7024" y="2520"/>
                    </a:lnTo>
                    <a:lnTo>
                      <a:pt x="6849" y="866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hangingPunct="0"/>
                <a:endParaRPr kern="0" dirty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31" name="Shape"/>
              <p:cNvSpPr/>
              <p:nvPr/>
            </p:nvSpPr>
            <p:spPr>
              <a:xfrm>
                <a:off x="79754" y="0"/>
                <a:ext cx="637428" cy="88520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4"/>
                    </a:lnTo>
                    <a:lnTo>
                      <a:pt x="9472" y="5374"/>
                    </a:lnTo>
                    <a:lnTo>
                      <a:pt x="3797" y="14602"/>
                    </a:lnTo>
                    <a:lnTo>
                      <a:pt x="9420" y="14602"/>
                    </a:lnTo>
                    <a:lnTo>
                      <a:pt x="9913" y="14619"/>
                    </a:lnTo>
                    <a:lnTo>
                      <a:pt x="11302" y="14876"/>
                    </a:lnTo>
                    <a:lnTo>
                      <a:pt x="12490" y="15404"/>
                    </a:lnTo>
                    <a:lnTo>
                      <a:pt x="13405" y="16150"/>
                    </a:lnTo>
                    <a:lnTo>
                      <a:pt x="14018" y="17068"/>
                    </a:lnTo>
                    <a:lnTo>
                      <a:pt x="14231" y="18086"/>
                    </a:lnTo>
                    <a:lnTo>
                      <a:pt x="14231" y="18121"/>
                    </a:lnTo>
                    <a:lnTo>
                      <a:pt x="14018" y="19133"/>
                    </a:lnTo>
                    <a:lnTo>
                      <a:pt x="13405" y="20052"/>
                    </a:lnTo>
                    <a:lnTo>
                      <a:pt x="12492" y="20798"/>
                    </a:lnTo>
                    <a:lnTo>
                      <a:pt x="11304" y="21325"/>
                    </a:lnTo>
                    <a:lnTo>
                      <a:pt x="9916" y="21583"/>
                    </a:lnTo>
                    <a:lnTo>
                      <a:pt x="9424" y="21600"/>
                    </a:lnTo>
                    <a:lnTo>
                      <a:pt x="20608" y="21600"/>
                    </a:lnTo>
                    <a:lnTo>
                      <a:pt x="21074" y="20701"/>
                    </a:lnTo>
                    <a:lnTo>
                      <a:pt x="21542" y="19005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1072" y="15540"/>
                    </a:lnTo>
                    <a:lnTo>
                      <a:pt x="20144" y="13947"/>
                    </a:lnTo>
                    <a:lnTo>
                      <a:pt x="18832" y="12509"/>
                    </a:lnTo>
                    <a:lnTo>
                      <a:pt x="17625" y="11582"/>
                    </a:lnTo>
                    <a:lnTo>
                      <a:pt x="16373" y="10852"/>
                    </a:lnTo>
                    <a:lnTo>
                      <a:pt x="15041" y="10257"/>
                    </a:lnTo>
                    <a:lnTo>
                      <a:pt x="14567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hangingPunct="0"/>
                <a:endParaRPr kern="0" dirty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25" name="object 8"/>
            <p:cNvGrpSpPr/>
            <p:nvPr userDrawn="1"/>
          </p:nvGrpSpPr>
          <p:grpSpPr>
            <a:xfrm>
              <a:off x="6195071" y="3569853"/>
              <a:ext cx="732335" cy="1089903"/>
              <a:chOff x="0" y="0"/>
              <a:chExt cx="732334" cy="1089902"/>
            </a:xfrm>
          </p:grpSpPr>
          <p:sp>
            <p:nvSpPr>
              <p:cNvPr id="28" name="Shape"/>
              <p:cNvSpPr/>
              <p:nvPr/>
            </p:nvSpPr>
            <p:spPr>
              <a:xfrm>
                <a:off x="0" y="0"/>
                <a:ext cx="711249" cy="108990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2294" y="0"/>
                    </a:moveTo>
                    <a:lnTo>
                      <a:pt x="0" y="0"/>
                    </a:lnTo>
                    <a:lnTo>
                      <a:pt x="0" y="21600"/>
                    </a:lnTo>
                    <a:lnTo>
                      <a:pt x="6603" y="21600"/>
                    </a:lnTo>
                    <a:lnTo>
                      <a:pt x="6603" y="12983"/>
                    </a:lnTo>
                    <a:lnTo>
                      <a:pt x="12294" y="12983"/>
                    </a:lnTo>
                    <a:lnTo>
                      <a:pt x="14287" y="12857"/>
                    </a:lnTo>
                    <a:lnTo>
                      <a:pt x="16153" y="12479"/>
                    </a:lnTo>
                    <a:lnTo>
                      <a:pt x="17841" y="11881"/>
                    </a:lnTo>
                    <a:lnTo>
                      <a:pt x="19304" y="11094"/>
                    </a:lnTo>
                    <a:lnTo>
                      <a:pt x="20515" y="10136"/>
                    </a:lnTo>
                    <a:lnTo>
                      <a:pt x="21447" y="9023"/>
                    </a:lnTo>
                    <a:lnTo>
                      <a:pt x="21600" y="8758"/>
                    </a:lnTo>
                    <a:lnTo>
                      <a:pt x="6603" y="8758"/>
                    </a:lnTo>
                    <a:lnTo>
                      <a:pt x="6603" y="4225"/>
                    </a:lnTo>
                    <a:lnTo>
                      <a:pt x="21593" y="4225"/>
                    </a:lnTo>
                    <a:lnTo>
                      <a:pt x="21447" y="3973"/>
                    </a:lnTo>
                    <a:lnTo>
                      <a:pt x="20515" y="2872"/>
                    </a:lnTo>
                    <a:lnTo>
                      <a:pt x="19304" y="1917"/>
                    </a:lnTo>
                    <a:lnTo>
                      <a:pt x="17841" y="1126"/>
                    </a:lnTo>
                    <a:lnTo>
                      <a:pt x="16153" y="518"/>
                    </a:lnTo>
                    <a:lnTo>
                      <a:pt x="14287" y="130"/>
                    </a:lnTo>
                    <a:lnTo>
                      <a:pt x="13307" y="32"/>
                    </a:lnTo>
                    <a:lnTo>
                      <a:pt x="12294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hangingPunct="0"/>
                <a:endParaRPr kern="0" dirty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9" name="Shape"/>
              <p:cNvSpPr/>
              <p:nvPr/>
            </p:nvSpPr>
            <p:spPr>
              <a:xfrm>
                <a:off x="377991" y="213181"/>
                <a:ext cx="354343" cy="22871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301" y="0"/>
                    </a:moveTo>
                    <a:lnTo>
                      <a:pt x="0" y="0"/>
                    </a:lnTo>
                    <a:lnTo>
                      <a:pt x="1371" y="196"/>
                    </a:lnTo>
                    <a:lnTo>
                      <a:pt x="2646" y="784"/>
                    </a:lnTo>
                    <a:lnTo>
                      <a:pt x="4905" y="3134"/>
                    </a:lnTo>
                    <a:lnTo>
                      <a:pt x="6454" y="6618"/>
                    </a:lnTo>
                    <a:lnTo>
                      <a:pt x="6971" y="10799"/>
                    </a:lnTo>
                    <a:lnTo>
                      <a:pt x="6841" y="12979"/>
                    </a:lnTo>
                    <a:lnTo>
                      <a:pt x="5809" y="16812"/>
                    </a:lnTo>
                    <a:lnTo>
                      <a:pt x="3824" y="19838"/>
                    </a:lnTo>
                    <a:lnTo>
                      <a:pt x="1371" y="21404"/>
                    </a:lnTo>
                    <a:lnTo>
                      <a:pt x="0" y="21600"/>
                    </a:lnTo>
                    <a:lnTo>
                      <a:pt x="20315" y="21600"/>
                    </a:lnTo>
                    <a:lnTo>
                      <a:pt x="20705" y="19988"/>
                    </a:lnTo>
                    <a:lnTo>
                      <a:pt x="21202" y="17016"/>
                    </a:lnTo>
                    <a:lnTo>
                      <a:pt x="21501" y="13954"/>
                    </a:lnTo>
                    <a:lnTo>
                      <a:pt x="21600" y="10799"/>
                    </a:lnTo>
                    <a:lnTo>
                      <a:pt x="21501" y="7650"/>
                    </a:lnTo>
                    <a:lnTo>
                      <a:pt x="21202" y="4600"/>
                    </a:lnTo>
                    <a:lnTo>
                      <a:pt x="20705" y="1651"/>
                    </a:lnTo>
                    <a:lnTo>
                      <a:pt x="20301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hangingPunct="0"/>
                <a:endParaRPr kern="0" dirty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15183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7668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111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520 P33 Overview - CBIA v2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51496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26842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35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520 P33 Overview - CBIA v2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23524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9079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159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19544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520 P33 Overview - CBIA v2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32809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9505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72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20190520 P33 Overview - CBIA v2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7257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05726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83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0" y="-571255"/>
            <a:ext cx="13055300" cy="7449575"/>
            <a:chOff x="300" y="-12934"/>
            <a:chExt cx="12192000" cy="6956961"/>
          </a:xfrm>
        </p:grpSpPr>
        <p:pic>
          <p:nvPicPr>
            <p:cNvPr id="18" name="Picture 17"/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535" b="45358"/>
            <a:stretch/>
          </p:blipFill>
          <p:spPr>
            <a:xfrm>
              <a:off x="300" y="2034130"/>
              <a:ext cx="11395275" cy="4909897"/>
            </a:xfrm>
            <a:prstGeom prst="rect">
              <a:avLst/>
            </a:prstGeom>
          </p:spPr>
        </p:pic>
        <p:sp>
          <p:nvSpPr>
            <p:cNvPr id="19" name="Rectangle 18"/>
            <p:cNvSpPr/>
            <p:nvPr/>
          </p:nvSpPr>
          <p:spPr>
            <a:xfrm>
              <a:off x="300" y="-12934"/>
              <a:ext cx="12192000" cy="2969494"/>
            </a:xfrm>
            <a:prstGeom prst="rect">
              <a:avLst/>
            </a:prstGeom>
            <a:gradFill>
              <a:gsLst>
                <a:gs pos="0">
                  <a:srgbClr val="FBFCFE"/>
                </a:gs>
                <a:gs pos="100000">
                  <a:srgbClr val="FBFCFE"/>
                </a:gs>
              </a:gsLst>
              <a:lin ang="8100000" scaled="1"/>
            </a:gradFill>
            <a:ln w="9525" cap="rnd" cmpd="sng" algn="ctr">
              <a:solidFill>
                <a:srgbClr val="FBFCFE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520 P33 Overview - CBIA v2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0"/>
            <a:ext cx="12192000" cy="6878322"/>
          </a:xfrm>
          <a:prstGeom prst="rect">
            <a:avLst/>
          </a:prstGeom>
          <a:solidFill>
            <a:srgbClr val="FBFCFE">
              <a:alpha val="55000"/>
            </a:srgbClr>
          </a:solidFill>
          <a:ln w="9525" cap="rnd" cmpd="sng" algn="ctr">
            <a:solidFill>
              <a:srgbClr val="FBFCF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28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679174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45298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280" name="think-cell Slide" r:id="rId6" imgW="324" imgH="324" progId="TCLayout.ActiveDocument.1">
                  <p:embed/>
                </p:oleObj>
              </mc:Choice>
              <mc:Fallback>
                <p:oleObj name="think-cell Slide" r:id="rId6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20190520 P33 Overview - CBIA v2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9208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9356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207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520 P33 Overview - CBIA v2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974192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3786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96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0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3877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800" b="0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20190520 P33 Overview - CBIA v2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2871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5099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31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0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3877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8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520 P33 Overview - CBIA v2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438078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7599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20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0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3877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800" b="0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20190520 P33 Overview - CBIA v2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00280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6950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053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48" name="object 2"/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4630400" h="8229600">
                <a:moveTo>
                  <a:pt x="0" y="8229600"/>
                </a:moveTo>
                <a:lnTo>
                  <a:pt x="14630400" y="8229600"/>
                </a:lnTo>
                <a:lnTo>
                  <a:pt x="14630400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rgbClr val="1F4174"/>
          </a:solidFill>
        </p:spPr>
        <p:txBody>
          <a:bodyPr wrap="square" lIns="0" tIns="0" rIns="0" bIns="0" rtlCol="0"/>
          <a:lstStyle/>
          <a:p>
            <a:endParaRPr sz="1250" dirty="0"/>
          </a:p>
        </p:txBody>
      </p:sp>
      <p:sp>
        <p:nvSpPr>
          <p:cNvPr id="33" name="object 4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1513417" y="4883518"/>
            <a:ext cx="2607823" cy="492186"/>
          </a:xfrm>
          <a:prstGeom prst="rect">
            <a:avLst/>
          </a:prstGeom>
        </p:spPr>
        <p:txBody>
          <a:bodyPr wrap="square">
            <a:spAutoFit/>
          </a:bodyPr>
          <a:lstStyle>
            <a:lvl1pPr marR="4233" indent="10583">
              <a:lnSpc>
                <a:spcPct val="101899"/>
              </a:lnSpc>
              <a:defRPr cap="all" baseline="0">
                <a:solidFill>
                  <a:srgbClr val="B7E1EE"/>
                </a:solidFill>
                <a:latin typeface="+mj-lt"/>
                <a:ea typeface="Proxima Nova Semibold"/>
                <a:cs typeface="Proxima Nova Semibold"/>
                <a:sym typeface="Proxima Nova Semibold"/>
              </a:defRPr>
            </a:lvl1pPr>
          </a:lstStyle>
          <a:p>
            <a:r>
              <a:rPr lang="en-US" dirty="0"/>
              <a:t>DATE &amp; SUBTIDATLE  </a:t>
            </a:r>
          </a:p>
          <a:p>
            <a:r>
              <a:rPr lang="en-US" dirty="0"/>
              <a:t>18 / 22 PT. SEMIBOLD</a:t>
            </a:r>
          </a:p>
        </p:txBody>
      </p:sp>
      <p:sp>
        <p:nvSpPr>
          <p:cNvPr id="47" name="object 3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1513417" y="1336882"/>
            <a:ext cx="5441175" cy="1951567"/>
          </a:xfrm>
          <a:prstGeom prst="rect">
            <a:avLst/>
          </a:prstGeom>
        </p:spPr>
        <p:txBody>
          <a:bodyPr>
            <a:normAutofit/>
          </a:bodyPr>
          <a:lstStyle>
            <a:lvl1pPr marL="0" marR="4233" indent="10583" algn="l" defTabSz="761970" rtl="0" eaLnBrk="1" fontAlgn="auto" latinLnBrk="0" hangingPunct="1">
              <a:lnSpc>
                <a:spcPts val="5000"/>
              </a:lnSpc>
              <a:spcBef>
                <a:spcPts val="417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 cap="all" baseline="0">
                <a:solidFill>
                  <a:srgbClr val="B7E1EE"/>
                </a:solidFill>
                <a:latin typeface="+mj-lt"/>
                <a:ea typeface="Proxima Nova Semibold"/>
                <a:cs typeface="Proxima Nova Semibold"/>
                <a:sym typeface="Proxima Nova Semibold"/>
              </a:defRPr>
            </a:lvl1pPr>
          </a:lstStyle>
          <a:p>
            <a:pPr lvl="0"/>
            <a:r>
              <a:rPr lang="en-US" dirty="0"/>
              <a:t>NEW TITLE </a:t>
            </a:r>
            <a:br>
              <a:rPr lang="en-US" dirty="0"/>
            </a:br>
            <a:r>
              <a:rPr lang="en-US" dirty="0"/>
              <a:t>HEADING SLIDE</a:t>
            </a:r>
          </a:p>
        </p:txBody>
      </p:sp>
      <p:sp>
        <p:nvSpPr>
          <p:cNvPr id="50" name="object 6"/>
          <p:cNvSpPr/>
          <p:nvPr userDrawn="1"/>
        </p:nvSpPr>
        <p:spPr>
          <a:xfrm>
            <a:off x="10982096" y="5749761"/>
            <a:ext cx="834761" cy="834761"/>
          </a:xfrm>
          <a:custGeom>
            <a:avLst/>
            <a:gdLst/>
            <a:ahLst/>
            <a:cxnLst/>
            <a:rect l="l" t="t" r="r" b="b"/>
            <a:pathLst>
              <a:path w="1202055" h="1202054">
                <a:moveTo>
                  <a:pt x="1201801" y="1201801"/>
                </a:moveTo>
                <a:lnTo>
                  <a:pt x="0" y="1201801"/>
                </a:lnTo>
                <a:lnTo>
                  <a:pt x="0" y="0"/>
                </a:lnTo>
                <a:lnTo>
                  <a:pt x="1201801" y="0"/>
                </a:lnTo>
                <a:lnTo>
                  <a:pt x="1201801" y="1201801"/>
                </a:lnTo>
                <a:close/>
              </a:path>
            </a:pathLst>
          </a:custGeom>
          <a:solidFill>
            <a:srgbClr val="91D7EC"/>
          </a:solidFill>
        </p:spPr>
        <p:txBody>
          <a:bodyPr wrap="square" lIns="0" tIns="0" rIns="0" bIns="0" rtlCol="0"/>
          <a:lstStyle/>
          <a:p>
            <a:pPr defTabSz="634950"/>
            <a:endParaRPr sz="125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1" name="object 7"/>
          <p:cNvSpPr/>
          <p:nvPr userDrawn="1"/>
        </p:nvSpPr>
        <p:spPr>
          <a:xfrm>
            <a:off x="11087082" y="6451035"/>
            <a:ext cx="624857" cy="0"/>
          </a:xfrm>
          <a:custGeom>
            <a:avLst/>
            <a:gdLst/>
            <a:ahLst/>
            <a:cxnLst/>
            <a:rect l="l" t="t" r="r" b="b"/>
            <a:pathLst>
              <a:path w="899794">
                <a:moveTo>
                  <a:pt x="0" y="0"/>
                </a:moveTo>
                <a:lnTo>
                  <a:pt x="899439" y="0"/>
                </a:lnTo>
              </a:path>
            </a:pathLst>
          </a:custGeom>
          <a:ln w="8157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defTabSz="634950"/>
            <a:endParaRPr sz="125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2" name="object 8"/>
          <p:cNvSpPr/>
          <p:nvPr userDrawn="1"/>
        </p:nvSpPr>
        <p:spPr>
          <a:xfrm>
            <a:off x="11087082" y="5883071"/>
            <a:ext cx="624857" cy="0"/>
          </a:xfrm>
          <a:custGeom>
            <a:avLst/>
            <a:gdLst/>
            <a:ahLst/>
            <a:cxnLst/>
            <a:rect l="l" t="t" r="r" b="b"/>
            <a:pathLst>
              <a:path w="899794">
                <a:moveTo>
                  <a:pt x="0" y="0"/>
                </a:moveTo>
                <a:lnTo>
                  <a:pt x="899439" y="0"/>
                </a:lnTo>
              </a:path>
            </a:pathLst>
          </a:custGeom>
          <a:ln w="8157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defTabSz="634950"/>
            <a:endParaRPr sz="125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3" name="object 9"/>
          <p:cNvSpPr/>
          <p:nvPr userDrawn="1"/>
        </p:nvSpPr>
        <p:spPr>
          <a:xfrm>
            <a:off x="11291686" y="6013253"/>
            <a:ext cx="199761" cy="307798"/>
          </a:xfrm>
          <a:custGeom>
            <a:avLst/>
            <a:gdLst/>
            <a:ahLst/>
            <a:cxnLst/>
            <a:rect l="l" t="t" r="r" b="b"/>
            <a:pathLst>
              <a:path w="287655" h="443229">
                <a:moveTo>
                  <a:pt x="87121" y="296989"/>
                </a:moveTo>
                <a:lnTo>
                  <a:pt x="0" y="296989"/>
                </a:lnTo>
                <a:lnTo>
                  <a:pt x="673" y="311513"/>
                </a:lnTo>
                <a:lnTo>
                  <a:pt x="10769" y="352793"/>
                </a:lnTo>
                <a:lnTo>
                  <a:pt x="32347" y="389380"/>
                </a:lnTo>
                <a:lnTo>
                  <a:pt x="63769" y="418747"/>
                </a:lnTo>
                <a:lnTo>
                  <a:pt x="101638" y="436858"/>
                </a:lnTo>
                <a:lnTo>
                  <a:pt x="143408" y="442950"/>
                </a:lnTo>
                <a:lnTo>
                  <a:pt x="157744" y="442272"/>
                </a:lnTo>
                <a:lnTo>
                  <a:pt x="198666" y="432193"/>
                </a:lnTo>
                <a:lnTo>
                  <a:pt x="234859" y="410351"/>
                </a:lnTo>
                <a:lnTo>
                  <a:pt x="263074" y="378252"/>
                </a:lnTo>
                <a:lnTo>
                  <a:pt x="275657" y="354698"/>
                </a:lnTo>
                <a:lnTo>
                  <a:pt x="135521" y="354698"/>
                </a:lnTo>
                <a:lnTo>
                  <a:pt x="128206" y="353199"/>
                </a:lnTo>
                <a:lnTo>
                  <a:pt x="94627" y="326326"/>
                </a:lnTo>
                <a:lnTo>
                  <a:pt x="87165" y="305130"/>
                </a:lnTo>
                <a:lnTo>
                  <a:pt x="87121" y="296989"/>
                </a:lnTo>
                <a:close/>
              </a:path>
              <a:path w="287655" h="443229">
                <a:moveTo>
                  <a:pt x="277698" y="0"/>
                </a:moveTo>
                <a:lnTo>
                  <a:pt x="31965" y="0"/>
                </a:lnTo>
                <a:lnTo>
                  <a:pt x="31965" y="88252"/>
                </a:lnTo>
                <a:lnTo>
                  <a:pt x="143979" y="88252"/>
                </a:lnTo>
                <a:lnTo>
                  <a:pt x="76873" y="239775"/>
                </a:lnTo>
                <a:lnTo>
                  <a:pt x="151244" y="239775"/>
                </a:lnTo>
                <a:lnTo>
                  <a:pt x="158648" y="241287"/>
                </a:lnTo>
                <a:lnTo>
                  <a:pt x="192747" y="268046"/>
                </a:lnTo>
                <a:lnTo>
                  <a:pt x="200266" y="289356"/>
                </a:lnTo>
                <a:lnTo>
                  <a:pt x="200266" y="305130"/>
                </a:lnTo>
                <a:lnTo>
                  <a:pt x="178587" y="343052"/>
                </a:lnTo>
                <a:lnTo>
                  <a:pt x="151295" y="354698"/>
                </a:lnTo>
                <a:lnTo>
                  <a:pt x="275657" y="354698"/>
                </a:lnTo>
                <a:lnTo>
                  <a:pt x="286628" y="312534"/>
                </a:lnTo>
                <a:lnTo>
                  <a:pt x="287388" y="297560"/>
                </a:lnTo>
                <a:lnTo>
                  <a:pt x="286692" y="283047"/>
                </a:lnTo>
                <a:lnTo>
                  <a:pt x="276263" y="241833"/>
                </a:lnTo>
                <a:lnTo>
                  <a:pt x="254647" y="205403"/>
                </a:lnTo>
                <a:lnTo>
                  <a:pt x="225577" y="178193"/>
                </a:lnTo>
                <a:lnTo>
                  <a:pt x="204228" y="165747"/>
                </a:lnTo>
                <a:lnTo>
                  <a:pt x="277698" y="0"/>
                </a:lnTo>
                <a:close/>
              </a:path>
            </a:pathLst>
          </a:custGeom>
          <a:solidFill>
            <a:srgbClr val="C73442"/>
          </a:solidFill>
        </p:spPr>
        <p:txBody>
          <a:bodyPr wrap="square" lIns="0" tIns="0" rIns="0" bIns="0" rtlCol="0"/>
          <a:lstStyle/>
          <a:p>
            <a:pPr defTabSz="634950"/>
            <a:endParaRPr sz="125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4" name="object 10"/>
          <p:cNvSpPr/>
          <p:nvPr userDrawn="1"/>
        </p:nvSpPr>
        <p:spPr>
          <a:xfrm>
            <a:off x="11511510" y="6013253"/>
            <a:ext cx="199761" cy="307798"/>
          </a:xfrm>
          <a:custGeom>
            <a:avLst/>
            <a:gdLst/>
            <a:ahLst/>
            <a:cxnLst/>
            <a:rect l="l" t="t" r="r" b="b"/>
            <a:pathLst>
              <a:path w="287655" h="443229">
                <a:moveTo>
                  <a:pt x="87121" y="296989"/>
                </a:moveTo>
                <a:lnTo>
                  <a:pt x="0" y="296989"/>
                </a:lnTo>
                <a:lnTo>
                  <a:pt x="673" y="311513"/>
                </a:lnTo>
                <a:lnTo>
                  <a:pt x="10769" y="352793"/>
                </a:lnTo>
                <a:lnTo>
                  <a:pt x="32347" y="389380"/>
                </a:lnTo>
                <a:lnTo>
                  <a:pt x="63768" y="418747"/>
                </a:lnTo>
                <a:lnTo>
                  <a:pt x="101633" y="436858"/>
                </a:lnTo>
                <a:lnTo>
                  <a:pt x="143408" y="442950"/>
                </a:lnTo>
                <a:lnTo>
                  <a:pt x="157744" y="442272"/>
                </a:lnTo>
                <a:lnTo>
                  <a:pt x="198666" y="432193"/>
                </a:lnTo>
                <a:lnTo>
                  <a:pt x="234859" y="410351"/>
                </a:lnTo>
                <a:lnTo>
                  <a:pt x="263074" y="378252"/>
                </a:lnTo>
                <a:lnTo>
                  <a:pt x="275657" y="354698"/>
                </a:lnTo>
                <a:lnTo>
                  <a:pt x="135521" y="354698"/>
                </a:lnTo>
                <a:lnTo>
                  <a:pt x="128206" y="353199"/>
                </a:lnTo>
                <a:lnTo>
                  <a:pt x="94627" y="326326"/>
                </a:lnTo>
                <a:lnTo>
                  <a:pt x="87165" y="305130"/>
                </a:lnTo>
                <a:lnTo>
                  <a:pt x="87121" y="296989"/>
                </a:lnTo>
                <a:close/>
              </a:path>
              <a:path w="287655" h="443229">
                <a:moveTo>
                  <a:pt x="277698" y="0"/>
                </a:moveTo>
                <a:lnTo>
                  <a:pt x="31965" y="0"/>
                </a:lnTo>
                <a:lnTo>
                  <a:pt x="31965" y="88252"/>
                </a:lnTo>
                <a:lnTo>
                  <a:pt x="143979" y="88252"/>
                </a:lnTo>
                <a:lnTo>
                  <a:pt x="76873" y="239775"/>
                </a:lnTo>
                <a:lnTo>
                  <a:pt x="151244" y="239775"/>
                </a:lnTo>
                <a:lnTo>
                  <a:pt x="158661" y="241287"/>
                </a:lnTo>
                <a:lnTo>
                  <a:pt x="192747" y="268046"/>
                </a:lnTo>
                <a:lnTo>
                  <a:pt x="200253" y="289356"/>
                </a:lnTo>
                <a:lnTo>
                  <a:pt x="200253" y="305130"/>
                </a:lnTo>
                <a:lnTo>
                  <a:pt x="178587" y="343052"/>
                </a:lnTo>
                <a:lnTo>
                  <a:pt x="151282" y="354698"/>
                </a:lnTo>
                <a:lnTo>
                  <a:pt x="275657" y="354698"/>
                </a:lnTo>
                <a:lnTo>
                  <a:pt x="286628" y="312534"/>
                </a:lnTo>
                <a:lnTo>
                  <a:pt x="287388" y="297560"/>
                </a:lnTo>
                <a:lnTo>
                  <a:pt x="286693" y="283047"/>
                </a:lnTo>
                <a:lnTo>
                  <a:pt x="276275" y="241833"/>
                </a:lnTo>
                <a:lnTo>
                  <a:pt x="254648" y="205403"/>
                </a:lnTo>
                <a:lnTo>
                  <a:pt x="225577" y="178193"/>
                </a:lnTo>
                <a:lnTo>
                  <a:pt x="204215" y="165747"/>
                </a:lnTo>
                <a:lnTo>
                  <a:pt x="277698" y="0"/>
                </a:lnTo>
                <a:close/>
              </a:path>
            </a:pathLst>
          </a:custGeom>
          <a:solidFill>
            <a:srgbClr val="C73442"/>
          </a:solidFill>
        </p:spPr>
        <p:txBody>
          <a:bodyPr wrap="square" lIns="0" tIns="0" rIns="0" bIns="0" rtlCol="0"/>
          <a:lstStyle/>
          <a:p>
            <a:pPr defTabSz="634950"/>
            <a:endParaRPr sz="125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5" name="object 11"/>
          <p:cNvSpPr/>
          <p:nvPr userDrawn="1"/>
        </p:nvSpPr>
        <p:spPr>
          <a:xfrm>
            <a:off x="11087695" y="6015417"/>
            <a:ext cx="204170" cy="303389"/>
          </a:xfrm>
          <a:custGeom>
            <a:avLst/>
            <a:gdLst/>
            <a:ahLst/>
            <a:cxnLst/>
            <a:rect l="l" t="t" r="r" b="b"/>
            <a:pathLst>
              <a:path w="294005" h="436879">
                <a:moveTo>
                  <a:pt x="162204" y="0"/>
                </a:moveTo>
                <a:lnTo>
                  <a:pt x="0" y="0"/>
                </a:lnTo>
                <a:lnTo>
                  <a:pt x="0" y="436714"/>
                </a:lnTo>
                <a:lnTo>
                  <a:pt x="87121" y="436714"/>
                </a:lnTo>
                <a:lnTo>
                  <a:pt x="87121" y="262483"/>
                </a:lnTo>
                <a:lnTo>
                  <a:pt x="162204" y="262483"/>
                </a:lnTo>
                <a:lnTo>
                  <a:pt x="201028" y="256756"/>
                </a:lnTo>
                <a:lnTo>
                  <a:pt x="235399" y="240210"/>
                </a:lnTo>
                <a:lnTo>
                  <a:pt x="270678" y="204927"/>
                </a:lnTo>
                <a:lnTo>
                  <a:pt x="284996" y="177063"/>
                </a:lnTo>
                <a:lnTo>
                  <a:pt x="87121" y="177063"/>
                </a:lnTo>
                <a:lnTo>
                  <a:pt x="87121" y="85420"/>
                </a:lnTo>
                <a:lnTo>
                  <a:pt x="284911" y="85420"/>
                </a:lnTo>
                <a:lnTo>
                  <a:pt x="282981" y="80327"/>
                </a:lnTo>
                <a:lnTo>
                  <a:pt x="254698" y="38747"/>
                </a:lnTo>
                <a:lnTo>
                  <a:pt x="213118" y="10464"/>
                </a:lnTo>
                <a:lnTo>
                  <a:pt x="175572" y="654"/>
                </a:lnTo>
                <a:lnTo>
                  <a:pt x="162204" y="0"/>
                </a:lnTo>
                <a:close/>
              </a:path>
              <a:path w="294005" h="436879">
                <a:moveTo>
                  <a:pt x="284911" y="85420"/>
                </a:moveTo>
                <a:lnTo>
                  <a:pt x="151460" y="85420"/>
                </a:lnTo>
                <a:lnTo>
                  <a:pt x="160475" y="86251"/>
                </a:lnTo>
                <a:lnTo>
                  <a:pt x="168854" y="88744"/>
                </a:lnTo>
                <a:lnTo>
                  <a:pt x="196433" y="122000"/>
                </a:lnTo>
                <a:lnTo>
                  <a:pt x="197281" y="131241"/>
                </a:lnTo>
                <a:lnTo>
                  <a:pt x="196433" y="140488"/>
                </a:lnTo>
                <a:lnTo>
                  <a:pt x="168854" y="173739"/>
                </a:lnTo>
                <a:lnTo>
                  <a:pt x="151460" y="177063"/>
                </a:lnTo>
                <a:lnTo>
                  <a:pt x="284996" y="177063"/>
                </a:lnTo>
                <a:lnTo>
                  <a:pt x="287563" y="170219"/>
                </a:lnTo>
                <a:lnTo>
                  <a:pt x="290833" y="157614"/>
                </a:lnTo>
                <a:lnTo>
                  <a:pt x="292793" y="144621"/>
                </a:lnTo>
                <a:lnTo>
                  <a:pt x="293446" y="131241"/>
                </a:lnTo>
                <a:lnTo>
                  <a:pt x="292793" y="117878"/>
                </a:lnTo>
                <a:lnTo>
                  <a:pt x="290833" y="104936"/>
                </a:lnTo>
                <a:lnTo>
                  <a:pt x="287563" y="92419"/>
                </a:lnTo>
                <a:lnTo>
                  <a:pt x="284911" y="854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634950"/>
            <a:endParaRPr sz="1250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58064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31359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55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0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3877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8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520 P33 Overview - CBIA v2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369865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3134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79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6000"/>
              </a:lnSpc>
              <a:spcBef>
                <a:spcPct val="0"/>
              </a:spcBef>
              <a:spcAft>
                <a:spcPct val="0"/>
              </a:spcAft>
            </a:pPr>
            <a:endParaRPr lang="en-US" sz="54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20190520 P33 Overview - CBIA v2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0558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62771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44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6000"/>
              </a:lnSpc>
              <a:spcBef>
                <a:spcPct val="0"/>
              </a:spcBef>
              <a:spcAft>
                <a:spcPct val="0"/>
              </a:spcAft>
            </a:pPr>
            <a:endParaRPr lang="en-US" sz="54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520 P33 Overview - CBIA v2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79662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87531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327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02179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8733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303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87798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20190520 P33 Overview - CBIA v2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30073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8549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32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520 P33 Overview - CBIA v2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14252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89122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35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20190520 P33 Overview - CBIA v2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02310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72222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37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520 P33 Overview - CBIA v2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24906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bg>
      <p:bgPr>
        <a:solidFill>
          <a:srgbClr val="1F417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39141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300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 10"/>
          <p:cNvGrpSpPr/>
          <p:nvPr userDrawn="1"/>
        </p:nvGrpSpPr>
        <p:grpSpPr>
          <a:xfrm>
            <a:off x="4596384" y="1929384"/>
            <a:ext cx="2999232" cy="2999233"/>
            <a:chOff x="5815584" y="2615183"/>
            <a:chExt cx="2999232" cy="2999233"/>
          </a:xfrm>
        </p:grpSpPr>
        <p:sp>
          <p:nvSpPr>
            <p:cNvPr id="12" name="object 3"/>
            <p:cNvSpPr/>
            <p:nvPr userDrawn="1"/>
          </p:nvSpPr>
          <p:spPr>
            <a:xfrm>
              <a:off x="5815584" y="2615183"/>
              <a:ext cx="2999232" cy="2999233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45719" rIns="45719"/>
            <a:lstStyle/>
            <a:p>
              <a:endParaRPr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3" name="object 4"/>
            <p:cNvSpPr/>
            <p:nvPr userDrawn="1"/>
          </p:nvSpPr>
          <p:spPr>
            <a:xfrm>
              <a:off x="6192863" y="5033555"/>
              <a:ext cx="2244662" cy="203582"/>
            </a:xfrm>
            <a:prstGeom prst="rect">
              <a:avLst/>
            </a:prstGeom>
            <a:solidFill>
              <a:srgbClr val="2B9CDA"/>
            </a:solidFill>
            <a:ln w="12700">
              <a:miter lim="400000"/>
            </a:ln>
          </p:spPr>
          <p:txBody>
            <a:bodyPr lIns="45719" rIns="45719"/>
            <a:lstStyle/>
            <a:p>
              <a:endParaRPr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" name="object 5"/>
            <p:cNvSpPr/>
            <p:nvPr userDrawn="1"/>
          </p:nvSpPr>
          <p:spPr>
            <a:xfrm>
              <a:off x="6192863" y="2992475"/>
              <a:ext cx="2244662" cy="203581"/>
            </a:xfrm>
            <a:prstGeom prst="rect">
              <a:avLst/>
            </a:prstGeom>
            <a:solidFill>
              <a:srgbClr val="2B9CDA"/>
            </a:solidFill>
            <a:ln w="12700">
              <a:miter lim="400000"/>
            </a:ln>
          </p:spPr>
          <p:txBody>
            <a:bodyPr lIns="45719" rIns="45719"/>
            <a:lstStyle/>
            <a:p>
              <a:endParaRPr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6" name="object 6"/>
            <p:cNvGrpSpPr/>
            <p:nvPr userDrawn="1"/>
          </p:nvGrpSpPr>
          <p:grpSpPr>
            <a:xfrm>
              <a:off x="6928174" y="3562082"/>
              <a:ext cx="717183" cy="1105435"/>
              <a:chOff x="0" y="0"/>
              <a:chExt cx="717182" cy="1105433"/>
            </a:xfrm>
          </p:grpSpPr>
          <p:sp>
            <p:nvSpPr>
              <p:cNvPr id="23" name="Shape"/>
              <p:cNvSpPr/>
              <p:nvPr/>
            </p:nvSpPr>
            <p:spPr>
              <a:xfrm>
                <a:off x="0" y="741183"/>
                <a:ext cx="687910" cy="36425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474" y="6278"/>
                    </a:lnTo>
                    <a:lnTo>
                      <a:pt x="1313" y="10162"/>
                    </a:lnTo>
                    <a:lnTo>
                      <a:pt x="2534" y="13673"/>
                    </a:lnTo>
                    <a:lnTo>
                      <a:pt x="4114" y="16744"/>
                    </a:lnTo>
                    <a:lnTo>
                      <a:pt x="5935" y="19103"/>
                    </a:lnTo>
                    <a:lnTo>
                      <a:pt x="7964" y="20699"/>
                    </a:lnTo>
                    <a:lnTo>
                      <a:pt x="10118" y="21500"/>
                    </a:lnTo>
                    <a:lnTo>
                      <a:pt x="11237" y="21600"/>
                    </a:lnTo>
                    <a:lnTo>
                      <a:pt x="12360" y="21500"/>
                    </a:lnTo>
                    <a:lnTo>
                      <a:pt x="14523" y="20705"/>
                    </a:lnTo>
                    <a:lnTo>
                      <a:pt x="16571" y="19120"/>
                    </a:lnTo>
                    <a:lnTo>
                      <a:pt x="18403" y="16776"/>
                    </a:lnTo>
                    <a:lnTo>
                      <a:pt x="19966" y="13723"/>
                    </a:lnTo>
                    <a:lnTo>
                      <a:pt x="21176" y="10228"/>
                    </a:lnTo>
                    <a:lnTo>
                      <a:pt x="21600" y="8540"/>
                    </a:lnTo>
                    <a:lnTo>
                      <a:pt x="11237" y="8540"/>
                    </a:lnTo>
                    <a:lnTo>
                      <a:pt x="10782" y="8498"/>
                    </a:lnTo>
                    <a:lnTo>
                      <a:pt x="9517" y="7870"/>
                    </a:lnTo>
                    <a:lnTo>
                      <a:pt x="8437" y="6583"/>
                    </a:lnTo>
                    <a:lnTo>
                      <a:pt x="7593" y="4763"/>
                    </a:lnTo>
                    <a:lnTo>
                      <a:pt x="7025" y="2520"/>
                    </a:lnTo>
                    <a:lnTo>
                      <a:pt x="6849" y="866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4" name="Shape"/>
              <p:cNvSpPr/>
              <p:nvPr/>
            </p:nvSpPr>
            <p:spPr>
              <a:xfrm>
                <a:off x="79754" y="0"/>
                <a:ext cx="637428" cy="88520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4"/>
                    </a:lnTo>
                    <a:lnTo>
                      <a:pt x="9472" y="5374"/>
                    </a:lnTo>
                    <a:lnTo>
                      <a:pt x="3797" y="14602"/>
                    </a:lnTo>
                    <a:lnTo>
                      <a:pt x="9420" y="14602"/>
                    </a:lnTo>
                    <a:lnTo>
                      <a:pt x="9913" y="14619"/>
                    </a:lnTo>
                    <a:lnTo>
                      <a:pt x="11302" y="14876"/>
                    </a:lnTo>
                    <a:lnTo>
                      <a:pt x="12490" y="15404"/>
                    </a:lnTo>
                    <a:lnTo>
                      <a:pt x="13405" y="16150"/>
                    </a:lnTo>
                    <a:lnTo>
                      <a:pt x="14018" y="17068"/>
                    </a:lnTo>
                    <a:lnTo>
                      <a:pt x="14232" y="18086"/>
                    </a:lnTo>
                    <a:lnTo>
                      <a:pt x="14231" y="18121"/>
                    </a:lnTo>
                    <a:lnTo>
                      <a:pt x="14018" y="19133"/>
                    </a:lnTo>
                    <a:lnTo>
                      <a:pt x="13405" y="20052"/>
                    </a:lnTo>
                    <a:lnTo>
                      <a:pt x="12492" y="20798"/>
                    </a:lnTo>
                    <a:lnTo>
                      <a:pt x="11304" y="21325"/>
                    </a:lnTo>
                    <a:lnTo>
                      <a:pt x="9917" y="21583"/>
                    </a:lnTo>
                    <a:lnTo>
                      <a:pt x="9425" y="21600"/>
                    </a:lnTo>
                    <a:lnTo>
                      <a:pt x="20608" y="21600"/>
                    </a:lnTo>
                    <a:lnTo>
                      <a:pt x="21074" y="20701"/>
                    </a:lnTo>
                    <a:lnTo>
                      <a:pt x="21542" y="19005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1071" y="15540"/>
                    </a:lnTo>
                    <a:lnTo>
                      <a:pt x="20144" y="13947"/>
                    </a:lnTo>
                    <a:lnTo>
                      <a:pt x="18832" y="12509"/>
                    </a:lnTo>
                    <a:lnTo>
                      <a:pt x="17625" y="11582"/>
                    </a:lnTo>
                    <a:lnTo>
                      <a:pt x="16373" y="10852"/>
                    </a:lnTo>
                    <a:lnTo>
                      <a:pt x="15041" y="10257"/>
                    </a:lnTo>
                    <a:lnTo>
                      <a:pt x="14568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17" name="object 7"/>
            <p:cNvGrpSpPr/>
            <p:nvPr userDrawn="1"/>
          </p:nvGrpSpPr>
          <p:grpSpPr>
            <a:xfrm>
              <a:off x="7718148" y="3562082"/>
              <a:ext cx="717182" cy="1105434"/>
              <a:chOff x="0" y="0"/>
              <a:chExt cx="717181" cy="1105432"/>
            </a:xfrm>
          </p:grpSpPr>
          <p:sp>
            <p:nvSpPr>
              <p:cNvPr id="21" name="Shape"/>
              <p:cNvSpPr/>
              <p:nvPr/>
            </p:nvSpPr>
            <p:spPr>
              <a:xfrm>
                <a:off x="0" y="741183"/>
                <a:ext cx="687910" cy="36425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474" y="6278"/>
                    </a:lnTo>
                    <a:lnTo>
                      <a:pt x="1313" y="10162"/>
                    </a:lnTo>
                    <a:lnTo>
                      <a:pt x="2534" y="13673"/>
                    </a:lnTo>
                    <a:lnTo>
                      <a:pt x="4114" y="16744"/>
                    </a:lnTo>
                    <a:lnTo>
                      <a:pt x="5935" y="19103"/>
                    </a:lnTo>
                    <a:lnTo>
                      <a:pt x="7964" y="20699"/>
                    </a:lnTo>
                    <a:lnTo>
                      <a:pt x="10118" y="21500"/>
                    </a:lnTo>
                    <a:lnTo>
                      <a:pt x="11237" y="21600"/>
                    </a:lnTo>
                    <a:lnTo>
                      <a:pt x="12360" y="21500"/>
                    </a:lnTo>
                    <a:lnTo>
                      <a:pt x="14522" y="20705"/>
                    </a:lnTo>
                    <a:lnTo>
                      <a:pt x="16571" y="19120"/>
                    </a:lnTo>
                    <a:lnTo>
                      <a:pt x="18403" y="16776"/>
                    </a:lnTo>
                    <a:lnTo>
                      <a:pt x="19966" y="13723"/>
                    </a:lnTo>
                    <a:lnTo>
                      <a:pt x="21176" y="10228"/>
                    </a:lnTo>
                    <a:lnTo>
                      <a:pt x="21600" y="8540"/>
                    </a:lnTo>
                    <a:lnTo>
                      <a:pt x="11237" y="8540"/>
                    </a:lnTo>
                    <a:lnTo>
                      <a:pt x="10782" y="8498"/>
                    </a:lnTo>
                    <a:lnTo>
                      <a:pt x="9516" y="7870"/>
                    </a:lnTo>
                    <a:lnTo>
                      <a:pt x="8437" y="6583"/>
                    </a:lnTo>
                    <a:lnTo>
                      <a:pt x="7593" y="4763"/>
                    </a:lnTo>
                    <a:lnTo>
                      <a:pt x="7024" y="2520"/>
                    </a:lnTo>
                    <a:lnTo>
                      <a:pt x="6849" y="866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2" name="Shape"/>
              <p:cNvSpPr/>
              <p:nvPr/>
            </p:nvSpPr>
            <p:spPr>
              <a:xfrm>
                <a:off x="79754" y="0"/>
                <a:ext cx="637428" cy="88520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4"/>
                    </a:lnTo>
                    <a:lnTo>
                      <a:pt x="9472" y="5374"/>
                    </a:lnTo>
                    <a:lnTo>
                      <a:pt x="3797" y="14602"/>
                    </a:lnTo>
                    <a:lnTo>
                      <a:pt x="9420" y="14602"/>
                    </a:lnTo>
                    <a:lnTo>
                      <a:pt x="9913" y="14619"/>
                    </a:lnTo>
                    <a:lnTo>
                      <a:pt x="11302" y="14876"/>
                    </a:lnTo>
                    <a:lnTo>
                      <a:pt x="12490" y="15404"/>
                    </a:lnTo>
                    <a:lnTo>
                      <a:pt x="13405" y="16150"/>
                    </a:lnTo>
                    <a:lnTo>
                      <a:pt x="14018" y="17068"/>
                    </a:lnTo>
                    <a:lnTo>
                      <a:pt x="14231" y="18086"/>
                    </a:lnTo>
                    <a:lnTo>
                      <a:pt x="14231" y="18121"/>
                    </a:lnTo>
                    <a:lnTo>
                      <a:pt x="14018" y="19133"/>
                    </a:lnTo>
                    <a:lnTo>
                      <a:pt x="13405" y="20052"/>
                    </a:lnTo>
                    <a:lnTo>
                      <a:pt x="12492" y="20798"/>
                    </a:lnTo>
                    <a:lnTo>
                      <a:pt x="11304" y="21325"/>
                    </a:lnTo>
                    <a:lnTo>
                      <a:pt x="9916" y="21583"/>
                    </a:lnTo>
                    <a:lnTo>
                      <a:pt x="9424" y="21600"/>
                    </a:lnTo>
                    <a:lnTo>
                      <a:pt x="20608" y="21600"/>
                    </a:lnTo>
                    <a:lnTo>
                      <a:pt x="21074" y="20701"/>
                    </a:lnTo>
                    <a:lnTo>
                      <a:pt x="21542" y="19005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1072" y="15540"/>
                    </a:lnTo>
                    <a:lnTo>
                      <a:pt x="20144" y="13947"/>
                    </a:lnTo>
                    <a:lnTo>
                      <a:pt x="18832" y="12509"/>
                    </a:lnTo>
                    <a:lnTo>
                      <a:pt x="17625" y="11582"/>
                    </a:lnTo>
                    <a:lnTo>
                      <a:pt x="16373" y="10852"/>
                    </a:lnTo>
                    <a:lnTo>
                      <a:pt x="15041" y="10257"/>
                    </a:lnTo>
                    <a:lnTo>
                      <a:pt x="14567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18" name="object 8"/>
            <p:cNvGrpSpPr/>
            <p:nvPr userDrawn="1"/>
          </p:nvGrpSpPr>
          <p:grpSpPr>
            <a:xfrm>
              <a:off x="6195071" y="3569853"/>
              <a:ext cx="732335" cy="1089903"/>
              <a:chOff x="0" y="0"/>
              <a:chExt cx="732334" cy="1089902"/>
            </a:xfrm>
          </p:grpSpPr>
          <p:sp>
            <p:nvSpPr>
              <p:cNvPr id="19" name="Shape"/>
              <p:cNvSpPr/>
              <p:nvPr/>
            </p:nvSpPr>
            <p:spPr>
              <a:xfrm>
                <a:off x="0" y="0"/>
                <a:ext cx="711249" cy="108990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2294" y="0"/>
                    </a:moveTo>
                    <a:lnTo>
                      <a:pt x="0" y="0"/>
                    </a:lnTo>
                    <a:lnTo>
                      <a:pt x="0" y="21600"/>
                    </a:lnTo>
                    <a:lnTo>
                      <a:pt x="6603" y="21600"/>
                    </a:lnTo>
                    <a:lnTo>
                      <a:pt x="6603" y="12983"/>
                    </a:lnTo>
                    <a:lnTo>
                      <a:pt x="12294" y="12983"/>
                    </a:lnTo>
                    <a:lnTo>
                      <a:pt x="14287" y="12857"/>
                    </a:lnTo>
                    <a:lnTo>
                      <a:pt x="16153" y="12479"/>
                    </a:lnTo>
                    <a:lnTo>
                      <a:pt x="17841" y="11881"/>
                    </a:lnTo>
                    <a:lnTo>
                      <a:pt x="19304" y="11094"/>
                    </a:lnTo>
                    <a:lnTo>
                      <a:pt x="20515" y="10136"/>
                    </a:lnTo>
                    <a:lnTo>
                      <a:pt x="21447" y="9023"/>
                    </a:lnTo>
                    <a:lnTo>
                      <a:pt x="21600" y="8758"/>
                    </a:lnTo>
                    <a:lnTo>
                      <a:pt x="6603" y="8758"/>
                    </a:lnTo>
                    <a:lnTo>
                      <a:pt x="6603" y="4225"/>
                    </a:lnTo>
                    <a:lnTo>
                      <a:pt x="21593" y="4225"/>
                    </a:lnTo>
                    <a:lnTo>
                      <a:pt x="21447" y="3973"/>
                    </a:lnTo>
                    <a:lnTo>
                      <a:pt x="20515" y="2872"/>
                    </a:lnTo>
                    <a:lnTo>
                      <a:pt x="19304" y="1917"/>
                    </a:lnTo>
                    <a:lnTo>
                      <a:pt x="17841" y="1126"/>
                    </a:lnTo>
                    <a:lnTo>
                      <a:pt x="16153" y="518"/>
                    </a:lnTo>
                    <a:lnTo>
                      <a:pt x="14287" y="130"/>
                    </a:lnTo>
                    <a:lnTo>
                      <a:pt x="13307" y="32"/>
                    </a:lnTo>
                    <a:lnTo>
                      <a:pt x="12294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0" name="Shape"/>
              <p:cNvSpPr/>
              <p:nvPr/>
            </p:nvSpPr>
            <p:spPr>
              <a:xfrm>
                <a:off x="377991" y="213181"/>
                <a:ext cx="354343" cy="22871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301" y="0"/>
                    </a:moveTo>
                    <a:lnTo>
                      <a:pt x="0" y="0"/>
                    </a:lnTo>
                    <a:lnTo>
                      <a:pt x="1371" y="196"/>
                    </a:lnTo>
                    <a:lnTo>
                      <a:pt x="2646" y="784"/>
                    </a:lnTo>
                    <a:lnTo>
                      <a:pt x="4905" y="3134"/>
                    </a:lnTo>
                    <a:lnTo>
                      <a:pt x="6454" y="6618"/>
                    </a:lnTo>
                    <a:lnTo>
                      <a:pt x="6971" y="10799"/>
                    </a:lnTo>
                    <a:lnTo>
                      <a:pt x="6841" y="12979"/>
                    </a:lnTo>
                    <a:lnTo>
                      <a:pt x="5809" y="16812"/>
                    </a:lnTo>
                    <a:lnTo>
                      <a:pt x="3824" y="19838"/>
                    </a:lnTo>
                    <a:lnTo>
                      <a:pt x="1371" y="21404"/>
                    </a:lnTo>
                    <a:lnTo>
                      <a:pt x="0" y="21600"/>
                    </a:lnTo>
                    <a:lnTo>
                      <a:pt x="20315" y="21600"/>
                    </a:lnTo>
                    <a:lnTo>
                      <a:pt x="20705" y="19988"/>
                    </a:lnTo>
                    <a:lnTo>
                      <a:pt x="21202" y="17016"/>
                    </a:lnTo>
                    <a:lnTo>
                      <a:pt x="21501" y="13954"/>
                    </a:lnTo>
                    <a:lnTo>
                      <a:pt x="21600" y="10799"/>
                    </a:lnTo>
                    <a:lnTo>
                      <a:pt x="21501" y="7650"/>
                    </a:lnTo>
                    <a:lnTo>
                      <a:pt x="21202" y="4600"/>
                    </a:lnTo>
                    <a:lnTo>
                      <a:pt x="20705" y="1651"/>
                    </a:lnTo>
                    <a:lnTo>
                      <a:pt x="20301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61247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4080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9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520 P33 Overview - CBIA v2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95993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35007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76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0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520 P33 Overview - CBIA v2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877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800" b="0" i="0" u="none" kern="1200" cap="all" spc="0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57312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38435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42" name="think-cell Slide" r:id="rId6" imgW="384" imgH="384" progId="TCLayout.ActiveDocument.1">
                  <p:embed/>
                </p:oleObj>
              </mc:Choice>
              <mc:Fallback>
                <p:oleObj name="think-cell Slide" r:id="rId6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pic>
        <p:nvPicPr>
          <p:cNvPr id="15" name="TitleAndEndImages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056"/>
          <a:stretch/>
        </p:blipFill>
        <p:spPr>
          <a:xfrm flipH="1">
            <a:off x="0" y="0"/>
            <a:ext cx="12192000" cy="527685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cap="all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cap="all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10028055" y="5402272"/>
            <a:ext cx="1442366" cy="1442363"/>
            <a:chOff x="5815584" y="2615183"/>
            <a:chExt cx="2999232" cy="2999233"/>
          </a:xfrm>
        </p:grpSpPr>
        <p:sp>
          <p:nvSpPr>
            <p:cNvPr id="17" name="object 3"/>
            <p:cNvSpPr/>
            <p:nvPr userDrawn="1"/>
          </p:nvSpPr>
          <p:spPr>
            <a:xfrm>
              <a:off x="5815584" y="2615183"/>
              <a:ext cx="2999232" cy="2999233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45719" rIns="45719"/>
            <a:lstStyle/>
            <a:p>
              <a:pPr hangingPunct="0"/>
              <a:endParaRPr kern="0" dirty="0">
                <a:solidFill>
                  <a:srgbClr val="000000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9" name="object 4"/>
            <p:cNvSpPr/>
            <p:nvPr userDrawn="1"/>
          </p:nvSpPr>
          <p:spPr>
            <a:xfrm>
              <a:off x="6192863" y="5033555"/>
              <a:ext cx="2244662" cy="203582"/>
            </a:xfrm>
            <a:prstGeom prst="rect">
              <a:avLst/>
            </a:prstGeom>
            <a:solidFill>
              <a:srgbClr val="2B9CDA"/>
            </a:solidFill>
            <a:ln w="12700">
              <a:miter lim="400000"/>
            </a:ln>
          </p:spPr>
          <p:txBody>
            <a:bodyPr lIns="45719" rIns="45719"/>
            <a:lstStyle/>
            <a:p>
              <a:pPr hangingPunct="0"/>
              <a:endParaRPr kern="0" dirty="0">
                <a:solidFill>
                  <a:srgbClr val="000000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23" name="object 5"/>
            <p:cNvSpPr/>
            <p:nvPr userDrawn="1"/>
          </p:nvSpPr>
          <p:spPr>
            <a:xfrm>
              <a:off x="6192863" y="2992475"/>
              <a:ext cx="2244662" cy="203581"/>
            </a:xfrm>
            <a:prstGeom prst="rect">
              <a:avLst/>
            </a:prstGeom>
            <a:solidFill>
              <a:srgbClr val="2B9CDA"/>
            </a:solidFill>
            <a:ln w="12700">
              <a:miter lim="400000"/>
            </a:ln>
          </p:spPr>
          <p:txBody>
            <a:bodyPr lIns="45719" rIns="45719"/>
            <a:lstStyle/>
            <a:p>
              <a:pPr hangingPunct="0"/>
              <a:endParaRPr kern="0" dirty="0">
                <a:solidFill>
                  <a:srgbClr val="000000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24" name="object 6"/>
            <p:cNvGrpSpPr/>
            <p:nvPr userDrawn="1"/>
          </p:nvGrpSpPr>
          <p:grpSpPr>
            <a:xfrm>
              <a:off x="6928174" y="3562082"/>
              <a:ext cx="717183" cy="1105435"/>
              <a:chOff x="0" y="0"/>
              <a:chExt cx="717182" cy="1105433"/>
            </a:xfrm>
          </p:grpSpPr>
          <p:sp>
            <p:nvSpPr>
              <p:cNvPr id="33" name="Shape"/>
              <p:cNvSpPr/>
              <p:nvPr/>
            </p:nvSpPr>
            <p:spPr>
              <a:xfrm>
                <a:off x="0" y="741183"/>
                <a:ext cx="687910" cy="36425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474" y="6278"/>
                    </a:lnTo>
                    <a:lnTo>
                      <a:pt x="1313" y="10162"/>
                    </a:lnTo>
                    <a:lnTo>
                      <a:pt x="2534" y="13673"/>
                    </a:lnTo>
                    <a:lnTo>
                      <a:pt x="4114" y="16744"/>
                    </a:lnTo>
                    <a:lnTo>
                      <a:pt x="5935" y="19103"/>
                    </a:lnTo>
                    <a:lnTo>
                      <a:pt x="7964" y="20699"/>
                    </a:lnTo>
                    <a:lnTo>
                      <a:pt x="10118" y="21500"/>
                    </a:lnTo>
                    <a:lnTo>
                      <a:pt x="11237" y="21600"/>
                    </a:lnTo>
                    <a:lnTo>
                      <a:pt x="12360" y="21500"/>
                    </a:lnTo>
                    <a:lnTo>
                      <a:pt x="14523" y="20705"/>
                    </a:lnTo>
                    <a:lnTo>
                      <a:pt x="16571" y="19120"/>
                    </a:lnTo>
                    <a:lnTo>
                      <a:pt x="18403" y="16776"/>
                    </a:lnTo>
                    <a:lnTo>
                      <a:pt x="19966" y="13723"/>
                    </a:lnTo>
                    <a:lnTo>
                      <a:pt x="21176" y="10228"/>
                    </a:lnTo>
                    <a:lnTo>
                      <a:pt x="21600" y="8540"/>
                    </a:lnTo>
                    <a:lnTo>
                      <a:pt x="11237" y="8540"/>
                    </a:lnTo>
                    <a:lnTo>
                      <a:pt x="10782" y="8498"/>
                    </a:lnTo>
                    <a:lnTo>
                      <a:pt x="9517" y="7870"/>
                    </a:lnTo>
                    <a:lnTo>
                      <a:pt x="8437" y="6583"/>
                    </a:lnTo>
                    <a:lnTo>
                      <a:pt x="7593" y="4763"/>
                    </a:lnTo>
                    <a:lnTo>
                      <a:pt x="7025" y="2520"/>
                    </a:lnTo>
                    <a:lnTo>
                      <a:pt x="6849" y="866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hangingPunct="0"/>
                <a:endParaRPr kern="0" dirty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34" name="Shape"/>
              <p:cNvSpPr/>
              <p:nvPr/>
            </p:nvSpPr>
            <p:spPr>
              <a:xfrm>
                <a:off x="79754" y="0"/>
                <a:ext cx="637428" cy="88520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4"/>
                    </a:lnTo>
                    <a:lnTo>
                      <a:pt x="9472" y="5374"/>
                    </a:lnTo>
                    <a:lnTo>
                      <a:pt x="3797" y="14602"/>
                    </a:lnTo>
                    <a:lnTo>
                      <a:pt x="9420" y="14602"/>
                    </a:lnTo>
                    <a:lnTo>
                      <a:pt x="9913" y="14619"/>
                    </a:lnTo>
                    <a:lnTo>
                      <a:pt x="11302" y="14876"/>
                    </a:lnTo>
                    <a:lnTo>
                      <a:pt x="12490" y="15404"/>
                    </a:lnTo>
                    <a:lnTo>
                      <a:pt x="13405" y="16150"/>
                    </a:lnTo>
                    <a:lnTo>
                      <a:pt x="14018" y="17068"/>
                    </a:lnTo>
                    <a:lnTo>
                      <a:pt x="14232" y="18086"/>
                    </a:lnTo>
                    <a:lnTo>
                      <a:pt x="14231" y="18121"/>
                    </a:lnTo>
                    <a:lnTo>
                      <a:pt x="14018" y="19133"/>
                    </a:lnTo>
                    <a:lnTo>
                      <a:pt x="13405" y="20052"/>
                    </a:lnTo>
                    <a:lnTo>
                      <a:pt x="12492" y="20798"/>
                    </a:lnTo>
                    <a:lnTo>
                      <a:pt x="11304" y="21325"/>
                    </a:lnTo>
                    <a:lnTo>
                      <a:pt x="9917" y="21583"/>
                    </a:lnTo>
                    <a:lnTo>
                      <a:pt x="9425" y="21600"/>
                    </a:lnTo>
                    <a:lnTo>
                      <a:pt x="20608" y="21600"/>
                    </a:lnTo>
                    <a:lnTo>
                      <a:pt x="21074" y="20701"/>
                    </a:lnTo>
                    <a:lnTo>
                      <a:pt x="21542" y="19005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1071" y="15540"/>
                    </a:lnTo>
                    <a:lnTo>
                      <a:pt x="20144" y="13947"/>
                    </a:lnTo>
                    <a:lnTo>
                      <a:pt x="18832" y="12509"/>
                    </a:lnTo>
                    <a:lnTo>
                      <a:pt x="17625" y="11582"/>
                    </a:lnTo>
                    <a:lnTo>
                      <a:pt x="16373" y="10852"/>
                    </a:lnTo>
                    <a:lnTo>
                      <a:pt x="15041" y="10257"/>
                    </a:lnTo>
                    <a:lnTo>
                      <a:pt x="14568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hangingPunct="0"/>
                <a:endParaRPr kern="0" dirty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25" name="object 7"/>
            <p:cNvGrpSpPr/>
            <p:nvPr userDrawn="1"/>
          </p:nvGrpSpPr>
          <p:grpSpPr>
            <a:xfrm>
              <a:off x="7718148" y="3562082"/>
              <a:ext cx="717182" cy="1105434"/>
              <a:chOff x="0" y="0"/>
              <a:chExt cx="717181" cy="1105432"/>
            </a:xfrm>
          </p:grpSpPr>
          <p:sp>
            <p:nvSpPr>
              <p:cNvPr id="31" name="Shape"/>
              <p:cNvSpPr/>
              <p:nvPr/>
            </p:nvSpPr>
            <p:spPr>
              <a:xfrm>
                <a:off x="0" y="741183"/>
                <a:ext cx="687910" cy="36425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474" y="6278"/>
                    </a:lnTo>
                    <a:lnTo>
                      <a:pt x="1313" y="10162"/>
                    </a:lnTo>
                    <a:lnTo>
                      <a:pt x="2534" y="13673"/>
                    </a:lnTo>
                    <a:lnTo>
                      <a:pt x="4114" y="16744"/>
                    </a:lnTo>
                    <a:lnTo>
                      <a:pt x="5935" y="19103"/>
                    </a:lnTo>
                    <a:lnTo>
                      <a:pt x="7964" y="20699"/>
                    </a:lnTo>
                    <a:lnTo>
                      <a:pt x="10118" y="21500"/>
                    </a:lnTo>
                    <a:lnTo>
                      <a:pt x="11237" y="21600"/>
                    </a:lnTo>
                    <a:lnTo>
                      <a:pt x="12360" y="21500"/>
                    </a:lnTo>
                    <a:lnTo>
                      <a:pt x="14522" y="20705"/>
                    </a:lnTo>
                    <a:lnTo>
                      <a:pt x="16571" y="19120"/>
                    </a:lnTo>
                    <a:lnTo>
                      <a:pt x="18403" y="16776"/>
                    </a:lnTo>
                    <a:lnTo>
                      <a:pt x="19966" y="13723"/>
                    </a:lnTo>
                    <a:lnTo>
                      <a:pt x="21176" y="10228"/>
                    </a:lnTo>
                    <a:lnTo>
                      <a:pt x="21600" y="8540"/>
                    </a:lnTo>
                    <a:lnTo>
                      <a:pt x="11237" y="8540"/>
                    </a:lnTo>
                    <a:lnTo>
                      <a:pt x="10782" y="8498"/>
                    </a:lnTo>
                    <a:lnTo>
                      <a:pt x="9516" y="7870"/>
                    </a:lnTo>
                    <a:lnTo>
                      <a:pt x="8437" y="6583"/>
                    </a:lnTo>
                    <a:lnTo>
                      <a:pt x="7593" y="4763"/>
                    </a:lnTo>
                    <a:lnTo>
                      <a:pt x="7024" y="2520"/>
                    </a:lnTo>
                    <a:lnTo>
                      <a:pt x="6849" y="866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hangingPunct="0"/>
                <a:endParaRPr kern="0" dirty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32" name="Shape"/>
              <p:cNvSpPr/>
              <p:nvPr/>
            </p:nvSpPr>
            <p:spPr>
              <a:xfrm>
                <a:off x="79754" y="0"/>
                <a:ext cx="637428" cy="88520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4"/>
                    </a:lnTo>
                    <a:lnTo>
                      <a:pt x="9472" y="5374"/>
                    </a:lnTo>
                    <a:lnTo>
                      <a:pt x="3797" y="14602"/>
                    </a:lnTo>
                    <a:lnTo>
                      <a:pt x="9420" y="14602"/>
                    </a:lnTo>
                    <a:lnTo>
                      <a:pt x="9913" y="14619"/>
                    </a:lnTo>
                    <a:lnTo>
                      <a:pt x="11302" y="14876"/>
                    </a:lnTo>
                    <a:lnTo>
                      <a:pt x="12490" y="15404"/>
                    </a:lnTo>
                    <a:lnTo>
                      <a:pt x="13405" y="16150"/>
                    </a:lnTo>
                    <a:lnTo>
                      <a:pt x="14018" y="17068"/>
                    </a:lnTo>
                    <a:lnTo>
                      <a:pt x="14231" y="18086"/>
                    </a:lnTo>
                    <a:lnTo>
                      <a:pt x="14231" y="18121"/>
                    </a:lnTo>
                    <a:lnTo>
                      <a:pt x="14018" y="19133"/>
                    </a:lnTo>
                    <a:lnTo>
                      <a:pt x="13405" y="20052"/>
                    </a:lnTo>
                    <a:lnTo>
                      <a:pt x="12492" y="20798"/>
                    </a:lnTo>
                    <a:lnTo>
                      <a:pt x="11304" y="21325"/>
                    </a:lnTo>
                    <a:lnTo>
                      <a:pt x="9916" y="21583"/>
                    </a:lnTo>
                    <a:lnTo>
                      <a:pt x="9424" y="21600"/>
                    </a:lnTo>
                    <a:lnTo>
                      <a:pt x="20608" y="21600"/>
                    </a:lnTo>
                    <a:lnTo>
                      <a:pt x="21074" y="20701"/>
                    </a:lnTo>
                    <a:lnTo>
                      <a:pt x="21542" y="19005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1072" y="15540"/>
                    </a:lnTo>
                    <a:lnTo>
                      <a:pt x="20144" y="13947"/>
                    </a:lnTo>
                    <a:lnTo>
                      <a:pt x="18832" y="12509"/>
                    </a:lnTo>
                    <a:lnTo>
                      <a:pt x="17625" y="11582"/>
                    </a:lnTo>
                    <a:lnTo>
                      <a:pt x="16373" y="10852"/>
                    </a:lnTo>
                    <a:lnTo>
                      <a:pt x="15041" y="10257"/>
                    </a:lnTo>
                    <a:lnTo>
                      <a:pt x="14567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hangingPunct="0"/>
                <a:endParaRPr kern="0" dirty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28" name="object 8"/>
            <p:cNvGrpSpPr/>
            <p:nvPr userDrawn="1"/>
          </p:nvGrpSpPr>
          <p:grpSpPr>
            <a:xfrm>
              <a:off x="6195071" y="3569853"/>
              <a:ext cx="732335" cy="1089903"/>
              <a:chOff x="0" y="0"/>
              <a:chExt cx="732334" cy="1089902"/>
            </a:xfrm>
          </p:grpSpPr>
          <p:sp>
            <p:nvSpPr>
              <p:cNvPr id="29" name="Shape"/>
              <p:cNvSpPr/>
              <p:nvPr/>
            </p:nvSpPr>
            <p:spPr>
              <a:xfrm>
                <a:off x="0" y="0"/>
                <a:ext cx="711249" cy="108990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2294" y="0"/>
                    </a:moveTo>
                    <a:lnTo>
                      <a:pt x="0" y="0"/>
                    </a:lnTo>
                    <a:lnTo>
                      <a:pt x="0" y="21600"/>
                    </a:lnTo>
                    <a:lnTo>
                      <a:pt x="6603" y="21600"/>
                    </a:lnTo>
                    <a:lnTo>
                      <a:pt x="6603" y="12983"/>
                    </a:lnTo>
                    <a:lnTo>
                      <a:pt x="12294" y="12983"/>
                    </a:lnTo>
                    <a:lnTo>
                      <a:pt x="14287" y="12857"/>
                    </a:lnTo>
                    <a:lnTo>
                      <a:pt x="16153" y="12479"/>
                    </a:lnTo>
                    <a:lnTo>
                      <a:pt x="17841" y="11881"/>
                    </a:lnTo>
                    <a:lnTo>
                      <a:pt x="19304" y="11094"/>
                    </a:lnTo>
                    <a:lnTo>
                      <a:pt x="20515" y="10136"/>
                    </a:lnTo>
                    <a:lnTo>
                      <a:pt x="21447" y="9023"/>
                    </a:lnTo>
                    <a:lnTo>
                      <a:pt x="21600" y="8758"/>
                    </a:lnTo>
                    <a:lnTo>
                      <a:pt x="6603" y="8758"/>
                    </a:lnTo>
                    <a:lnTo>
                      <a:pt x="6603" y="4225"/>
                    </a:lnTo>
                    <a:lnTo>
                      <a:pt x="21593" y="4225"/>
                    </a:lnTo>
                    <a:lnTo>
                      <a:pt x="21447" y="3973"/>
                    </a:lnTo>
                    <a:lnTo>
                      <a:pt x="20515" y="2872"/>
                    </a:lnTo>
                    <a:lnTo>
                      <a:pt x="19304" y="1917"/>
                    </a:lnTo>
                    <a:lnTo>
                      <a:pt x="17841" y="1126"/>
                    </a:lnTo>
                    <a:lnTo>
                      <a:pt x="16153" y="518"/>
                    </a:lnTo>
                    <a:lnTo>
                      <a:pt x="14287" y="130"/>
                    </a:lnTo>
                    <a:lnTo>
                      <a:pt x="13307" y="32"/>
                    </a:lnTo>
                    <a:lnTo>
                      <a:pt x="12294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hangingPunct="0"/>
                <a:endParaRPr kern="0" dirty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30" name="Shape"/>
              <p:cNvSpPr/>
              <p:nvPr/>
            </p:nvSpPr>
            <p:spPr>
              <a:xfrm>
                <a:off x="377991" y="213181"/>
                <a:ext cx="354343" cy="22871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301" y="0"/>
                    </a:moveTo>
                    <a:lnTo>
                      <a:pt x="0" y="0"/>
                    </a:lnTo>
                    <a:lnTo>
                      <a:pt x="1371" y="196"/>
                    </a:lnTo>
                    <a:lnTo>
                      <a:pt x="2646" y="784"/>
                    </a:lnTo>
                    <a:lnTo>
                      <a:pt x="4905" y="3134"/>
                    </a:lnTo>
                    <a:lnTo>
                      <a:pt x="6454" y="6618"/>
                    </a:lnTo>
                    <a:lnTo>
                      <a:pt x="6971" y="10799"/>
                    </a:lnTo>
                    <a:lnTo>
                      <a:pt x="6841" y="12979"/>
                    </a:lnTo>
                    <a:lnTo>
                      <a:pt x="5809" y="16812"/>
                    </a:lnTo>
                    <a:lnTo>
                      <a:pt x="3824" y="19838"/>
                    </a:lnTo>
                    <a:lnTo>
                      <a:pt x="1371" y="21404"/>
                    </a:lnTo>
                    <a:lnTo>
                      <a:pt x="0" y="21600"/>
                    </a:lnTo>
                    <a:lnTo>
                      <a:pt x="20315" y="21600"/>
                    </a:lnTo>
                    <a:lnTo>
                      <a:pt x="20705" y="19988"/>
                    </a:lnTo>
                    <a:lnTo>
                      <a:pt x="21202" y="17016"/>
                    </a:lnTo>
                    <a:lnTo>
                      <a:pt x="21501" y="13954"/>
                    </a:lnTo>
                    <a:lnTo>
                      <a:pt x="21600" y="10799"/>
                    </a:lnTo>
                    <a:lnTo>
                      <a:pt x="21501" y="7650"/>
                    </a:lnTo>
                    <a:lnTo>
                      <a:pt x="21202" y="4600"/>
                    </a:lnTo>
                    <a:lnTo>
                      <a:pt x="20705" y="1651"/>
                    </a:lnTo>
                    <a:lnTo>
                      <a:pt x="20301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hangingPunct="0"/>
                <a:endParaRPr kern="0" dirty="0">
                  <a:solidFill>
                    <a:srgbClr val="000000"/>
                  </a:solidFill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</p:grp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0512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423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 baseline="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520 P33 Overview - CBIA v2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20698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9231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44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04340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56480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71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 cap="all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 cap="all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520 P33 Overview - CBIA v2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0075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47825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95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6000"/>
              </a:lnSpc>
              <a:spcBef>
                <a:spcPct val="0"/>
              </a:spcBef>
              <a:spcAft>
                <a:spcPct val="0"/>
              </a:spcAft>
            </a:pPr>
            <a:endParaRPr lang="en-US" sz="54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520 P33 Overview - CBIA v2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19904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6416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51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4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52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2412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68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20190520 P33 Overview - CBIA v2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22366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191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543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20190520 P33 Overview - CBIA v2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82945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1267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67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20190520 P33 Overview - CBIA v2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93922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22872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591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520 P33 Overview - CBIA v2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60452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4663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3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87798"/>
          </a:xfrm>
        </p:spPr>
        <p:txBody>
          <a:bodyPr/>
          <a:lstStyle>
            <a:lvl1pPr>
              <a:defRPr sz="2800" baseline="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30003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5057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615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520 P33 Overview - CBIA v2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30165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1660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639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520 P33 Overview - CBIA v2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90578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23261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304" name="think-cell Slide" r:id="rId6" imgW="324" imgH="324" progId="TCLayout.ActiveDocument.1">
                  <p:embed/>
                </p:oleObj>
              </mc:Choice>
              <mc:Fallback>
                <p:oleObj name="think-cell Slide" r:id="rId6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20190520 P33 Overview - CBIA v2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4232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4908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663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520 P33 Overview - CBIA v2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97916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5893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92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20190520 P33 Overview - CBIA v2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769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86672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687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520 P33 Overview - CBIA v2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58935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70105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11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20190520 P33 Overview - CBIA v2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9809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7059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735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520 P33 Overview - CBIA v2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969027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7790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759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20190520 P33 Overview - CBIA v2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683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8265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783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520 P33 Overview - CBIA v2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84939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5481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00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28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520 P33 Overview - CBIA v2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5271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2127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807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6000"/>
              </a:lnSpc>
              <a:spcBef>
                <a:spcPct val="0"/>
              </a:spcBef>
              <a:spcAft>
                <a:spcPct val="0"/>
              </a:spcAft>
            </a:pPr>
            <a:endParaRPr lang="en-US" sz="54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20190520 P33 Overview - CBIA v2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85075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3164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16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6000"/>
              </a:lnSpc>
              <a:spcBef>
                <a:spcPct val="0"/>
              </a:spcBef>
              <a:spcAft>
                <a:spcPct val="0"/>
              </a:spcAft>
            </a:pPr>
            <a:endParaRPr lang="en-US" sz="54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520 P33 Overview - CBIA v2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36192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69086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349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41941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2759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831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20190520 P33 Overview - CBIA v2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4837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092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85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3011833"/>
            <a:ext cx="3345100" cy="89396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2800" b="0" cap="all" baseline="0" dirty="0">
                <a:solidFill>
                  <a:schemeClr val="tx1"/>
                </a:solidFill>
                <a:latin typeface="+mj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20190520 P33 Overview - CBIA v2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Group 10"/>
          <p:cNvGrpSpPr/>
          <p:nvPr userDrawn="1"/>
        </p:nvGrpSpPr>
        <p:grpSpPr>
          <a:xfrm>
            <a:off x="11055648" y="6126649"/>
            <a:ext cx="507702" cy="507702"/>
            <a:chOff x="10923015" y="5651661"/>
            <a:chExt cx="1015404" cy="1015404"/>
          </a:xfrm>
        </p:grpSpPr>
        <p:sp>
          <p:nvSpPr>
            <p:cNvPr id="12" name="object 10"/>
            <p:cNvSpPr/>
            <p:nvPr userDrawn="1"/>
          </p:nvSpPr>
          <p:spPr>
            <a:xfrm>
              <a:off x="10923015" y="5651661"/>
              <a:ext cx="1015404" cy="1015404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45719" rIns="45719"/>
            <a:lstStyle/>
            <a:p>
              <a:endParaRPr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6" name="object 11"/>
            <p:cNvSpPr/>
            <p:nvPr userDrawn="1"/>
          </p:nvSpPr>
          <p:spPr>
            <a:xfrm>
              <a:off x="11050739" y="6504864"/>
              <a:ext cx="759944" cy="1"/>
            </a:xfrm>
            <a:prstGeom prst="line">
              <a:avLst/>
            </a:prstGeom>
            <a:ln w="68922">
              <a:solidFill>
                <a:srgbClr val="2B9CDA"/>
              </a:solidFill>
            </a:ln>
          </p:spPr>
          <p:txBody>
            <a:bodyPr lIns="45719" rIns="45719"/>
            <a:lstStyle/>
            <a:p>
              <a:endParaRPr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8" name="object 12"/>
            <p:cNvSpPr/>
            <p:nvPr userDrawn="1"/>
          </p:nvSpPr>
          <p:spPr>
            <a:xfrm>
              <a:off x="11050739" y="5813859"/>
              <a:ext cx="759944" cy="1"/>
            </a:xfrm>
            <a:prstGeom prst="line">
              <a:avLst/>
            </a:prstGeom>
            <a:ln w="68922">
              <a:solidFill>
                <a:srgbClr val="2B9CDA"/>
              </a:solidFill>
            </a:ln>
          </p:spPr>
          <p:txBody>
            <a:bodyPr lIns="45719" rIns="45719"/>
            <a:lstStyle/>
            <a:p>
              <a:endParaRPr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21" name="object 13"/>
            <p:cNvGrpSpPr/>
            <p:nvPr userDrawn="1"/>
          </p:nvGrpSpPr>
          <p:grpSpPr>
            <a:xfrm>
              <a:off x="11299682" y="5972233"/>
              <a:ext cx="242811" cy="374257"/>
              <a:chOff x="0" y="0"/>
              <a:chExt cx="242810" cy="374256"/>
            </a:xfrm>
          </p:grpSpPr>
          <p:sp>
            <p:nvSpPr>
              <p:cNvPr id="29" name="Shape"/>
              <p:cNvSpPr/>
              <p:nvPr/>
            </p:nvSpPr>
            <p:spPr>
              <a:xfrm>
                <a:off x="0" y="250939"/>
                <a:ext cx="232898" cy="1233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1313" y="10161"/>
                    </a:lnTo>
                    <a:lnTo>
                      <a:pt x="4114" y="16744"/>
                    </a:lnTo>
                    <a:lnTo>
                      <a:pt x="7964" y="20699"/>
                    </a:lnTo>
                    <a:lnTo>
                      <a:pt x="11238" y="21600"/>
                    </a:lnTo>
                    <a:lnTo>
                      <a:pt x="12361" y="21500"/>
                    </a:lnTo>
                    <a:lnTo>
                      <a:pt x="16571" y="19119"/>
                    </a:lnTo>
                    <a:lnTo>
                      <a:pt x="19967" y="13722"/>
                    </a:lnTo>
                    <a:lnTo>
                      <a:pt x="21600" y="8540"/>
                    </a:lnTo>
                    <a:lnTo>
                      <a:pt x="10620" y="8540"/>
                    </a:lnTo>
                    <a:lnTo>
                      <a:pt x="10046" y="8317"/>
                    </a:lnTo>
                    <a:lnTo>
                      <a:pt x="7180" y="3306"/>
                    </a:lnTo>
                    <a:lnTo>
                      <a:pt x="6949" y="2300"/>
                    </a:lnTo>
                    <a:lnTo>
                      <a:pt x="6939" y="2233"/>
                    </a:lnTo>
                    <a:lnTo>
                      <a:pt x="6830" y="1203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30" name="Shape"/>
              <p:cNvSpPr/>
              <p:nvPr/>
            </p:nvSpPr>
            <p:spPr>
              <a:xfrm>
                <a:off x="27011" y="0"/>
                <a:ext cx="215800" cy="2996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5"/>
                    </a:lnTo>
                    <a:lnTo>
                      <a:pt x="9472" y="5375"/>
                    </a:lnTo>
                    <a:lnTo>
                      <a:pt x="3797" y="14601"/>
                    </a:lnTo>
                    <a:lnTo>
                      <a:pt x="10087" y="14601"/>
                    </a:lnTo>
                    <a:lnTo>
                      <a:pt x="10714" y="14694"/>
                    </a:lnTo>
                    <a:lnTo>
                      <a:pt x="14105" y="17169"/>
                    </a:lnTo>
                    <a:lnTo>
                      <a:pt x="14232" y="17621"/>
                    </a:lnTo>
                    <a:lnTo>
                      <a:pt x="14232" y="18581"/>
                    </a:lnTo>
                    <a:lnTo>
                      <a:pt x="11892" y="21142"/>
                    </a:lnTo>
                    <a:lnTo>
                      <a:pt x="10091" y="21600"/>
                    </a:lnTo>
                    <a:lnTo>
                      <a:pt x="20608" y="21600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0144" y="13947"/>
                    </a:lnTo>
                    <a:lnTo>
                      <a:pt x="17489" y="11484"/>
                    </a:lnTo>
                    <a:lnTo>
                      <a:pt x="14568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22" name="object 14"/>
            <p:cNvGrpSpPr/>
            <p:nvPr userDrawn="1"/>
          </p:nvGrpSpPr>
          <p:grpSpPr>
            <a:xfrm>
              <a:off x="11567132" y="5972233"/>
              <a:ext cx="242811" cy="374257"/>
              <a:chOff x="0" y="0"/>
              <a:chExt cx="242810" cy="374256"/>
            </a:xfrm>
          </p:grpSpPr>
          <p:sp>
            <p:nvSpPr>
              <p:cNvPr id="27" name="Shape"/>
              <p:cNvSpPr/>
              <p:nvPr/>
            </p:nvSpPr>
            <p:spPr>
              <a:xfrm>
                <a:off x="0" y="250939"/>
                <a:ext cx="232898" cy="1233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1313" y="10161"/>
                    </a:lnTo>
                    <a:lnTo>
                      <a:pt x="4114" y="16744"/>
                    </a:lnTo>
                    <a:lnTo>
                      <a:pt x="7964" y="20699"/>
                    </a:lnTo>
                    <a:lnTo>
                      <a:pt x="11238" y="21600"/>
                    </a:lnTo>
                    <a:lnTo>
                      <a:pt x="12361" y="21500"/>
                    </a:lnTo>
                    <a:lnTo>
                      <a:pt x="16571" y="19119"/>
                    </a:lnTo>
                    <a:lnTo>
                      <a:pt x="19967" y="13722"/>
                    </a:lnTo>
                    <a:lnTo>
                      <a:pt x="21600" y="8540"/>
                    </a:lnTo>
                    <a:lnTo>
                      <a:pt x="10620" y="8540"/>
                    </a:lnTo>
                    <a:lnTo>
                      <a:pt x="10046" y="8317"/>
                    </a:lnTo>
                    <a:lnTo>
                      <a:pt x="6949" y="2300"/>
                    </a:lnTo>
                    <a:lnTo>
                      <a:pt x="6830" y="1203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8" name="Shape"/>
              <p:cNvSpPr/>
              <p:nvPr/>
            </p:nvSpPr>
            <p:spPr>
              <a:xfrm>
                <a:off x="27011" y="0"/>
                <a:ext cx="215800" cy="2996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5"/>
                    </a:lnTo>
                    <a:lnTo>
                      <a:pt x="9472" y="5375"/>
                    </a:lnTo>
                    <a:lnTo>
                      <a:pt x="3797" y="14601"/>
                    </a:lnTo>
                    <a:lnTo>
                      <a:pt x="10086" y="14601"/>
                    </a:lnTo>
                    <a:lnTo>
                      <a:pt x="10714" y="14694"/>
                    </a:lnTo>
                    <a:lnTo>
                      <a:pt x="14105" y="17169"/>
                    </a:lnTo>
                    <a:lnTo>
                      <a:pt x="14232" y="17621"/>
                    </a:lnTo>
                    <a:lnTo>
                      <a:pt x="14232" y="18581"/>
                    </a:lnTo>
                    <a:lnTo>
                      <a:pt x="11892" y="21142"/>
                    </a:lnTo>
                    <a:lnTo>
                      <a:pt x="10091" y="21600"/>
                    </a:lnTo>
                    <a:lnTo>
                      <a:pt x="20608" y="21600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0144" y="13947"/>
                    </a:lnTo>
                    <a:lnTo>
                      <a:pt x="17489" y="11484"/>
                    </a:lnTo>
                    <a:lnTo>
                      <a:pt x="14567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23" name="object 15"/>
            <p:cNvGrpSpPr/>
            <p:nvPr userDrawn="1"/>
          </p:nvGrpSpPr>
          <p:grpSpPr>
            <a:xfrm>
              <a:off x="11051486" y="5974871"/>
              <a:ext cx="247944" cy="368986"/>
              <a:chOff x="0" y="0"/>
              <a:chExt cx="247942" cy="368985"/>
            </a:xfrm>
          </p:grpSpPr>
          <p:sp>
            <p:nvSpPr>
              <p:cNvPr id="25" name="Shape"/>
              <p:cNvSpPr/>
              <p:nvPr/>
            </p:nvSpPr>
            <p:spPr>
              <a:xfrm>
                <a:off x="0" y="0"/>
                <a:ext cx="240802" cy="36898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2294" y="0"/>
                    </a:moveTo>
                    <a:lnTo>
                      <a:pt x="0" y="0"/>
                    </a:lnTo>
                    <a:lnTo>
                      <a:pt x="0" y="21600"/>
                    </a:lnTo>
                    <a:lnTo>
                      <a:pt x="6603" y="21600"/>
                    </a:lnTo>
                    <a:lnTo>
                      <a:pt x="6603" y="12982"/>
                    </a:lnTo>
                    <a:lnTo>
                      <a:pt x="12294" y="12982"/>
                    </a:lnTo>
                    <a:lnTo>
                      <a:pt x="16153" y="12479"/>
                    </a:lnTo>
                    <a:lnTo>
                      <a:pt x="19304" y="11094"/>
                    </a:lnTo>
                    <a:lnTo>
                      <a:pt x="21448" y="9023"/>
                    </a:lnTo>
                    <a:lnTo>
                      <a:pt x="21600" y="8758"/>
                    </a:lnTo>
                    <a:lnTo>
                      <a:pt x="6603" y="8758"/>
                    </a:lnTo>
                    <a:lnTo>
                      <a:pt x="6603" y="4225"/>
                    </a:lnTo>
                    <a:lnTo>
                      <a:pt x="21594" y="4225"/>
                    </a:lnTo>
                    <a:lnTo>
                      <a:pt x="21448" y="3973"/>
                    </a:lnTo>
                    <a:lnTo>
                      <a:pt x="19304" y="1917"/>
                    </a:lnTo>
                    <a:lnTo>
                      <a:pt x="16153" y="517"/>
                    </a:lnTo>
                    <a:lnTo>
                      <a:pt x="13307" y="32"/>
                    </a:lnTo>
                    <a:lnTo>
                      <a:pt x="12294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6" name="Shape"/>
              <p:cNvSpPr/>
              <p:nvPr/>
            </p:nvSpPr>
            <p:spPr>
              <a:xfrm>
                <a:off x="127977" y="72174"/>
                <a:ext cx="119966" cy="7743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302" y="0"/>
                    </a:moveTo>
                    <a:lnTo>
                      <a:pt x="0" y="0"/>
                    </a:lnTo>
                    <a:lnTo>
                      <a:pt x="1372" y="196"/>
                    </a:lnTo>
                    <a:lnTo>
                      <a:pt x="2646" y="783"/>
                    </a:lnTo>
                    <a:lnTo>
                      <a:pt x="6970" y="10798"/>
                    </a:lnTo>
                    <a:lnTo>
                      <a:pt x="6841" y="12978"/>
                    </a:lnTo>
                    <a:lnTo>
                      <a:pt x="1372" y="21404"/>
                    </a:lnTo>
                    <a:lnTo>
                      <a:pt x="0" y="21600"/>
                    </a:lnTo>
                    <a:lnTo>
                      <a:pt x="20314" y="21600"/>
                    </a:lnTo>
                    <a:lnTo>
                      <a:pt x="20705" y="19986"/>
                    </a:lnTo>
                    <a:lnTo>
                      <a:pt x="21202" y="17015"/>
                    </a:lnTo>
                    <a:lnTo>
                      <a:pt x="21500" y="13952"/>
                    </a:lnTo>
                    <a:lnTo>
                      <a:pt x="21600" y="10798"/>
                    </a:lnTo>
                    <a:lnTo>
                      <a:pt x="21500" y="7649"/>
                    </a:lnTo>
                    <a:lnTo>
                      <a:pt x="21202" y="4599"/>
                    </a:lnTo>
                    <a:lnTo>
                      <a:pt x="20705" y="1649"/>
                    </a:lnTo>
                    <a:lnTo>
                      <a:pt x="20302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23909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98850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87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20190520 P33 Overview - CBIA v2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40827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49632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90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520 P33 Overview - CBIA v2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7118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4690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92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520 P33 Overview - CBIA v2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13221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bg>
      <p:bgPr>
        <a:solidFill>
          <a:srgbClr val="1F417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20404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322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/>
          <p:cNvGrpSpPr/>
          <p:nvPr userDrawn="1"/>
        </p:nvGrpSpPr>
        <p:grpSpPr>
          <a:xfrm>
            <a:off x="4596384" y="1929384"/>
            <a:ext cx="2999232" cy="2999233"/>
            <a:chOff x="5815584" y="2615183"/>
            <a:chExt cx="2999232" cy="2999233"/>
          </a:xfrm>
        </p:grpSpPr>
        <p:sp>
          <p:nvSpPr>
            <p:cNvPr id="11" name="object 3"/>
            <p:cNvSpPr/>
            <p:nvPr userDrawn="1"/>
          </p:nvSpPr>
          <p:spPr>
            <a:xfrm>
              <a:off x="5815584" y="2615183"/>
              <a:ext cx="2999232" cy="2999233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45719" rIns="45719"/>
            <a:lstStyle/>
            <a:p>
              <a:endParaRPr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2" name="object 4"/>
            <p:cNvSpPr/>
            <p:nvPr userDrawn="1"/>
          </p:nvSpPr>
          <p:spPr>
            <a:xfrm>
              <a:off x="6192863" y="5033555"/>
              <a:ext cx="2244662" cy="203582"/>
            </a:xfrm>
            <a:prstGeom prst="rect">
              <a:avLst/>
            </a:prstGeom>
            <a:solidFill>
              <a:srgbClr val="2B9CDA"/>
            </a:solidFill>
            <a:ln w="12700">
              <a:miter lim="400000"/>
            </a:ln>
          </p:spPr>
          <p:txBody>
            <a:bodyPr lIns="45719" rIns="45719"/>
            <a:lstStyle/>
            <a:p>
              <a:endParaRPr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3" name="object 5"/>
            <p:cNvSpPr/>
            <p:nvPr userDrawn="1"/>
          </p:nvSpPr>
          <p:spPr>
            <a:xfrm>
              <a:off x="6192863" y="2992475"/>
              <a:ext cx="2244662" cy="203581"/>
            </a:xfrm>
            <a:prstGeom prst="rect">
              <a:avLst/>
            </a:prstGeom>
            <a:solidFill>
              <a:srgbClr val="2B9CDA"/>
            </a:solidFill>
            <a:ln w="12700">
              <a:miter lim="400000"/>
            </a:ln>
          </p:spPr>
          <p:txBody>
            <a:bodyPr lIns="45719" rIns="45719"/>
            <a:lstStyle/>
            <a:p>
              <a:endParaRPr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4" name="object 6"/>
            <p:cNvGrpSpPr/>
            <p:nvPr userDrawn="1"/>
          </p:nvGrpSpPr>
          <p:grpSpPr>
            <a:xfrm>
              <a:off x="6928174" y="3562082"/>
              <a:ext cx="717183" cy="1105435"/>
              <a:chOff x="0" y="0"/>
              <a:chExt cx="717182" cy="1105433"/>
            </a:xfrm>
          </p:grpSpPr>
          <p:sp>
            <p:nvSpPr>
              <p:cNvPr id="22" name="Shape"/>
              <p:cNvSpPr/>
              <p:nvPr/>
            </p:nvSpPr>
            <p:spPr>
              <a:xfrm>
                <a:off x="0" y="741183"/>
                <a:ext cx="687910" cy="36425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474" y="6278"/>
                    </a:lnTo>
                    <a:lnTo>
                      <a:pt x="1313" y="10162"/>
                    </a:lnTo>
                    <a:lnTo>
                      <a:pt x="2534" y="13673"/>
                    </a:lnTo>
                    <a:lnTo>
                      <a:pt x="4114" y="16744"/>
                    </a:lnTo>
                    <a:lnTo>
                      <a:pt x="5935" y="19103"/>
                    </a:lnTo>
                    <a:lnTo>
                      <a:pt x="7964" y="20699"/>
                    </a:lnTo>
                    <a:lnTo>
                      <a:pt x="10118" y="21500"/>
                    </a:lnTo>
                    <a:lnTo>
                      <a:pt x="11237" y="21600"/>
                    </a:lnTo>
                    <a:lnTo>
                      <a:pt x="12360" y="21500"/>
                    </a:lnTo>
                    <a:lnTo>
                      <a:pt x="14523" y="20705"/>
                    </a:lnTo>
                    <a:lnTo>
                      <a:pt x="16571" y="19120"/>
                    </a:lnTo>
                    <a:lnTo>
                      <a:pt x="18403" y="16776"/>
                    </a:lnTo>
                    <a:lnTo>
                      <a:pt x="19966" y="13723"/>
                    </a:lnTo>
                    <a:lnTo>
                      <a:pt x="21176" y="10228"/>
                    </a:lnTo>
                    <a:lnTo>
                      <a:pt x="21600" y="8540"/>
                    </a:lnTo>
                    <a:lnTo>
                      <a:pt x="11237" y="8540"/>
                    </a:lnTo>
                    <a:lnTo>
                      <a:pt x="10782" y="8498"/>
                    </a:lnTo>
                    <a:lnTo>
                      <a:pt x="9517" y="7870"/>
                    </a:lnTo>
                    <a:lnTo>
                      <a:pt x="8437" y="6583"/>
                    </a:lnTo>
                    <a:lnTo>
                      <a:pt x="7593" y="4763"/>
                    </a:lnTo>
                    <a:lnTo>
                      <a:pt x="7025" y="2520"/>
                    </a:lnTo>
                    <a:lnTo>
                      <a:pt x="6849" y="866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3" name="Shape"/>
              <p:cNvSpPr/>
              <p:nvPr/>
            </p:nvSpPr>
            <p:spPr>
              <a:xfrm>
                <a:off x="79754" y="0"/>
                <a:ext cx="637428" cy="88520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4"/>
                    </a:lnTo>
                    <a:lnTo>
                      <a:pt x="9472" y="5374"/>
                    </a:lnTo>
                    <a:lnTo>
                      <a:pt x="3797" y="14602"/>
                    </a:lnTo>
                    <a:lnTo>
                      <a:pt x="9420" y="14602"/>
                    </a:lnTo>
                    <a:lnTo>
                      <a:pt x="9913" y="14619"/>
                    </a:lnTo>
                    <a:lnTo>
                      <a:pt x="11302" y="14876"/>
                    </a:lnTo>
                    <a:lnTo>
                      <a:pt x="12490" y="15404"/>
                    </a:lnTo>
                    <a:lnTo>
                      <a:pt x="13405" y="16150"/>
                    </a:lnTo>
                    <a:lnTo>
                      <a:pt x="14018" y="17068"/>
                    </a:lnTo>
                    <a:lnTo>
                      <a:pt x="14232" y="18086"/>
                    </a:lnTo>
                    <a:lnTo>
                      <a:pt x="14231" y="18121"/>
                    </a:lnTo>
                    <a:lnTo>
                      <a:pt x="14018" y="19133"/>
                    </a:lnTo>
                    <a:lnTo>
                      <a:pt x="13405" y="20052"/>
                    </a:lnTo>
                    <a:lnTo>
                      <a:pt x="12492" y="20798"/>
                    </a:lnTo>
                    <a:lnTo>
                      <a:pt x="11304" y="21325"/>
                    </a:lnTo>
                    <a:lnTo>
                      <a:pt x="9917" y="21583"/>
                    </a:lnTo>
                    <a:lnTo>
                      <a:pt x="9425" y="21600"/>
                    </a:lnTo>
                    <a:lnTo>
                      <a:pt x="20608" y="21600"/>
                    </a:lnTo>
                    <a:lnTo>
                      <a:pt x="21074" y="20701"/>
                    </a:lnTo>
                    <a:lnTo>
                      <a:pt x="21542" y="19005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1071" y="15540"/>
                    </a:lnTo>
                    <a:lnTo>
                      <a:pt x="20144" y="13947"/>
                    </a:lnTo>
                    <a:lnTo>
                      <a:pt x="18832" y="12509"/>
                    </a:lnTo>
                    <a:lnTo>
                      <a:pt x="17625" y="11582"/>
                    </a:lnTo>
                    <a:lnTo>
                      <a:pt x="16373" y="10852"/>
                    </a:lnTo>
                    <a:lnTo>
                      <a:pt x="15041" y="10257"/>
                    </a:lnTo>
                    <a:lnTo>
                      <a:pt x="14568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16" name="object 7"/>
            <p:cNvGrpSpPr/>
            <p:nvPr userDrawn="1"/>
          </p:nvGrpSpPr>
          <p:grpSpPr>
            <a:xfrm>
              <a:off x="7718148" y="3562082"/>
              <a:ext cx="717182" cy="1105434"/>
              <a:chOff x="0" y="0"/>
              <a:chExt cx="717181" cy="1105432"/>
            </a:xfrm>
          </p:grpSpPr>
          <p:sp>
            <p:nvSpPr>
              <p:cNvPr id="20" name="Shape"/>
              <p:cNvSpPr/>
              <p:nvPr/>
            </p:nvSpPr>
            <p:spPr>
              <a:xfrm>
                <a:off x="0" y="741183"/>
                <a:ext cx="687910" cy="36425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474" y="6278"/>
                    </a:lnTo>
                    <a:lnTo>
                      <a:pt x="1313" y="10162"/>
                    </a:lnTo>
                    <a:lnTo>
                      <a:pt x="2534" y="13673"/>
                    </a:lnTo>
                    <a:lnTo>
                      <a:pt x="4114" y="16744"/>
                    </a:lnTo>
                    <a:lnTo>
                      <a:pt x="5935" y="19103"/>
                    </a:lnTo>
                    <a:lnTo>
                      <a:pt x="7964" y="20699"/>
                    </a:lnTo>
                    <a:lnTo>
                      <a:pt x="10118" y="21500"/>
                    </a:lnTo>
                    <a:lnTo>
                      <a:pt x="11237" y="21600"/>
                    </a:lnTo>
                    <a:lnTo>
                      <a:pt x="12360" y="21500"/>
                    </a:lnTo>
                    <a:lnTo>
                      <a:pt x="14522" y="20705"/>
                    </a:lnTo>
                    <a:lnTo>
                      <a:pt x="16571" y="19120"/>
                    </a:lnTo>
                    <a:lnTo>
                      <a:pt x="18403" y="16776"/>
                    </a:lnTo>
                    <a:lnTo>
                      <a:pt x="19966" y="13723"/>
                    </a:lnTo>
                    <a:lnTo>
                      <a:pt x="21176" y="10228"/>
                    </a:lnTo>
                    <a:lnTo>
                      <a:pt x="21600" y="8540"/>
                    </a:lnTo>
                    <a:lnTo>
                      <a:pt x="11237" y="8540"/>
                    </a:lnTo>
                    <a:lnTo>
                      <a:pt x="10782" y="8498"/>
                    </a:lnTo>
                    <a:lnTo>
                      <a:pt x="9516" y="7870"/>
                    </a:lnTo>
                    <a:lnTo>
                      <a:pt x="8437" y="6583"/>
                    </a:lnTo>
                    <a:lnTo>
                      <a:pt x="7593" y="4763"/>
                    </a:lnTo>
                    <a:lnTo>
                      <a:pt x="7024" y="2520"/>
                    </a:lnTo>
                    <a:lnTo>
                      <a:pt x="6849" y="866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1" name="Shape"/>
              <p:cNvSpPr/>
              <p:nvPr/>
            </p:nvSpPr>
            <p:spPr>
              <a:xfrm>
                <a:off x="79754" y="0"/>
                <a:ext cx="637428" cy="88520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4"/>
                    </a:lnTo>
                    <a:lnTo>
                      <a:pt x="9472" y="5374"/>
                    </a:lnTo>
                    <a:lnTo>
                      <a:pt x="3797" y="14602"/>
                    </a:lnTo>
                    <a:lnTo>
                      <a:pt x="9420" y="14602"/>
                    </a:lnTo>
                    <a:lnTo>
                      <a:pt x="9913" y="14619"/>
                    </a:lnTo>
                    <a:lnTo>
                      <a:pt x="11302" y="14876"/>
                    </a:lnTo>
                    <a:lnTo>
                      <a:pt x="12490" y="15404"/>
                    </a:lnTo>
                    <a:lnTo>
                      <a:pt x="13405" y="16150"/>
                    </a:lnTo>
                    <a:lnTo>
                      <a:pt x="14018" y="17068"/>
                    </a:lnTo>
                    <a:lnTo>
                      <a:pt x="14231" y="18086"/>
                    </a:lnTo>
                    <a:lnTo>
                      <a:pt x="14231" y="18121"/>
                    </a:lnTo>
                    <a:lnTo>
                      <a:pt x="14018" y="19133"/>
                    </a:lnTo>
                    <a:lnTo>
                      <a:pt x="13405" y="20052"/>
                    </a:lnTo>
                    <a:lnTo>
                      <a:pt x="12492" y="20798"/>
                    </a:lnTo>
                    <a:lnTo>
                      <a:pt x="11304" y="21325"/>
                    </a:lnTo>
                    <a:lnTo>
                      <a:pt x="9916" y="21583"/>
                    </a:lnTo>
                    <a:lnTo>
                      <a:pt x="9424" y="21600"/>
                    </a:lnTo>
                    <a:lnTo>
                      <a:pt x="20608" y="21600"/>
                    </a:lnTo>
                    <a:lnTo>
                      <a:pt x="21074" y="20701"/>
                    </a:lnTo>
                    <a:lnTo>
                      <a:pt x="21542" y="19005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1072" y="15540"/>
                    </a:lnTo>
                    <a:lnTo>
                      <a:pt x="20144" y="13947"/>
                    </a:lnTo>
                    <a:lnTo>
                      <a:pt x="18832" y="12509"/>
                    </a:lnTo>
                    <a:lnTo>
                      <a:pt x="17625" y="11582"/>
                    </a:lnTo>
                    <a:lnTo>
                      <a:pt x="16373" y="10852"/>
                    </a:lnTo>
                    <a:lnTo>
                      <a:pt x="15041" y="10257"/>
                    </a:lnTo>
                    <a:lnTo>
                      <a:pt x="14567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17" name="object 8"/>
            <p:cNvGrpSpPr/>
            <p:nvPr userDrawn="1"/>
          </p:nvGrpSpPr>
          <p:grpSpPr>
            <a:xfrm>
              <a:off x="6195071" y="3569853"/>
              <a:ext cx="732335" cy="1089903"/>
              <a:chOff x="0" y="0"/>
              <a:chExt cx="732334" cy="1089902"/>
            </a:xfrm>
          </p:grpSpPr>
          <p:sp>
            <p:nvSpPr>
              <p:cNvPr id="18" name="Shape"/>
              <p:cNvSpPr/>
              <p:nvPr/>
            </p:nvSpPr>
            <p:spPr>
              <a:xfrm>
                <a:off x="0" y="0"/>
                <a:ext cx="711249" cy="108990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2294" y="0"/>
                    </a:moveTo>
                    <a:lnTo>
                      <a:pt x="0" y="0"/>
                    </a:lnTo>
                    <a:lnTo>
                      <a:pt x="0" y="21600"/>
                    </a:lnTo>
                    <a:lnTo>
                      <a:pt x="6603" y="21600"/>
                    </a:lnTo>
                    <a:lnTo>
                      <a:pt x="6603" y="12983"/>
                    </a:lnTo>
                    <a:lnTo>
                      <a:pt x="12294" y="12983"/>
                    </a:lnTo>
                    <a:lnTo>
                      <a:pt x="14287" y="12857"/>
                    </a:lnTo>
                    <a:lnTo>
                      <a:pt x="16153" y="12479"/>
                    </a:lnTo>
                    <a:lnTo>
                      <a:pt x="17841" y="11881"/>
                    </a:lnTo>
                    <a:lnTo>
                      <a:pt x="19304" y="11094"/>
                    </a:lnTo>
                    <a:lnTo>
                      <a:pt x="20515" y="10136"/>
                    </a:lnTo>
                    <a:lnTo>
                      <a:pt x="21447" y="9023"/>
                    </a:lnTo>
                    <a:lnTo>
                      <a:pt x="21600" y="8758"/>
                    </a:lnTo>
                    <a:lnTo>
                      <a:pt x="6603" y="8758"/>
                    </a:lnTo>
                    <a:lnTo>
                      <a:pt x="6603" y="4225"/>
                    </a:lnTo>
                    <a:lnTo>
                      <a:pt x="21593" y="4225"/>
                    </a:lnTo>
                    <a:lnTo>
                      <a:pt x="21447" y="3973"/>
                    </a:lnTo>
                    <a:lnTo>
                      <a:pt x="20515" y="2872"/>
                    </a:lnTo>
                    <a:lnTo>
                      <a:pt x="19304" y="1917"/>
                    </a:lnTo>
                    <a:lnTo>
                      <a:pt x="17841" y="1126"/>
                    </a:lnTo>
                    <a:lnTo>
                      <a:pt x="16153" y="518"/>
                    </a:lnTo>
                    <a:lnTo>
                      <a:pt x="14287" y="130"/>
                    </a:lnTo>
                    <a:lnTo>
                      <a:pt x="13307" y="32"/>
                    </a:lnTo>
                    <a:lnTo>
                      <a:pt x="12294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9" name="Shape"/>
              <p:cNvSpPr/>
              <p:nvPr/>
            </p:nvSpPr>
            <p:spPr>
              <a:xfrm>
                <a:off x="377991" y="213181"/>
                <a:ext cx="354343" cy="22871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301" y="0"/>
                    </a:moveTo>
                    <a:lnTo>
                      <a:pt x="0" y="0"/>
                    </a:lnTo>
                    <a:lnTo>
                      <a:pt x="1371" y="196"/>
                    </a:lnTo>
                    <a:lnTo>
                      <a:pt x="2646" y="784"/>
                    </a:lnTo>
                    <a:lnTo>
                      <a:pt x="4905" y="3134"/>
                    </a:lnTo>
                    <a:lnTo>
                      <a:pt x="6454" y="6618"/>
                    </a:lnTo>
                    <a:lnTo>
                      <a:pt x="6971" y="10799"/>
                    </a:lnTo>
                    <a:lnTo>
                      <a:pt x="6841" y="12979"/>
                    </a:lnTo>
                    <a:lnTo>
                      <a:pt x="5809" y="16812"/>
                    </a:lnTo>
                    <a:lnTo>
                      <a:pt x="3824" y="19838"/>
                    </a:lnTo>
                    <a:lnTo>
                      <a:pt x="1371" y="21404"/>
                    </a:lnTo>
                    <a:lnTo>
                      <a:pt x="0" y="21600"/>
                    </a:lnTo>
                    <a:lnTo>
                      <a:pt x="20315" y="21600"/>
                    </a:lnTo>
                    <a:lnTo>
                      <a:pt x="20705" y="19988"/>
                    </a:lnTo>
                    <a:lnTo>
                      <a:pt x="21202" y="17016"/>
                    </a:lnTo>
                    <a:lnTo>
                      <a:pt x="21501" y="13954"/>
                    </a:lnTo>
                    <a:lnTo>
                      <a:pt x="21600" y="10799"/>
                    </a:lnTo>
                    <a:lnTo>
                      <a:pt x="21501" y="7650"/>
                    </a:lnTo>
                    <a:lnTo>
                      <a:pt x="21202" y="4600"/>
                    </a:lnTo>
                    <a:lnTo>
                      <a:pt x="20705" y="1651"/>
                    </a:lnTo>
                    <a:lnTo>
                      <a:pt x="20301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51621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75526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5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520 P33 Overview - CBIA v2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18754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8914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63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6000"/>
              </a:lnSpc>
              <a:spcBef>
                <a:spcPct val="0"/>
              </a:spcBef>
              <a:spcAft>
                <a:spcPct val="0"/>
              </a:spcAft>
            </a:pPr>
            <a:endParaRPr lang="en-US" sz="54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  <a:extLst/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20190520 P33 Overview - CBIA v2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12323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12505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5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8"/>
            <a:ext cx="3448800" cy="351129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647771" y="1115416"/>
            <a:ext cx="3412537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cap="all" baseline="0" dirty="0">
                <a:solidFill>
                  <a:schemeClr val="bg1"/>
                </a:solidFill>
                <a:latin typeface="+mj-lt"/>
                <a:ea typeface="+mn-ea"/>
                <a:cs typeface="+mn-cs"/>
                <a:sym typeface="+mn-lt"/>
              </a:rPr>
              <a:t>AGENDA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11055648" y="6126649"/>
            <a:ext cx="507702" cy="507702"/>
            <a:chOff x="10923015" y="5651661"/>
            <a:chExt cx="1015404" cy="1015404"/>
          </a:xfrm>
        </p:grpSpPr>
        <p:sp>
          <p:nvSpPr>
            <p:cNvPr id="13" name="object 10"/>
            <p:cNvSpPr/>
            <p:nvPr userDrawn="1"/>
          </p:nvSpPr>
          <p:spPr>
            <a:xfrm>
              <a:off x="10923015" y="5651661"/>
              <a:ext cx="1015404" cy="1015404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45719" rIns="45719"/>
            <a:lstStyle/>
            <a:p>
              <a:endParaRPr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" name="object 11"/>
            <p:cNvSpPr/>
            <p:nvPr userDrawn="1"/>
          </p:nvSpPr>
          <p:spPr>
            <a:xfrm>
              <a:off x="11050739" y="6504864"/>
              <a:ext cx="759944" cy="1"/>
            </a:xfrm>
            <a:prstGeom prst="line">
              <a:avLst/>
            </a:prstGeom>
            <a:ln w="68922">
              <a:solidFill>
                <a:srgbClr val="2B9CDA"/>
              </a:solidFill>
            </a:ln>
          </p:spPr>
          <p:txBody>
            <a:bodyPr lIns="45719" rIns="45719"/>
            <a:lstStyle/>
            <a:p>
              <a:endParaRPr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" name="object 12"/>
            <p:cNvSpPr/>
            <p:nvPr userDrawn="1"/>
          </p:nvSpPr>
          <p:spPr>
            <a:xfrm>
              <a:off x="11050739" y="5813859"/>
              <a:ext cx="759944" cy="1"/>
            </a:xfrm>
            <a:prstGeom prst="line">
              <a:avLst/>
            </a:prstGeom>
            <a:ln w="68922">
              <a:solidFill>
                <a:srgbClr val="2B9CDA"/>
              </a:solidFill>
            </a:ln>
          </p:spPr>
          <p:txBody>
            <a:bodyPr lIns="45719" rIns="45719"/>
            <a:lstStyle/>
            <a:p>
              <a:endParaRPr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6" name="object 13"/>
            <p:cNvGrpSpPr/>
            <p:nvPr userDrawn="1"/>
          </p:nvGrpSpPr>
          <p:grpSpPr>
            <a:xfrm>
              <a:off x="11299682" y="5972233"/>
              <a:ext cx="242811" cy="374257"/>
              <a:chOff x="0" y="0"/>
              <a:chExt cx="242810" cy="374256"/>
            </a:xfrm>
          </p:grpSpPr>
          <p:sp>
            <p:nvSpPr>
              <p:cNvPr id="17" name="Shape"/>
              <p:cNvSpPr/>
              <p:nvPr/>
            </p:nvSpPr>
            <p:spPr>
              <a:xfrm>
                <a:off x="0" y="250939"/>
                <a:ext cx="232898" cy="1233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1313" y="10161"/>
                    </a:lnTo>
                    <a:lnTo>
                      <a:pt x="4114" y="16744"/>
                    </a:lnTo>
                    <a:lnTo>
                      <a:pt x="7964" y="20699"/>
                    </a:lnTo>
                    <a:lnTo>
                      <a:pt x="11238" y="21600"/>
                    </a:lnTo>
                    <a:lnTo>
                      <a:pt x="12361" y="21500"/>
                    </a:lnTo>
                    <a:lnTo>
                      <a:pt x="16571" y="19119"/>
                    </a:lnTo>
                    <a:lnTo>
                      <a:pt x="19967" y="13722"/>
                    </a:lnTo>
                    <a:lnTo>
                      <a:pt x="21600" y="8540"/>
                    </a:lnTo>
                    <a:lnTo>
                      <a:pt x="10620" y="8540"/>
                    </a:lnTo>
                    <a:lnTo>
                      <a:pt x="10046" y="8317"/>
                    </a:lnTo>
                    <a:lnTo>
                      <a:pt x="7180" y="3306"/>
                    </a:lnTo>
                    <a:lnTo>
                      <a:pt x="6949" y="2300"/>
                    </a:lnTo>
                    <a:lnTo>
                      <a:pt x="6939" y="2233"/>
                    </a:lnTo>
                    <a:lnTo>
                      <a:pt x="6830" y="1203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8" name="Shape"/>
              <p:cNvSpPr/>
              <p:nvPr/>
            </p:nvSpPr>
            <p:spPr>
              <a:xfrm>
                <a:off x="27011" y="0"/>
                <a:ext cx="215800" cy="2996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5"/>
                    </a:lnTo>
                    <a:lnTo>
                      <a:pt x="9472" y="5375"/>
                    </a:lnTo>
                    <a:lnTo>
                      <a:pt x="3797" y="14601"/>
                    </a:lnTo>
                    <a:lnTo>
                      <a:pt x="10087" y="14601"/>
                    </a:lnTo>
                    <a:lnTo>
                      <a:pt x="10714" y="14694"/>
                    </a:lnTo>
                    <a:lnTo>
                      <a:pt x="14105" y="17169"/>
                    </a:lnTo>
                    <a:lnTo>
                      <a:pt x="14232" y="17621"/>
                    </a:lnTo>
                    <a:lnTo>
                      <a:pt x="14232" y="18581"/>
                    </a:lnTo>
                    <a:lnTo>
                      <a:pt x="11892" y="21142"/>
                    </a:lnTo>
                    <a:lnTo>
                      <a:pt x="10091" y="21600"/>
                    </a:lnTo>
                    <a:lnTo>
                      <a:pt x="20608" y="21600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0144" y="13947"/>
                    </a:lnTo>
                    <a:lnTo>
                      <a:pt x="17489" y="11484"/>
                    </a:lnTo>
                    <a:lnTo>
                      <a:pt x="14568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19" name="object 14"/>
            <p:cNvGrpSpPr/>
            <p:nvPr userDrawn="1"/>
          </p:nvGrpSpPr>
          <p:grpSpPr>
            <a:xfrm>
              <a:off x="11567132" y="5972233"/>
              <a:ext cx="242811" cy="374257"/>
              <a:chOff x="0" y="0"/>
              <a:chExt cx="242810" cy="374256"/>
            </a:xfrm>
          </p:grpSpPr>
          <p:sp>
            <p:nvSpPr>
              <p:cNvPr id="20" name="Shape"/>
              <p:cNvSpPr/>
              <p:nvPr/>
            </p:nvSpPr>
            <p:spPr>
              <a:xfrm>
                <a:off x="0" y="250939"/>
                <a:ext cx="232898" cy="1233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1313" y="10161"/>
                    </a:lnTo>
                    <a:lnTo>
                      <a:pt x="4114" y="16744"/>
                    </a:lnTo>
                    <a:lnTo>
                      <a:pt x="7964" y="20699"/>
                    </a:lnTo>
                    <a:lnTo>
                      <a:pt x="11238" y="21600"/>
                    </a:lnTo>
                    <a:lnTo>
                      <a:pt x="12361" y="21500"/>
                    </a:lnTo>
                    <a:lnTo>
                      <a:pt x="16571" y="19119"/>
                    </a:lnTo>
                    <a:lnTo>
                      <a:pt x="19967" y="13722"/>
                    </a:lnTo>
                    <a:lnTo>
                      <a:pt x="21600" y="8540"/>
                    </a:lnTo>
                    <a:lnTo>
                      <a:pt x="10620" y="8540"/>
                    </a:lnTo>
                    <a:lnTo>
                      <a:pt x="10046" y="8317"/>
                    </a:lnTo>
                    <a:lnTo>
                      <a:pt x="6949" y="2300"/>
                    </a:lnTo>
                    <a:lnTo>
                      <a:pt x="6830" y="1203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1" name="Shape"/>
              <p:cNvSpPr/>
              <p:nvPr/>
            </p:nvSpPr>
            <p:spPr>
              <a:xfrm>
                <a:off x="27011" y="0"/>
                <a:ext cx="215800" cy="2996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5"/>
                    </a:lnTo>
                    <a:lnTo>
                      <a:pt x="9472" y="5375"/>
                    </a:lnTo>
                    <a:lnTo>
                      <a:pt x="3797" y="14601"/>
                    </a:lnTo>
                    <a:lnTo>
                      <a:pt x="10086" y="14601"/>
                    </a:lnTo>
                    <a:lnTo>
                      <a:pt x="10714" y="14694"/>
                    </a:lnTo>
                    <a:lnTo>
                      <a:pt x="14105" y="17169"/>
                    </a:lnTo>
                    <a:lnTo>
                      <a:pt x="14232" y="17621"/>
                    </a:lnTo>
                    <a:lnTo>
                      <a:pt x="14232" y="18581"/>
                    </a:lnTo>
                    <a:lnTo>
                      <a:pt x="11892" y="21142"/>
                    </a:lnTo>
                    <a:lnTo>
                      <a:pt x="10091" y="21600"/>
                    </a:lnTo>
                    <a:lnTo>
                      <a:pt x="20608" y="21600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0144" y="13947"/>
                    </a:lnTo>
                    <a:lnTo>
                      <a:pt x="17489" y="11484"/>
                    </a:lnTo>
                    <a:lnTo>
                      <a:pt x="14567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22" name="object 15"/>
            <p:cNvGrpSpPr/>
            <p:nvPr userDrawn="1"/>
          </p:nvGrpSpPr>
          <p:grpSpPr>
            <a:xfrm>
              <a:off x="11051486" y="5974871"/>
              <a:ext cx="247944" cy="368986"/>
              <a:chOff x="0" y="0"/>
              <a:chExt cx="247942" cy="368985"/>
            </a:xfrm>
          </p:grpSpPr>
          <p:sp>
            <p:nvSpPr>
              <p:cNvPr id="23" name="Shape"/>
              <p:cNvSpPr/>
              <p:nvPr/>
            </p:nvSpPr>
            <p:spPr>
              <a:xfrm>
                <a:off x="0" y="0"/>
                <a:ext cx="240802" cy="36898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2294" y="0"/>
                    </a:moveTo>
                    <a:lnTo>
                      <a:pt x="0" y="0"/>
                    </a:lnTo>
                    <a:lnTo>
                      <a:pt x="0" y="21600"/>
                    </a:lnTo>
                    <a:lnTo>
                      <a:pt x="6603" y="21600"/>
                    </a:lnTo>
                    <a:lnTo>
                      <a:pt x="6603" y="12982"/>
                    </a:lnTo>
                    <a:lnTo>
                      <a:pt x="12294" y="12982"/>
                    </a:lnTo>
                    <a:lnTo>
                      <a:pt x="16153" y="12479"/>
                    </a:lnTo>
                    <a:lnTo>
                      <a:pt x="19304" y="11094"/>
                    </a:lnTo>
                    <a:lnTo>
                      <a:pt x="21448" y="9023"/>
                    </a:lnTo>
                    <a:lnTo>
                      <a:pt x="21600" y="8758"/>
                    </a:lnTo>
                    <a:lnTo>
                      <a:pt x="6603" y="8758"/>
                    </a:lnTo>
                    <a:lnTo>
                      <a:pt x="6603" y="4225"/>
                    </a:lnTo>
                    <a:lnTo>
                      <a:pt x="21594" y="4225"/>
                    </a:lnTo>
                    <a:lnTo>
                      <a:pt x="21448" y="3973"/>
                    </a:lnTo>
                    <a:lnTo>
                      <a:pt x="19304" y="1917"/>
                    </a:lnTo>
                    <a:lnTo>
                      <a:pt x="16153" y="517"/>
                    </a:lnTo>
                    <a:lnTo>
                      <a:pt x="13307" y="32"/>
                    </a:lnTo>
                    <a:lnTo>
                      <a:pt x="12294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4" name="Shape"/>
              <p:cNvSpPr/>
              <p:nvPr/>
            </p:nvSpPr>
            <p:spPr>
              <a:xfrm>
                <a:off x="127977" y="72174"/>
                <a:ext cx="119966" cy="7743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302" y="0"/>
                    </a:moveTo>
                    <a:lnTo>
                      <a:pt x="0" y="0"/>
                    </a:lnTo>
                    <a:lnTo>
                      <a:pt x="1372" y="196"/>
                    </a:lnTo>
                    <a:lnTo>
                      <a:pt x="2646" y="783"/>
                    </a:lnTo>
                    <a:lnTo>
                      <a:pt x="6970" y="10798"/>
                    </a:lnTo>
                    <a:lnTo>
                      <a:pt x="6841" y="12978"/>
                    </a:lnTo>
                    <a:lnTo>
                      <a:pt x="1372" y="21404"/>
                    </a:lnTo>
                    <a:lnTo>
                      <a:pt x="0" y="21600"/>
                    </a:lnTo>
                    <a:lnTo>
                      <a:pt x="20314" y="21600"/>
                    </a:lnTo>
                    <a:lnTo>
                      <a:pt x="20705" y="19986"/>
                    </a:lnTo>
                    <a:lnTo>
                      <a:pt x="21202" y="17015"/>
                    </a:lnTo>
                    <a:lnTo>
                      <a:pt x="21500" y="13952"/>
                    </a:lnTo>
                    <a:lnTo>
                      <a:pt x="21600" y="10798"/>
                    </a:lnTo>
                    <a:lnTo>
                      <a:pt x="21500" y="7649"/>
                    </a:lnTo>
                    <a:lnTo>
                      <a:pt x="21202" y="4599"/>
                    </a:lnTo>
                    <a:lnTo>
                      <a:pt x="20705" y="1649"/>
                    </a:lnTo>
                    <a:lnTo>
                      <a:pt x="20302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70314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01347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0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11055648" y="6126649"/>
            <a:ext cx="507702" cy="507702"/>
            <a:chOff x="10923015" y="5651661"/>
            <a:chExt cx="1015404" cy="1015404"/>
          </a:xfrm>
        </p:grpSpPr>
        <p:sp>
          <p:nvSpPr>
            <p:cNvPr id="11" name="object 10"/>
            <p:cNvSpPr/>
            <p:nvPr userDrawn="1"/>
          </p:nvSpPr>
          <p:spPr>
            <a:xfrm>
              <a:off x="10923015" y="5651661"/>
              <a:ext cx="1015404" cy="1015404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45719" rIns="45719"/>
            <a:lstStyle/>
            <a:p>
              <a:endParaRPr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2" name="object 11"/>
            <p:cNvSpPr/>
            <p:nvPr userDrawn="1"/>
          </p:nvSpPr>
          <p:spPr>
            <a:xfrm>
              <a:off x="11050739" y="6504864"/>
              <a:ext cx="759944" cy="1"/>
            </a:xfrm>
            <a:prstGeom prst="line">
              <a:avLst/>
            </a:prstGeom>
            <a:ln w="68922">
              <a:solidFill>
                <a:srgbClr val="2B9CDA"/>
              </a:solidFill>
            </a:ln>
          </p:spPr>
          <p:txBody>
            <a:bodyPr lIns="45719" rIns="45719"/>
            <a:lstStyle/>
            <a:p>
              <a:endParaRPr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" name="object 12"/>
            <p:cNvSpPr/>
            <p:nvPr userDrawn="1"/>
          </p:nvSpPr>
          <p:spPr>
            <a:xfrm>
              <a:off x="11050739" y="5813859"/>
              <a:ext cx="759944" cy="1"/>
            </a:xfrm>
            <a:prstGeom prst="line">
              <a:avLst/>
            </a:prstGeom>
            <a:ln w="68922">
              <a:solidFill>
                <a:srgbClr val="2B9CDA"/>
              </a:solidFill>
            </a:ln>
          </p:spPr>
          <p:txBody>
            <a:bodyPr lIns="45719" rIns="45719"/>
            <a:lstStyle/>
            <a:p>
              <a:endParaRPr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" name="object 13"/>
            <p:cNvGrpSpPr/>
            <p:nvPr userDrawn="1"/>
          </p:nvGrpSpPr>
          <p:grpSpPr>
            <a:xfrm>
              <a:off x="11299682" y="5972233"/>
              <a:ext cx="242811" cy="374257"/>
              <a:chOff x="0" y="0"/>
              <a:chExt cx="242810" cy="374256"/>
            </a:xfrm>
          </p:grpSpPr>
          <p:sp>
            <p:nvSpPr>
              <p:cNvPr id="22" name="Shape"/>
              <p:cNvSpPr/>
              <p:nvPr/>
            </p:nvSpPr>
            <p:spPr>
              <a:xfrm>
                <a:off x="0" y="250939"/>
                <a:ext cx="232898" cy="1233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1313" y="10161"/>
                    </a:lnTo>
                    <a:lnTo>
                      <a:pt x="4114" y="16744"/>
                    </a:lnTo>
                    <a:lnTo>
                      <a:pt x="7964" y="20699"/>
                    </a:lnTo>
                    <a:lnTo>
                      <a:pt x="11238" y="21600"/>
                    </a:lnTo>
                    <a:lnTo>
                      <a:pt x="12361" y="21500"/>
                    </a:lnTo>
                    <a:lnTo>
                      <a:pt x="16571" y="19119"/>
                    </a:lnTo>
                    <a:lnTo>
                      <a:pt x="19967" y="13722"/>
                    </a:lnTo>
                    <a:lnTo>
                      <a:pt x="21600" y="8540"/>
                    </a:lnTo>
                    <a:lnTo>
                      <a:pt x="10620" y="8540"/>
                    </a:lnTo>
                    <a:lnTo>
                      <a:pt x="10046" y="8317"/>
                    </a:lnTo>
                    <a:lnTo>
                      <a:pt x="7180" y="3306"/>
                    </a:lnTo>
                    <a:lnTo>
                      <a:pt x="6949" y="2300"/>
                    </a:lnTo>
                    <a:lnTo>
                      <a:pt x="6939" y="2233"/>
                    </a:lnTo>
                    <a:lnTo>
                      <a:pt x="6830" y="1203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3" name="Shape"/>
              <p:cNvSpPr/>
              <p:nvPr/>
            </p:nvSpPr>
            <p:spPr>
              <a:xfrm>
                <a:off x="27011" y="0"/>
                <a:ext cx="215800" cy="2996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5"/>
                    </a:lnTo>
                    <a:lnTo>
                      <a:pt x="9472" y="5375"/>
                    </a:lnTo>
                    <a:lnTo>
                      <a:pt x="3797" y="14601"/>
                    </a:lnTo>
                    <a:lnTo>
                      <a:pt x="10087" y="14601"/>
                    </a:lnTo>
                    <a:lnTo>
                      <a:pt x="10714" y="14694"/>
                    </a:lnTo>
                    <a:lnTo>
                      <a:pt x="14105" y="17169"/>
                    </a:lnTo>
                    <a:lnTo>
                      <a:pt x="14232" y="17621"/>
                    </a:lnTo>
                    <a:lnTo>
                      <a:pt x="14232" y="18581"/>
                    </a:lnTo>
                    <a:lnTo>
                      <a:pt x="11892" y="21142"/>
                    </a:lnTo>
                    <a:lnTo>
                      <a:pt x="10091" y="21600"/>
                    </a:lnTo>
                    <a:lnTo>
                      <a:pt x="20608" y="21600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0144" y="13947"/>
                    </a:lnTo>
                    <a:lnTo>
                      <a:pt x="17489" y="11484"/>
                    </a:lnTo>
                    <a:lnTo>
                      <a:pt x="14568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16" name="object 14"/>
            <p:cNvGrpSpPr/>
            <p:nvPr userDrawn="1"/>
          </p:nvGrpSpPr>
          <p:grpSpPr>
            <a:xfrm>
              <a:off x="11567132" y="5972233"/>
              <a:ext cx="242811" cy="374257"/>
              <a:chOff x="0" y="0"/>
              <a:chExt cx="242810" cy="374256"/>
            </a:xfrm>
          </p:grpSpPr>
          <p:sp>
            <p:nvSpPr>
              <p:cNvPr id="20" name="Shape"/>
              <p:cNvSpPr/>
              <p:nvPr/>
            </p:nvSpPr>
            <p:spPr>
              <a:xfrm>
                <a:off x="0" y="250939"/>
                <a:ext cx="232898" cy="1233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1313" y="10161"/>
                    </a:lnTo>
                    <a:lnTo>
                      <a:pt x="4114" y="16744"/>
                    </a:lnTo>
                    <a:lnTo>
                      <a:pt x="7964" y="20699"/>
                    </a:lnTo>
                    <a:lnTo>
                      <a:pt x="11238" y="21600"/>
                    </a:lnTo>
                    <a:lnTo>
                      <a:pt x="12361" y="21500"/>
                    </a:lnTo>
                    <a:lnTo>
                      <a:pt x="16571" y="19119"/>
                    </a:lnTo>
                    <a:lnTo>
                      <a:pt x="19967" y="13722"/>
                    </a:lnTo>
                    <a:lnTo>
                      <a:pt x="21600" y="8540"/>
                    </a:lnTo>
                    <a:lnTo>
                      <a:pt x="10620" y="8540"/>
                    </a:lnTo>
                    <a:lnTo>
                      <a:pt x="10046" y="8317"/>
                    </a:lnTo>
                    <a:lnTo>
                      <a:pt x="6949" y="2300"/>
                    </a:lnTo>
                    <a:lnTo>
                      <a:pt x="6830" y="1203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1" name="Shape"/>
              <p:cNvSpPr/>
              <p:nvPr/>
            </p:nvSpPr>
            <p:spPr>
              <a:xfrm>
                <a:off x="27011" y="0"/>
                <a:ext cx="215800" cy="2996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5"/>
                    </a:lnTo>
                    <a:lnTo>
                      <a:pt x="9472" y="5375"/>
                    </a:lnTo>
                    <a:lnTo>
                      <a:pt x="3797" y="14601"/>
                    </a:lnTo>
                    <a:lnTo>
                      <a:pt x="10086" y="14601"/>
                    </a:lnTo>
                    <a:lnTo>
                      <a:pt x="10714" y="14694"/>
                    </a:lnTo>
                    <a:lnTo>
                      <a:pt x="14105" y="17169"/>
                    </a:lnTo>
                    <a:lnTo>
                      <a:pt x="14232" y="17621"/>
                    </a:lnTo>
                    <a:lnTo>
                      <a:pt x="14232" y="18581"/>
                    </a:lnTo>
                    <a:lnTo>
                      <a:pt x="11892" y="21142"/>
                    </a:lnTo>
                    <a:lnTo>
                      <a:pt x="10091" y="21600"/>
                    </a:lnTo>
                    <a:lnTo>
                      <a:pt x="20608" y="21600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0144" y="13947"/>
                    </a:lnTo>
                    <a:lnTo>
                      <a:pt x="17489" y="11484"/>
                    </a:lnTo>
                    <a:lnTo>
                      <a:pt x="14567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17" name="object 15"/>
            <p:cNvGrpSpPr/>
            <p:nvPr userDrawn="1"/>
          </p:nvGrpSpPr>
          <p:grpSpPr>
            <a:xfrm>
              <a:off x="11051486" y="5974871"/>
              <a:ext cx="247944" cy="368986"/>
              <a:chOff x="0" y="0"/>
              <a:chExt cx="247942" cy="368985"/>
            </a:xfrm>
          </p:grpSpPr>
          <p:sp>
            <p:nvSpPr>
              <p:cNvPr id="18" name="Shape"/>
              <p:cNvSpPr/>
              <p:nvPr/>
            </p:nvSpPr>
            <p:spPr>
              <a:xfrm>
                <a:off x="0" y="0"/>
                <a:ext cx="240802" cy="36898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2294" y="0"/>
                    </a:moveTo>
                    <a:lnTo>
                      <a:pt x="0" y="0"/>
                    </a:lnTo>
                    <a:lnTo>
                      <a:pt x="0" y="21600"/>
                    </a:lnTo>
                    <a:lnTo>
                      <a:pt x="6603" y="21600"/>
                    </a:lnTo>
                    <a:lnTo>
                      <a:pt x="6603" y="12982"/>
                    </a:lnTo>
                    <a:lnTo>
                      <a:pt x="12294" y="12982"/>
                    </a:lnTo>
                    <a:lnTo>
                      <a:pt x="16153" y="12479"/>
                    </a:lnTo>
                    <a:lnTo>
                      <a:pt x="19304" y="11094"/>
                    </a:lnTo>
                    <a:lnTo>
                      <a:pt x="21448" y="9023"/>
                    </a:lnTo>
                    <a:lnTo>
                      <a:pt x="21600" y="8758"/>
                    </a:lnTo>
                    <a:lnTo>
                      <a:pt x="6603" y="8758"/>
                    </a:lnTo>
                    <a:lnTo>
                      <a:pt x="6603" y="4225"/>
                    </a:lnTo>
                    <a:lnTo>
                      <a:pt x="21594" y="4225"/>
                    </a:lnTo>
                    <a:lnTo>
                      <a:pt x="21448" y="3973"/>
                    </a:lnTo>
                    <a:lnTo>
                      <a:pt x="19304" y="1917"/>
                    </a:lnTo>
                    <a:lnTo>
                      <a:pt x="16153" y="517"/>
                    </a:lnTo>
                    <a:lnTo>
                      <a:pt x="13307" y="32"/>
                    </a:lnTo>
                    <a:lnTo>
                      <a:pt x="12294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9" name="Shape"/>
              <p:cNvSpPr/>
              <p:nvPr/>
            </p:nvSpPr>
            <p:spPr>
              <a:xfrm>
                <a:off x="127977" y="72174"/>
                <a:ext cx="119966" cy="7743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302" y="0"/>
                    </a:moveTo>
                    <a:lnTo>
                      <a:pt x="0" y="0"/>
                    </a:lnTo>
                    <a:lnTo>
                      <a:pt x="1372" y="196"/>
                    </a:lnTo>
                    <a:lnTo>
                      <a:pt x="2646" y="783"/>
                    </a:lnTo>
                    <a:lnTo>
                      <a:pt x="6970" y="10798"/>
                    </a:lnTo>
                    <a:lnTo>
                      <a:pt x="6841" y="12978"/>
                    </a:lnTo>
                    <a:lnTo>
                      <a:pt x="1372" y="21404"/>
                    </a:lnTo>
                    <a:lnTo>
                      <a:pt x="0" y="21600"/>
                    </a:lnTo>
                    <a:lnTo>
                      <a:pt x="20314" y="21600"/>
                    </a:lnTo>
                    <a:lnTo>
                      <a:pt x="20705" y="19986"/>
                    </a:lnTo>
                    <a:lnTo>
                      <a:pt x="21202" y="17015"/>
                    </a:lnTo>
                    <a:lnTo>
                      <a:pt x="21500" y="13952"/>
                    </a:lnTo>
                    <a:lnTo>
                      <a:pt x="21600" y="10798"/>
                    </a:lnTo>
                    <a:lnTo>
                      <a:pt x="21500" y="7649"/>
                    </a:lnTo>
                    <a:lnTo>
                      <a:pt x="21202" y="4599"/>
                    </a:lnTo>
                    <a:lnTo>
                      <a:pt x="20705" y="1649"/>
                    </a:lnTo>
                    <a:lnTo>
                      <a:pt x="20302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2928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83646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1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800" cap="all" baseline="0" dirty="0">
                <a:solidFill>
                  <a:schemeClr val="bg1"/>
                </a:solidFill>
                <a:latin typeface="+mj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/>
          <p:nvPr userDrawn="1"/>
        </p:nvGrpSpPr>
        <p:grpSpPr>
          <a:xfrm>
            <a:off x="11055648" y="6126649"/>
            <a:ext cx="507702" cy="507702"/>
            <a:chOff x="10923015" y="5651661"/>
            <a:chExt cx="1015404" cy="1015404"/>
          </a:xfrm>
        </p:grpSpPr>
        <p:sp>
          <p:nvSpPr>
            <p:cNvPr id="11" name="object 10"/>
            <p:cNvSpPr/>
            <p:nvPr userDrawn="1"/>
          </p:nvSpPr>
          <p:spPr>
            <a:xfrm>
              <a:off x="10923015" y="5651661"/>
              <a:ext cx="1015404" cy="1015404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45719" rIns="45719"/>
            <a:lstStyle/>
            <a:p>
              <a:endParaRPr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2" name="object 11"/>
            <p:cNvSpPr/>
            <p:nvPr userDrawn="1"/>
          </p:nvSpPr>
          <p:spPr>
            <a:xfrm>
              <a:off x="11050739" y="6504864"/>
              <a:ext cx="759944" cy="1"/>
            </a:xfrm>
            <a:prstGeom prst="line">
              <a:avLst/>
            </a:prstGeom>
            <a:ln w="68922">
              <a:solidFill>
                <a:srgbClr val="2B9CDA"/>
              </a:solidFill>
            </a:ln>
          </p:spPr>
          <p:txBody>
            <a:bodyPr lIns="45719" rIns="45719"/>
            <a:lstStyle/>
            <a:p>
              <a:endParaRPr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" name="object 12"/>
            <p:cNvSpPr/>
            <p:nvPr userDrawn="1"/>
          </p:nvSpPr>
          <p:spPr>
            <a:xfrm>
              <a:off x="11050739" y="5813859"/>
              <a:ext cx="759944" cy="1"/>
            </a:xfrm>
            <a:prstGeom prst="line">
              <a:avLst/>
            </a:prstGeom>
            <a:ln w="68922">
              <a:solidFill>
                <a:srgbClr val="2B9CDA"/>
              </a:solidFill>
            </a:ln>
          </p:spPr>
          <p:txBody>
            <a:bodyPr lIns="45719" rIns="45719"/>
            <a:lstStyle/>
            <a:p>
              <a:endParaRPr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" name="object 13"/>
            <p:cNvGrpSpPr/>
            <p:nvPr userDrawn="1"/>
          </p:nvGrpSpPr>
          <p:grpSpPr>
            <a:xfrm>
              <a:off x="11299682" y="5972233"/>
              <a:ext cx="242811" cy="374257"/>
              <a:chOff x="0" y="0"/>
              <a:chExt cx="242810" cy="374256"/>
            </a:xfrm>
          </p:grpSpPr>
          <p:sp>
            <p:nvSpPr>
              <p:cNvPr id="22" name="Shape"/>
              <p:cNvSpPr/>
              <p:nvPr/>
            </p:nvSpPr>
            <p:spPr>
              <a:xfrm>
                <a:off x="0" y="250939"/>
                <a:ext cx="232898" cy="1233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1313" y="10161"/>
                    </a:lnTo>
                    <a:lnTo>
                      <a:pt x="4114" y="16744"/>
                    </a:lnTo>
                    <a:lnTo>
                      <a:pt x="7964" y="20699"/>
                    </a:lnTo>
                    <a:lnTo>
                      <a:pt x="11238" y="21600"/>
                    </a:lnTo>
                    <a:lnTo>
                      <a:pt x="12361" y="21500"/>
                    </a:lnTo>
                    <a:lnTo>
                      <a:pt x="16571" y="19119"/>
                    </a:lnTo>
                    <a:lnTo>
                      <a:pt x="19967" y="13722"/>
                    </a:lnTo>
                    <a:lnTo>
                      <a:pt x="21600" y="8540"/>
                    </a:lnTo>
                    <a:lnTo>
                      <a:pt x="10620" y="8540"/>
                    </a:lnTo>
                    <a:lnTo>
                      <a:pt x="10046" y="8317"/>
                    </a:lnTo>
                    <a:lnTo>
                      <a:pt x="7180" y="3306"/>
                    </a:lnTo>
                    <a:lnTo>
                      <a:pt x="6949" y="2300"/>
                    </a:lnTo>
                    <a:lnTo>
                      <a:pt x="6939" y="2233"/>
                    </a:lnTo>
                    <a:lnTo>
                      <a:pt x="6830" y="1203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3" name="Shape"/>
              <p:cNvSpPr/>
              <p:nvPr/>
            </p:nvSpPr>
            <p:spPr>
              <a:xfrm>
                <a:off x="27011" y="0"/>
                <a:ext cx="215800" cy="2996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5"/>
                    </a:lnTo>
                    <a:lnTo>
                      <a:pt x="9472" y="5375"/>
                    </a:lnTo>
                    <a:lnTo>
                      <a:pt x="3797" y="14601"/>
                    </a:lnTo>
                    <a:lnTo>
                      <a:pt x="10087" y="14601"/>
                    </a:lnTo>
                    <a:lnTo>
                      <a:pt x="10714" y="14694"/>
                    </a:lnTo>
                    <a:lnTo>
                      <a:pt x="14105" y="17169"/>
                    </a:lnTo>
                    <a:lnTo>
                      <a:pt x="14232" y="17621"/>
                    </a:lnTo>
                    <a:lnTo>
                      <a:pt x="14232" y="18581"/>
                    </a:lnTo>
                    <a:lnTo>
                      <a:pt x="11892" y="21142"/>
                    </a:lnTo>
                    <a:lnTo>
                      <a:pt x="10091" y="21600"/>
                    </a:lnTo>
                    <a:lnTo>
                      <a:pt x="20608" y="21600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0144" y="13947"/>
                    </a:lnTo>
                    <a:lnTo>
                      <a:pt x="17489" y="11484"/>
                    </a:lnTo>
                    <a:lnTo>
                      <a:pt x="14568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16" name="object 14"/>
            <p:cNvGrpSpPr/>
            <p:nvPr userDrawn="1"/>
          </p:nvGrpSpPr>
          <p:grpSpPr>
            <a:xfrm>
              <a:off x="11567132" y="5972233"/>
              <a:ext cx="242811" cy="374257"/>
              <a:chOff x="0" y="0"/>
              <a:chExt cx="242810" cy="374256"/>
            </a:xfrm>
          </p:grpSpPr>
          <p:sp>
            <p:nvSpPr>
              <p:cNvPr id="20" name="Shape"/>
              <p:cNvSpPr/>
              <p:nvPr/>
            </p:nvSpPr>
            <p:spPr>
              <a:xfrm>
                <a:off x="0" y="250939"/>
                <a:ext cx="232898" cy="1233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1313" y="10161"/>
                    </a:lnTo>
                    <a:lnTo>
                      <a:pt x="4114" y="16744"/>
                    </a:lnTo>
                    <a:lnTo>
                      <a:pt x="7964" y="20699"/>
                    </a:lnTo>
                    <a:lnTo>
                      <a:pt x="11238" y="21600"/>
                    </a:lnTo>
                    <a:lnTo>
                      <a:pt x="12361" y="21500"/>
                    </a:lnTo>
                    <a:lnTo>
                      <a:pt x="16571" y="19119"/>
                    </a:lnTo>
                    <a:lnTo>
                      <a:pt x="19967" y="13722"/>
                    </a:lnTo>
                    <a:lnTo>
                      <a:pt x="21600" y="8540"/>
                    </a:lnTo>
                    <a:lnTo>
                      <a:pt x="10620" y="8540"/>
                    </a:lnTo>
                    <a:lnTo>
                      <a:pt x="10046" y="8317"/>
                    </a:lnTo>
                    <a:lnTo>
                      <a:pt x="6949" y="2300"/>
                    </a:lnTo>
                    <a:lnTo>
                      <a:pt x="6830" y="1203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1" name="Shape"/>
              <p:cNvSpPr/>
              <p:nvPr/>
            </p:nvSpPr>
            <p:spPr>
              <a:xfrm>
                <a:off x="27011" y="0"/>
                <a:ext cx="215800" cy="2996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5"/>
                    </a:lnTo>
                    <a:lnTo>
                      <a:pt x="9472" y="5375"/>
                    </a:lnTo>
                    <a:lnTo>
                      <a:pt x="3797" y="14601"/>
                    </a:lnTo>
                    <a:lnTo>
                      <a:pt x="10086" y="14601"/>
                    </a:lnTo>
                    <a:lnTo>
                      <a:pt x="10714" y="14694"/>
                    </a:lnTo>
                    <a:lnTo>
                      <a:pt x="14105" y="17169"/>
                    </a:lnTo>
                    <a:lnTo>
                      <a:pt x="14232" y="17621"/>
                    </a:lnTo>
                    <a:lnTo>
                      <a:pt x="14232" y="18581"/>
                    </a:lnTo>
                    <a:lnTo>
                      <a:pt x="11892" y="21142"/>
                    </a:lnTo>
                    <a:lnTo>
                      <a:pt x="10091" y="21600"/>
                    </a:lnTo>
                    <a:lnTo>
                      <a:pt x="20608" y="21600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0144" y="13947"/>
                    </a:lnTo>
                    <a:lnTo>
                      <a:pt x="17489" y="11484"/>
                    </a:lnTo>
                    <a:lnTo>
                      <a:pt x="14567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17" name="object 15"/>
            <p:cNvGrpSpPr/>
            <p:nvPr userDrawn="1"/>
          </p:nvGrpSpPr>
          <p:grpSpPr>
            <a:xfrm>
              <a:off x="11051486" y="5974871"/>
              <a:ext cx="247944" cy="368986"/>
              <a:chOff x="0" y="0"/>
              <a:chExt cx="247942" cy="368985"/>
            </a:xfrm>
          </p:grpSpPr>
          <p:sp>
            <p:nvSpPr>
              <p:cNvPr id="18" name="Shape"/>
              <p:cNvSpPr/>
              <p:nvPr/>
            </p:nvSpPr>
            <p:spPr>
              <a:xfrm>
                <a:off x="0" y="0"/>
                <a:ext cx="240802" cy="36898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2294" y="0"/>
                    </a:moveTo>
                    <a:lnTo>
                      <a:pt x="0" y="0"/>
                    </a:lnTo>
                    <a:lnTo>
                      <a:pt x="0" y="21600"/>
                    </a:lnTo>
                    <a:lnTo>
                      <a:pt x="6603" y="21600"/>
                    </a:lnTo>
                    <a:lnTo>
                      <a:pt x="6603" y="12982"/>
                    </a:lnTo>
                    <a:lnTo>
                      <a:pt x="12294" y="12982"/>
                    </a:lnTo>
                    <a:lnTo>
                      <a:pt x="16153" y="12479"/>
                    </a:lnTo>
                    <a:lnTo>
                      <a:pt x="19304" y="11094"/>
                    </a:lnTo>
                    <a:lnTo>
                      <a:pt x="21448" y="9023"/>
                    </a:lnTo>
                    <a:lnTo>
                      <a:pt x="21600" y="8758"/>
                    </a:lnTo>
                    <a:lnTo>
                      <a:pt x="6603" y="8758"/>
                    </a:lnTo>
                    <a:lnTo>
                      <a:pt x="6603" y="4225"/>
                    </a:lnTo>
                    <a:lnTo>
                      <a:pt x="21594" y="4225"/>
                    </a:lnTo>
                    <a:lnTo>
                      <a:pt x="21448" y="3973"/>
                    </a:lnTo>
                    <a:lnTo>
                      <a:pt x="19304" y="1917"/>
                    </a:lnTo>
                    <a:lnTo>
                      <a:pt x="16153" y="517"/>
                    </a:lnTo>
                    <a:lnTo>
                      <a:pt x="13307" y="32"/>
                    </a:lnTo>
                    <a:lnTo>
                      <a:pt x="12294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9" name="Shape"/>
              <p:cNvSpPr/>
              <p:nvPr/>
            </p:nvSpPr>
            <p:spPr>
              <a:xfrm>
                <a:off x="127977" y="72174"/>
                <a:ext cx="119966" cy="7743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302" y="0"/>
                    </a:moveTo>
                    <a:lnTo>
                      <a:pt x="0" y="0"/>
                    </a:lnTo>
                    <a:lnTo>
                      <a:pt x="1372" y="196"/>
                    </a:lnTo>
                    <a:lnTo>
                      <a:pt x="2646" y="783"/>
                    </a:lnTo>
                    <a:lnTo>
                      <a:pt x="6970" y="10798"/>
                    </a:lnTo>
                    <a:lnTo>
                      <a:pt x="6841" y="12978"/>
                    </a:lnTo>
                    <a:lnTo>
                      <a:pt x="1372" y="21404"/>
                    </a:lnTo>
                    <a:lnTo>
                      <a:pt x="0" y="21600"/>
                    </a:lnTo>
                    <a:lnTo>
                      <a:pt x="20314" y="21600"/>
                    </a:lnTo>
                    <a:lnTo>
                      <a:pt x="20705" y="19986"/>
                    </a:lnTo>
                    <a:lnTo>
                      <a:pt x="21202" y="17015"/>
                    </a:lnTo>
                    <a:lnTo>
                      <a:pt x="21500" y="13952"/>
                    </a:lnTo>
                    <a:lnTo>
                      <a:pt x="21600" y="10798"/>
                    </a:lnTo>
                    <a:lnTo>
                      <a:pt x="21500" y="7649"/>
                    </a:lnTo>
                    <a:lnTo>
                      <a:pt x="21202" y="4599"/>
                    </a:lnTo>
                    <a:lnTo>
                      <a:pt x="20705" y="1649"/>
                    </a:lnTo>
                    <a:lnTo>
                      <a:pt x="20302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1607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99475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13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520 P33 Overview - CBIA v2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2017406" cy="3877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800" cap="all" baseline="0" dirty="0">
                <a:solidFill>
                  <a:schemeClr val="bg1"/>
                </a:solidFill>
                <a:latin typeface="+mj-lt"/>
                <a:ea typeface="+mn-ea"/>
                <a:cs typeface="+mn-cs"/>
                <a:sym typeface="+mn-lt"/>
              </a:rPr>
              <a:t>AGENDA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11055648" y="6126649"/>
            <a:ext cx="507702" cy="507702"/>
            <a:chOff x="10923015" y="5651661"/>
            <a:chExt cx="1015404" cy="1015404"/>
          </a:xfrm>
        </p:grpSpPr>
        <p:sp>
          <p:nvSpPr>
            <p:cNvPr id="11" name="object 10"/>
            <p:cNvSpPr/>
            <p:nvPr userDrawn="1"/>
          </p:nvSpPr>
          <p:spPr>
            <a:xfrm>
              <a:off x="10923015" y="5651661"/>
              <a:ext cx="1015404" cy="1015404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45719" rIns="45719"/>
            <a:lstStyle/>
            <a:p>
              <a:endParaRPr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2" name="object 11"/>
            <p:cNvSpPr/>
            <p:nvPr userDrawn="1"/>
          </p:nvSpPr>
          <p:spPr>
            <a:xfrm>
              <a:off x="11050739" y="6504864"/>
              <a:ext cx="759944" cy="1"/>
            </a:xfrm>
            <a:prstGeom prst="line">
              <a:avLst/>
            </a:prstGeom>
            <a:ln w="68922">
              <a:solidFill>
                <a:srgbClr val="2B9CDA"/>
              </a:solidFill>
            </a:ln>
          </p:spPr>
          <p:txBody>
            <a:bodyPr lIns="45719" rIns="45719"/>
            <a:lstStyle/>
            <a:p>
              <a:endParaRPr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8" name="object 12"/>
            <p:cNvSpPr/>
            <p:nvPr userDrawn="1"/>
          </p:nvSpPr>
          <p:spPr>
            <a:xfrm>
              <a:off x="11050739" y="5813859"/>
              <a:ext cx="759944" cy="1"/>
            </a:xfrm>
            <a:prstGeom prst="line">
              <a:avLst/>
            </a:prstGeom>
            <a:ln w="68922">
              <a:solidFill>
                <a:srgbClr val="2B9CDA"/>
              </a:solidFill>
            </a:ln>
          </p:spPr>
          <p:txBody>
            <a:bodyPr lIns="45719" rIns="45719"/>
            <a:lstStyle/>
            <a:p>
              <a:endParaRPr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9" name="object 13"/>
            <p:cNvGrpSpPr/>
            <p:nvPr userDrawn="1"/>
          </p:nvGrpSpPr>
          <p:grpSpPr>
            <a:xfrm>
              <a:off x="11299682" y="5972233"/>
              <a:ext cx="242811" cy="374257"/>
              <a:chOff x="0" y="0"/>
              <a:chExt cx="242810" cy="374256"/>
            </a:xfrm>
          </p:grpSpPr>
          <p:sp>
            <p:nvSpPr>
              <p:cNvPr id="26" name="Shape"/>
              <p:cNvSpPr/>
              <p:nvPr/>
            </p:nvSpPr>
            <p:spPr>
              <a:xfrm>
                <a:off x="0" y="250939"/>
                <a:ext cx="232898" cy="1233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1313" y="10161"/>
                    </a:lnTo>
                    <a:lnTo>
                      <a:pt x="4114" y="16744"/>
                    </a:lnTo>
                    <a:lnTo>
                      <a:pt x="7964" y="20699"/>
                    </a:lnTo>
                    <a:lnTo>
                      <a:pt x="11238" y="21600"/>
                    </a:lnTo>
                    <a:lnTo>
                      <a:pt x="12361" y="21500"/>
                    </a:lnTo>
                    <a:lnTo>
                      <a:pt x="16571" y="19119"/>
                    </a:lnTo>
                    <a:lnTo>
                      <a:pt x="19967" y="13722"/>
                    </a:lnTo>
                    <a:lnTo>
                      <a:pt x="21600" y="8540"/>
                    </a:lnTo>
                    <a:lnTo>
                      <a:pt x="10620" y="8540"/>
                    </a:lnTo>
                    <a:lnTo>
                      <a:pt x="10046" y="8317"/>
                    </a:lnTo>
                    <a:lnTo>
                      <a:pt x="7180" y="3306"/>
                    </a:lnTo>
                    <a:lnTo>
                      <a:pt x="6949" y="2300"/>
                    </a:lnTo>
                    <a:lnTo>
                      <a:pt x="6939" y="2233"/>
                    </a:lnTo>
                    <a:lnTo>
                      <a:pt x="6830" y="1203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7" name="Shape"/>
              <p:cNvSpPr/>
              <p:nvPr/>
            </p:nvSpPr>
            <p:spPr>
              <a:xfrm>
                <a:off x="27011" y="0"/>
                <a:ext cx="215800" cy="2996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5"/>
                    </a:lnTo>
                    <a:lnTo>
                      <a:pt x="9472" y="5375"/>
                    </a:lnTo>
                    <a:lnTo>
                      <a:pt x="3797" y="14601"/>
                    </a:lnTo>
                    <a:lnTo>
                      <a:pt x="10087" y="14601"/>
                    </a:lnTo>
                    <a:lnTo>
                      <a:pt x="10714" y="14694"/>
                    </a:lnTo>
                    <a:lnTo>
                      <a:pt x="14105" y="17169"/>
                    </a:lnTo>
                    <a:lnTo>
                      <a:pt x="14232" y="17621"/>
                    </a:lnTo>
                    <a:lnTo>
                      <a:pt x="14232" y="18581"/>
                    </a:lnTo>
                    <a:lnTo>
                      <a:pt x="11892" y="21142"/>
                    </a:lnTo>
                    <a:lnTo>
                      <a:pt x="10091" y="21600"/>
                    </a:lnTo>
                    <a:lnTo>
                      <a:pt x="20608" y="21600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0144" y="13947"/>
                    </a:lnTo>
                    <a:lnTo>
                      <a:pt x="17489" y="11484"/>
                    </a:lnTo>
                    <a:lnTo>
                      <a:pt x="14568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20" name="object 14"/>
            <p:cNvGrpSpPr/>
            <p:nvPr userDrawn="1"/>
          </p:nvGrpSpPr>
          <p:grpSpPr>
            <a:xfrm>
              <a:off x="11567132" y="5972233"/>
              <a:ext cx="242811" cy="374257"/>
              <a:chOff x="0" y="0"/>
              <a:chExt cx="242810" cy="374256"/>
            </a:xfrm>
          </p:grpSpPr>
          <p:sp>
            <p:nvSpPr>
              <p:cNvPr id="24" name="Shape"/>
              <p:cNvSpPr/>
              <p:nvPr/>
            </p:nvSpPr>
            <p:spPr>
              <a:xfrm>
                <a:off x="0" y="250939"/>
                <a:ext cx="232898" cy="1233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1313" y="10161"/>
                    </a:lnTo>
                    <a:lnTo>
                      <a:pt x="4114" y="16744"/>
                    </a:lnTo>
                    <a:lnTo>
                      <a:pt x="7964" y="20699"/>
                    </a:lnTo>
                    <a:lnTo>
                      <a:pt x="11238" y="21600"/>
                    </a:lnTo>
                    <a:lnTo>
                      <a:pt x="12361" y="21500"/>
                    </a:lnTo>
                    <a:lnTo>
                      <a:pt x="16571" y="19119"/>
                    </a:lnTo>
                    <a:lnTo>
                      <a:pt x="19967" y="13722"/>
                    </a:lnTo>
                    <a:lnTo>
                      <a:pt x="21600" y="8540"/>
                    </a:lnTo>
                    <a:lnTo>
                      <a:pt x="10620" y="8540"/>
                    </a:lnTo>
                    <a:lnTo>
                      <a:pt x="10046" y="8317"/>
                    </a:lnTo>
                    <a:lnTo>
                      <a:pt x="6949" y="2300"/>
                    </a:lnTo>
                    <a:lnTo>
                      <a:pt x="6830" y="1203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5" name="Shape"/>
              <p:cNvSpPr/>
              <p:nvPr/>
            </p:nvSpPr>
            <p:spPr>
              <a:xfrm>
                <a:off x="27011" y="0"/>
                <a:ext cx="215800" cy="2996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5"/>
                    </a:lnTo>
                    <a:lnTo>
                      <a:pt x="9472" y="5375"/>
                    </a:lnTo>
                    <a:lnTo>
                      <a:pt x="3797" y="14601"/>
                    </a:lnTo>
                    <a:lnTo>
                      <a:pt x="10086" y="14601"/>
                    </a:lnTo>
                    <a:lnTo>
                      <a:pt x="10714" y="14694"/>
                    </a:lnTo>
                    <a:lnTo>
                      <a:pt x="14105" y="17169"/>
                    </a:lnTo>
                    <a:lnTo>
                      <a:pt x="14232" y="17621"/>
                    </a:lnTo>
                    <a:lnTo>
                      <a:pt x="14232" y="18581"/>
                    </a:lnTo>
                    <a:lnTo>
                      <a:pt x="11892" y="21142"/>
                    </a:lnTo>
                    <a:lnTo>
                      <a:pt x="10091" y="21600"/>
                    </a:lnTo>
                    <a:lnTo>
                      <a:pt x="20608" y="21600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0144" y="13947"/>
                    </a:lnTo>
                    <a:lnTo>
                      <a:pt x="17489" y="11484"/>
                    </a:lnTo>
                    <a:lnTo>
                      <a:pt x="14567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21" name="object 15"/>
            <p:cNvGrpSpPr/>
            <p:nvPr userDrawn="1"/>
          </p:nvGrpSpPr>
          <p:grpSpPr>
            <a:xfrm>
              <a:off x="11051486" y="5974871"/>
              <a:ext cx="247944" cy="368986"/>
              <a:chOff x="0" y="0"/>
              <a:chExt cx="247942" cy="368985"/>
            </a:xfrm>
          </p:grpSpPr>
          <p:sp>
            <p:nvSpPr>
              <p:cNvPr id="22" name="Shape"/>
              <p:cNvSpPr/>
              <p:nvPr/>
            </p:nvSpPr>
            <p:spPr>
              <a:xfrm>
                <a:off x="0" y="0"/>
                <a:ext cx="240802" cy="36898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2294" y="0"/>
                    </a:moveTo>
                    <a:lnTo>
                      <a:pt x="0" y="0"/>
                    </a:lnTo>
                    <a:lnTo>
                      <a:pt x="0" y="21600"/>
                    </a:lnTo>
                    <a:lnTo>
                      <a:pt x="6603" y="21600"/>
                    </a:lnTo>
                    <a:lnTo>
                      <a:pt x="6603" y="12982"/>
                    </a:lnTo>
                    <a:lnTo>
                      <a:pt x="12294" y="12982"/>
                    </a:lnTo>
                    <a:lnTo>
                      <a:pt x="16153" y="12479"/>
                    </a:lnTo>
                    <a:lnTo>
                      <a:pt x="19304" y="11094"/>
                    </a:lnTo>
                    <a:lnTo>
                      <a:pt x="21448" y="9023"/>
                    </a:lnTo>
                    <a:lnTo>
                      <a:pt x="21600" y="8758"/>
                    </a:lnTo>
                    <a:lnTo>
                      <a:pt x="6603" y="8758"/>
                    </a:lnTo>
                    <a:lnTo>
                      <a:pt x="6603" y="4225"/>
                    </a:lnTo>
                    <a:lnTo>
                      <a:pt x="21594" y="4225"/>
                    </a:lnTo>
                    <a:lnTo>
                      <a:pt x="21448" y="3973"/>
                    </a:lnTo>
                    <a:lnTo>
                      <a:pt x="19304" y="1917"/>
                    </a:lnTo>
                    <a:lnTo>
                      <a:pt x="16153" y="517"/>
                    </a:lnTo>
                    <a:lnTo>
                      <a:pt x="13307" y="32"/>
                    </a:lnTo>
                    <a:lnTo>
                      <a:pt x="12294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3" name="Shape"/>
              <p:cNvSpPr/>
              <p:nvPr/>
            </p:nvSpPr>
            <p:spPr>
              <a:xfrm>
                <a:off x="127977" y="72174"/>
                <a:ext cx="119966" cy="7743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302" y="0"/>
                    </a:moveTo>
                    <a:lnTo>
                      <a:pt x="0" y="0"/>
                    </a:lnTo>
                    <a:lnTo>
                      <a:pt x="1372" y="196"/>
                    </a:lnTo>
                    <a:lnTo>
                      <a:pt x="2646" y="783"/>
                    </a:lnTo>
                    <a:lnTo>
                      <a:pt x="6970" y="10798"/>
                    </a:lnTo>
                    <a:lnTo>
                      <a:pt x="6841" y="12978"/>
                    </a:lnTo>
                    <a:lnTo>
                      <a:pt x="1372" y="21404"/>
                    </a:lnTo>
                    <a:lnTo>
                      <a:pt x="0" y="21600"/>
                    </a:lnTo>
                    <a:lnTo>
                      <a:pt x="20314" y="21600"/>
                    </a:lnTo>
                    <a:lnTo>
                      <a:pt x="20705" y="19986"/>
                    </a:lnTo>
                    <a:lnTo>
                      <a:pt x="21202" y="17015"/>
                    </a:lnTo>
                    <a:lnTo>
                      <a:pt x="21500" y="13952"/>
                    </a:lnTo>
                    <a:lnTo>
                      <a:pt x="21600" y="10798"/>
                    </a:lnTo>
                    <a:lnTo>
                      <a:pt x="21500" y="7649"/>
                    </a:lnTo>
                    <a:lnTo>
                      <a:pt x="21202" y="4599"/>
                    </a:lnTo>
                    <a:lnTo>
                      <a:pt x="20705" y="1649"/>
                    </a:lnTo>
                    <a:lnTo>
                      <a:pt x="20302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70190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49409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15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tx2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7"/>
            <a:ext cx="3448800" cy="351129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647772" y="1115416"/>
            <a:ext cx="3412537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cap="all" baseline="0" dirty="0">
                <a:solidFill>
                  <a:schemeClr val="tx2"/>
                </a:solidFill>
                <a:latin typeface="+mj-lt"/>
                <a:ea typeface="+mn-ea"/>
                <a:cs typeface="+mn-cs"/>
                <a:sym typeface="+mn-lt"/>
              </a:rPr>
              <a:t>AGENDA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1055648" y="6126649"/>
            <a:ext cx="507702" cy="507702"/>
            <a:chOff x="10923015" y="5651661"/>
            <a:chExt cx="1015404" cy="1015404"/>
          </a:xfrm>
        </p:grpSpPr>
        <p:sp>
          <p:nvSpPr>
            <p:cNvPr id="13" name="object 10"/>
            <p:cNvSpPr/>
            <p:nvPr userDrawn="1"/>
          </p:nvSpPr>
          <p:spPr>
            <a:xfrm>
              <a:off x="10923015" y="5651661"/>
              <a:ext cx="1015404" cy="1015404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45719" rIns="45719"/>
            <a:lstStyle/>
            <a:p>
              <a:endParaRPr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" name="object 11"/>
            <p:cNvSpPr/>
            <p:nvPr userDrawn="1"/>
          </p:nvSpPr>
          <p:spPr>
            <a:xfrm>
              <a:off x="11050739" y="6504864"/>
              <a:ext cx="759944" cy="1"/>
            </a:xfrm>
            <a:prstGeom prst="line">
              <a:avLst/>
            </a:prstGeom>
            <a:ln w="68922">
              <a:solidFill>
                <a:srgbClr val="2B9CDA"/>
              </a:solidFill>
            </a:ln>
          </p:spPr>
          <p:txBody>
            <a:bodyPr lIns="45719" rIns="45719"/>
            <a:lstStyle/>
            <a:p>
              <a:endParaRPr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" name="object 12"/>
            <p:cNvSpPr/>
            <p:nvPr userDrawn="1"/>
          </p:nvSpPr>
          <p:spPr>
            <a:xfrm>
              <a:off x="11050739" y="5813859"/>
              <a:ext cx="759944" cy="1"/>
            </a:xfrm>
            <a:prstGeom prst="line">
              <a:avLst/>
            </a:prstGeom>
            <a:ln w="68922">
              <a:solidFill>
                <a:srgbClr val="2B9CDA"/>
              </a:solidFill>
            </a:ln>
          </p:spPr>
          <p:txBody>
            <a:bodyPr lIns="45719" rIns="45719"/>
            <a:lstStyle/>
            <a:p>
              <a:endParaRPr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6" name="object 13"/>
            <p:cNvGrpSpPr/>
            <p:nvPr userDrawn="1"/>
          </p:nvGrpSpPr>
          <p:grpSpPr>
            <a:xfrm>
              <a:off x="11299682" y="5972233"/>
              <a:ext cx="242811" cy="374257"/>
              <a:chOff x="0" y="0"/>
              <a:chExt cx="242810" cy="374256"/>
            </a:xfrm>
          </p:grpSpPr>
          <p:sp>
            <p:nvSpPr>
              <p:cNvPr id="23" name="Shape"/>
              <p:cNvSpPr/>
              <p:nvPr/>
            </p:nvSpPr>
            <p:spPr>
              <a:xfrm>
                <a:off x="0" y="250939"/>
                <a:ext cx="232898" cy="1233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1313" y="10161"/>
                    </a:lnTo>
                    <a:lnTo>
                      <a:pt x="4114" y="16744"/>
                    </a:lnTo>
                    <a:lnTo>
                      <a:pt x="7964" y="20699"/>
                    </a:lnTo>
                    <a:lnTo>
                      <a:pt x="11238" y="21600"/>
                    </a:lnTo>
                    <a:lnTo>
                      <a:pt x="12361" y="21500"/>
                    </a:lnTo>
                    <a:lnTo>
                      <a:pt x="16571" y="19119"/>
                    </a:lnTo>
                    <a:lnTo>
                      <a:pt x="19967" y="13722"/>
                    </a:lnTo>
                    <a:lnTo>
                      <a:pt x="21600" y="8540"/>
                    </a:lnTo>
                    <a:lnTo>
                      <a:pt x="10620" y="8540"/>
                    </a:lnTo>
                    <a:lnTo>
                      <a:pt x="10046" y="8317"/>
                    </a:lnTo>
                    <a:lnTo>
                      <a:pt x="7180" y="3306"/>
                    </a:lnTo>
                    <a:lnTo>
                      <a:pt x="6949" y="2300"/>
                    </a:lnTo>
                    <a:lnTo>
                      <a:pt x="6939" y="2233"/>
                    </a:lnTo>
                    <a:lnTo>
                      <a:pt x="6830" y="1203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4" name="Shape"/>
              <p:cNvSpPr/>
              <p:nvPr/>
            </p:nvSpPr>
            <p:spPr>
              <a:xfrm>
                <a:off x="27011" y="0"/>
                <a:ext cx="215800" cy="2996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5"/>
                    </a:lnTo>
                    <a:lnTo>
                      <a:pt x="9472" y="5375"/>
                    </a:lnTo>
                    <a:lnTo>
                      <a:pt x="3797" y="14601"/>
                    </a:lnTo>
                    <a:lnTo>
                      <a:pt x="10087" y="14601"/>
                    </a:lnTo>
                    <a:lnTo>
                      <a:pt x="10714" y="14694"/>
                    </a:lnTo>
                    <a:lnTo>
                      <a:pt x="14105" y="17169"/>
                    </a:lnTo>
                    <a:lnTo>
                      <a:pt x="14232" y="17621"/>
                    </a:lnTo>
                    <a:lnTo>
                      <a:pt x="14232" y="18581"/>
                    </a:lnTo>
                    <a:lnTo>
                      <a:pt x="11892" y="21142"/>
                    </a:lnTo>
                    <a:lnTo>
                      <a:pt x="10091" y="21600"/>
                    </a:lnTo>
                    <a:lnTo>
                      <a:pt x="20608" y="21600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0144" y="13947"/>
                    </a:lnTo>
                    <a:lnTo>
                      <a:pt x="17489" y="11484"/>
                    </a:lnTo>
                    <a:lnTo>
                      <a:pt x="14568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17" name="object 14"/>
            <p:cNvGrpSpPr/>
            <p:nvPr userDrawn="1"/>
          </p:nvGrpSpPr>
          <p:grpSpPr>
            <a:xfrm>
              <a:off x="11567132" y="5972233"/>
              <a:ext cx="242811" cy="374257"/>
              <a:chOff x="0" y="0"/>
              <a:chExt cx="242810" cy="374256"/>
            </a:xfrm>
          </p:grpSpPr>
          <p:sp>
            <p:nvSpPr>
              <p:cNvPr id="21" name="Shape"/>
              <p:cNvSpPr/>
              <p:nvPr/>
            </p:nvSpPr>
            <p:spPr>
              <a:xfrm>
                <a:off x="0" y="250939"/>
                <a:ext cx="232898" cy="1233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1313" y="10161"/>
                    </a:lnTo>
                    <a:lnTo>
                      <a:pt x="4114" y="16744"/>
                    </a:lnTo>
                    <a:lnTo>
                      <a:pt x="7964" y="20699"/>
                    </a:lnTo>
                    <a:lnTo>
                      <a:pt x="11238" y="21600"/>
                    </a:lnTo>
                    <a:lnTo>
                      <a:pt x="12361" y="21500"/>
                    </a:lnTo>
                    <a:lnTo>
                      <a:pt x="16571" y="19119"/>
                    </a:lnTo>
                    <a:lnTo>
                      <a:pt x="19967" y="13722"/>
                    </a:lnTo>
                    <a:lnTo>
                      <a:pt x="21600" y="8540"/>
                    </a:lnTo>
                    <a:lnTo>
                      <a:pt x="10620" y="8540"/>
                    </a:lnTo>
                    <a:lnTo>
                      <a:pt x="10046" y="8317"/>
                    </a:lnTo>
                    <a:lnTo>
                      <a:pt x="6949" y="2300"/>
                    </a:lnTo>
                    <a:lnTo>
                      <a:pt x="6830" y="1203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2" name="Shape"/>
              <p:cNvSpPr/>
              <p:nvPr/>
            </p:nvSpPr>
            <p:spPr>
              <a:xfrm>
                <a:off x="27011" y="0"/>
                <a:ext cx="215800" cy="2996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5"/>
                    </a:lnTo>
                    <a:lnTo>
                      <a:pt x="9472" y="5375"/>
                    </a:lnTo>
                    <a:lnTo>
                      <a:pt x="3797" y="14601"/>
                    </a:lnTo>
                    <a:lnTo>
                      <a:pt x="10086" y="14601"/>
                    </a:lnTo>
                    <a:lnTo>
                      <a:pt x="10714" y="14694"/>
                    </a:lnTo>
                    <a:lnTo>
                      <a:pt x="14105" y="17169"/>
                    </a:lnTo>
                    <a:lnTo>
                      <a:pt x="14232" y="17621"/>
                    </a:lnTo>
                    <a:lnTo>
                      <a:pt x="14232" y="18581"/>
                    </a:lnTo>
                    <a:lnTo>
                      <a:pt x="11892" y="21142"/>
                    </a:lnTo>
                    <a:lnTo>
                      <a:pt x="10091" y="21600"/>
                    </a:lnTo>
                    <a:lnTo>
                      <a:pt x="20608" y="21600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0144" y="13947"/>
                    </a:lnTo>
                    <a:lnTo>
                      <a:pt x="17489" y="11484"/>
                    </a:lnTo>
                    <a:lnTo>
                      <a:pt x="14567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18" name="object 15"/>
            <p:cNvGrpSpPr/>
            <p:nvPr userDrawn="1"/>
          </p:nvGrpSpPr>
          <p:grpSpPr>
            <a:xfrm>
              <a:off x="11051486" y="5974871"/>
              <a:ext cx="247944" cy="368986"/>
              <a:chOff x="0" y="0"/>
              <a:chExt cx="247942" cy="368985"/>
            </a:xfrm>
          </p:grpSpPr>
          <p:sp>
            <p:nvSpPr>
              <p:cNvPr id="19" name="Shape"/>
              <p:cNvSpPr/>
              <p:nvPr/>
            </p:nvSpPr>
            <p:spPr>
              <a:xfrm>
                <a:off x="0" y="0"/>
                <a:ext cx="240802" cy="36898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2294" y="0"/>
                    </a:moveTo>
                    <a:lnTo>
                      <a:pt x="0" y="0"/>
                    </a:lnTo>
                    <a:lnTo>
                      <a:pt x="0" y="21600"/>
                    </a:lnTo>
                    <a:lnTo>
                      <a:pt x="6603" y="21600"/>
                    </a:lnTo>
                    <a:lnTo>
                      <a:pt x="6603" y="12982"/>
                    </a:lnTo>
                    <a:lnTo>
                      <a:pt x="12294" y="12982"/>
                    </a:lnTo>
                    <a:lnTo>
                      <a:pt x="16153" y="12479"/>
                    </a:lnTo>
                    <a:lnTo>
                      <a:pt x="19304" y="11094"/>
                    </a:lnTo>
                    <a:lnTo>
                      <a:pt x="21448" y="9023"/>
                    </a:lnTo>
                    <a:lnTo>
                      <a:pt x="21600" y="8758"/>
                    </a:lnTo>
                    <a:lnTo>
                      <a:pt x="6603" y="8758"/>
                    </a:lnTo>
                    <a:lnTo>
                      <a:pt x="6603" y="4225"/>
                    </a:lnTo>
                    <a:lnTo>
                      <a:pt x="21594" y="4225"/>
                    </a:lnTo>
                    <a:lnTo>
                      <a:pt x="21448" y="3973"/>
                    </a:lnTo>
                    <a:lnTo>
                      <a:pt x="19304" y="1917"/>
                    </a:lnTo>
                    <a:lnTo>
                      <a:pt x="16153" y="517"/>
                    </a:lnTo>
                    <a:lnTo>
                      <a:pt x="13307" y="32"/>
                    </a:lnTo>
                    <a:lnTo>
                      <a:pt x="12294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0" name="Shape"/>
              <p:cNvSpPr/>
              <p:nvPr/>
            </p:nvSpPr>
            <p:spPr>
              <a:xfrm>
                <a:off x="127977" y="72174"/>
                <a:ext cx="119966" cy="7743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302" y="0"/>
                    </a:moveTo>
                    <a:lnTo>
                      <a:pt x="0" y="0"/>
                    </a:lnTo>
                    <a:lnTo>
                      <a:pt x="1372" y="196"/>
                    </a:lnTo>
                    <a:lnTo>
                      <a:pt x="2646" y="783"/>
                    </a:lnTo>
                    <a:lnTo>
                      <a:pt x="6970" y="10798"/>
                    </a:lnTo>
                    <a:lnTo>
                      <a:pt x="6841" y="12978"/>
                    </a:lnTo>
                    <a:lnTo>
                      <a:pt x="1372" y="21404"/>
                    </a:lnTo>
                    <a:lnTo>
                      <a:pt x="0" y="21600"/>
                    </a:lnTo>
                    <a:lnTo>
                      <a:pt x="20314" y="21600"/>
                    </a:lnTo>
                    <a:lnTo>
                      <a:pt x="20705" y="19986"/>
                    </a:lnTo>
                    <a:lnTo>
                      <a:pt x="21202" y="17015"/>
                    </a:lnTo>
                    <a:lnTo>
                      <a:pt x="21500" y="13952"/>
                    </a:lnTo>
                    <a:lnTo>
                      <a:pt x="21600" y="10798"/>
                    </a:lnTo>
                    <a:lnTo>
                      <a:pt x="21500" y="7649"/>
                    </a:lnTo>
                    <a:lnTo>
                      <a:pt x="21202" y="4599"/>
                    </a:lnTo>
                    <a:lnTo>
                      <a:pt x="20705" y="1649"/>
                    </a:lnTo>
                    <a:lnTo>
                      <a:pt x="20302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65576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65512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1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>
            <a:off x="11055648" y="6126649"/>
            <a:ext cx="507702" cy="507702"/>
            <a:chOff x="10923015" y="5651661"/>
            <a:chExt cx="1015404" cy="1015404"/>
          </a:xfrm>
        </p:grpSpPr>
        <p:sp>
          <p:nvSpPr>
            <p:cNvPr id="7" name="object 10"/>
            <p:cNvSpPr/>
            <p:nvPr userDrawn="1"/>
          </p:nvSpPr>
          <p:spPr>
            <a:xfrm>
              <a:off x="10923015" y="5651661"/>
              <a:ext cx="1015404" cy="1015404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45719" rIns="45719"/>
            <a:lstStyle/>
            <a:p>
              <a:endParaRPr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9" name="object 11"/>
            <p:cNvSpPr/>
            <p:nvPr userDrawn="1"/>
          </p:nvSpPr>
          <p:spPr>
            <a:xfrm>
              <a:off x="11050739" y="6504864"/>
              <a:ext cx="759944" cy="1"/>
            </a:xfrm>
            <a:prstGeom prst="line">
              <a:avLst/>
            </a:prstGeom>
            <a:ln w="68922">
              <a:solidFill>
                <a:srgbClr val="2B9CDA"/>
              </a:solidFill>
            </a:ln>
          </p:spPr>
          <p:txBody>
            <a:bodyPr lIns="45719" rIns="45719"/>
            <a:lstStyle/>
            <a:p>
              <a:endParaRPr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1" name="object 12"/>
            <p:cNvSpPr/>
            <p:nvPr userDrawn="1"/>
          </p:nvSpPr>
          <p:spPr>
            <a:xfrm>
              <a:off x="11050739" y="5813859"/>
              <a:ext cx="759944" cy="1"/>
            </a:xfrm>
            <a:prstGeom prst="line">
              <a:avLst/>
            </a:prstGeom>
            <a:ln w="68922">
              <a:solidFill>
                <a:srgbClr val="2B9CDA"/>
              </a:solidFill>
            </a:ln>
          </p:spPr>
          <p:txBody>
            <a:bodyPr lIns="45719" rIns="45719"/>
            <a:lstStyle/>
            <a:p>
              <a:endParaRPr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2" name="object 13"/>
            <p:cNvGrpSpPr/>
            <p:nvPr userDrawn="1"/>
          </p:nvGrpSpPr>
          <p:grpSpPr>
            <a:xfrm>
              <a:off x="11299682" y="5972233"/>
              <a:ext cx="242811" cy="374257"/>
              <a:chOff x="0" y="0"/>
              <a:chExt cx="242810" cy="374256"/>
            </a:xfrm>
          </p:grpSpPr>
          <p:sp>
            <p:nvSpPr>
              <p:cNvPr id="19" name="Shape"/>
              <p:cNvSpPr/>
              <p:nvPr/>
            </p:nvSpPr>
            <p:spPr>
              <a:xfrm>
                <a:off x="0" y="250939"/>
                <a:ext cx="232898" cy="1233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1313" y="10161"/>
                    </a:lnTo>
                    <a:lnTo>
                      <a:pt x="4114" y="16744"/>
                    </a:lnTo>
                    <a:lnTo>
                      <a:pt x="7964" y="20699"/>
                    </a:lnTo>
                    <a:lnTo>
                      <a:pt x="11238" y="21600"/>
                    </a:lnTo>
                    <a:lnTo>
                      <a:pt x="12361" y="21500"/>
                    </a:lnTo>
                    <a:lnTo>
                      <a:pt x="16571" y="19119"/>
                    </a:lnTo>
                    <a:lnTo>
                      <a:pt x="19967" y="13722"/>
                    </a:lnTo>
                    <a:lnTo>
                      <a:pt x="21600" y="8540"/>
                    </a:lnTo>
                    <a:lnTo>
                      <a:pt x="10620" y="8540"/>
                    </a:lnTo>
                    <a:lnTo>
                      <a:pt x="10046" y="8317"/>
                    </a:lnTo>
                    <a:lnTo>
                      <a:pt x="7180" y="3306"/>
                    </a:lnTo>
                    <a:lnTo>
                      <a:pt x="6949" y="2300"/>
                    </a:lnTo>
                    <a:lnTo>
                      <a:pt x="6939" y="2233"/>
                    </a:lnTo>
                    <a:lnTo>
                      <a:pt x="6830" y="1203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0" name="Shape"/>
              <p:cNvSpPr/>
              <p:nvPr/>
            </p:nvSpPr>
            <p:spPr>
              <a:xfrm>
                <a:off x="27011" y="0"/>
                <a:ext cx="215800" cy="2996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5"/>
                    </a:lnTo>
                    <a:lnTo>
                      <a:pt x="9472" y="5375"/>
                    </a:lnTo>
                    <a:lnTo>
                      <a:pt x="3797" y="14601"/>
                    </a:lnTo>
                    <a:lnTo>
                      <a:pt x="10087" y="14601"/>
                    </a:lnTo>
                    <a:lnTo>
                      <a:pt x="10714" y="14694"/>
                    </a:lnTo>
                    <a:lnTo>
                      <a:pt x="14105" y="17169"/>
                    </a:lnTo>
                    <a:lnTo>
                      <a:pt x="14232" y="17621"/>
                    </a:lnTo>
                    <a:lnTo>
                      <a:pt x="14232" y="18581"/>
                    </a:lnTo>
                    <a:lnTo>
                      <a:pt x="11892" y="21142"/>
                    </a:lnTo>
                    <a:lnTo>
                      <a:pt x="10091" y="21600"/>
                    </a:lnTo>
                    <a:lnTo>
                      <a:pt x="20608" y="21600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0144" y="13947"/>
                    </a:lnTo>
                    <a:lnTo>
                      <a:pt x="17489" y="11484"/>
                    </a:lnTo>
                    <a:lnTo>
                      <a:pt x="14568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13" name="object 14"/>
            <p:cNvGrpSpPr/>
            <p:nvPr userDrawn="1"/>
          </p:nvGrpSpPr>
          <p:grpSpPr>
            <a:xfrm>
              <a:off x="11567132" y="5972233"/>
              <a:ext cx="242811" cy="374257"/>
              <a:chOff x="0" y="0"/>
              <a:chExt cx="242810" cy="374256"/>
            </a:xfrm>
          </p:grpSpPr>
          <p:sp>
            <p:nvSpPr>
              <p:cNvPr id="17" name="Shape"/>
              <p:cNvSpPr/>
              <p:nvPr/>
            </p:nvSpPr>
            <p:spPr>
              <a:xfrm>
                <a:off x="0" y="250939"/>
                <a:ext cx="232898" cy="1233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1313" y="10161"/>
                    </a:lnTo>
                    <a:lnTo>
                      <a:pt x="4114" y="16744"/>
                    </a:lnTo>
                    <a:lnTo>
                      <a:pt x="7964" y="20699"/>
                    </a:lnTo>
                    <a:lnTo>
                      <a:pt x="11238" y="21600"/>
                    </a:lnTo>
                    <a:lnTo>
                      <a:pt x="12361" y="21500"/>
                    </a:lnTo>
                    <a:lnTo>
                      <a:pt x="16571" y="19119"/>
                    </a:lnTo>
                    <a:lnTo>
                      <a:pt x="19967" y="13722"/>
                    </a:lnTo>
                    <a:lnTo>
                      <a:pt x="21600" y="8540"/>
                    </a:lnTo>
                    <a:lnTo>
                      <a:pt x="10620" y="8540"/>
                    </a:lnTo>
                    <a:lnTo>
                      <a:pt x="10046" y="8317"/>
                    </a:lnTo>
                    <a:lnTo>
                      <a:pt x="6949" y="2300"/>
                    </a:lnTo>
                    <a:lnTo>
                      <a:pt x="6830" y="1203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8" name="Shape"/>
              <p:cNvSpPr/>
              <p:nvPr/>
            </p:nvSpPr>
            <p:spPr>
              <a:xfrm>
                <a:off x="27011" y="0"/>
                <a:ext cx="215800" cy="2996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5"/>
                    </a:lnTo>
                    <a:lnTo>
                      <a:pt x="9472" y="5375"/>
                    </a:lnTo>
                    <a:lnTo>
                      <a:pt x="3797" y="14601"/>
                    </a:lnTo>
                    <a:lnTo>
                      <a:pt x="10086" y="14601"/>
                    </a:lnTo>
                    <a:lnTo>
                      <a:pt x="10714" y="14694"/>
                    </a:lnTo>
                    <a:lnTo>
                      <a:pt x="14105" y="17169"/>
                    </a:lnTo>
                    <a:lnTo>
                      <a:pt x="14232" y="17621"/>
                    </a:lnTo>
                    <a:lnTo>
                      <a:pt x="14232" y="18581"/>
                    </a:lnTo>
                    <a:lnTo>
                      <a:pt x="11892" y="21142"/>
                    </a:lnTo>
                    <a:lnTo>
                      <a:pt x="10091" y="21600"/>
                    </a:lnTo>
                    <a:lnTo>
                      <a:pt x="20608" y="21600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0144" y="13947"/>
                    </a:lnTo>
                    <a:lnTo>
                      <a:pt x="17489" y="11484"/>
                    </a:lnTo>
                    <a:lnTo>
                      <a:pt x="14567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14" name="object 15"/>
            <p:cNvGrpSpPr/>
            <p:nvPr userDrawn="1"/>
          </p:nvGrpSpPr>
          <p:grpSpPr>
            <a:xfrm>
              <a:off x="11051486" y="5974871"/>
              <a:ext cx="247944" cy="368986"/>
              <a:chOff x="0" y="0"/>
              <a:chExt cx="247942" cy="368985"/>
            </a:xfrm>
          </p:grpSpPr>
          <p:sp>
            <p:nvSpPr>
              <p:cNvPr id="15" name="Shape"/>
              <p:cNvSpPr/>
              <p:nvPr/>
            </p:nvSpPr>
            <p:spPr>
              <a:xfrm>
                <a:off x="0" y="0"/>
                <a:ext cx="240802" cy="36898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2294" y="0"/>
                    </a:moveTo>
                    <a:lnTo>
                      <a:pt x="0" y="0"/>
                    </a:lnTo>
                    <a:lnTo>
                      <a:pt x="0" y="21600"/>
                    </a:lnTo>
                    <a:lnTo>
                      <a:pt x="6603" y="21600"/>
                    </a:lnTo>
                    <a:lnTo>
                      <a:pt x="6603" y="12982"/>
                    </a:lnTo>
                    <a:lnTo>
                      <a:pt x="12294" y="12982"/>
                    </a:lnTo>
                    <a:lnTo>
                      <a:pt x="16153" y="12479"/>
                    </a:lnTo>
                    <a:lnTo>
                      <a:pt x="19304" y="11094"/>
                    </a:lnTo>
                    <a:lnTo>
                      <a:pt x="21448" y="9023"/>
                    </a:lnTo>
                    <a:lnTo>
                      <a:pt x="21600" y="8758"/>
                    </a:lnTo>
                    <a:lnTo>
                      <a:pt x="6603" y="8758"/>
                    </a:lnTo>
                    <a:lnTo>
                      <a:pt x="6603" y="4225"/>
                    </a:lnTo>
                    <a:lnTo>
                      <a:pt x="21594" y="4225"/>
                    </a:lnTo>
                    <a:lnTo>
                      <a:pt x="21448" y="3973"/>
                    </a:lnTo>
                    <a:lnTo>
                      <a:pt x="19304" y="1917"/>
                    </a:lnTo>
                    <a:lnTo>
                      <a:pt x="16153" y="517"/>
                    </a:lnTo>
                    <a:lnTo>
                      <a:pt x="13307" y="32"/>
                    </a:lnTo>
                    <a:lnTo>
                      <a:pt x="12294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" name="Shape"/>
              <p:cNvSpPr/>
              <p:nvPr/>
            </p:nvSpPr>
            <p:spPr>
              <a:xfrm>
                <a:off x="127977" y="72174"/>
                <a:ext cx="119966" cy="7743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302" y="0"/>
                    </a:moveTo>
                    <a:lnTo>
                      <a:pt x="0" y="0"/>
                    </a:lnTo>
                    <a:lnTo>
                      <a:pt x="1372" y="196"/>
                    </a:lnTo>
                    <a:lnTo>
                      <a:pt x="2646" y="783"/>
                    </a:lnTo>
                    <a:lnTo>
                      <a:pt x="6970" y="10798"/>
                    </a:lnTo>
                    <a:lnTo>
                      <a:pt x="6841" y="12978"/>
                    </a:lnTo>
                    <a:lnTo>
                      <a:pt x="1372" y="21404"/>
                    </a:lnTo>
                    <a:lnTo>
                      <a:pt x="0" y="21600"/>
                    </a:lnTo>
                    <a:lnTo>
                      <a:pt x="20314" y="21600"/>
                    </a:lnTo>
                    <a:lnTo>
                      <a:pt x="20705" y="19986"/>
                    </a:lnTo>
                    <a:lnTo>
                      <a:pt x="21202" y="17015"/>
                    </a:lnTo>
                    <a:lnTo>
                      <a:pt x="21500" y="13952"/>
                    </a:lnTo>
                    <a:lnTo>
                      <a:pt x="21600" y="10798"/>
                    </a:lnTo>
                    <a:lnTo>
                      <a:pt x="21500" y="7649"/>
                    </a:lnTo>
                    <a:lnTo>
                      <a:pt x="21202" y="4599"/>
                    </a:lnTo>
                    <a:lnTo>
                      <a:pt x="20705" y="1649"/>
                    </a:lnTo>
                    <a:lnTo>
                      <a:pt x="20302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06140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92110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400" cap="all" baseline="0" dirty="0">
                <a:solidFill>
                  <a:schemeClr val="tx2"/>
                </a:solidFill>
                <a:latin typeface="+mj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/>
          <p:cNvGrpSpPr/>
          <p:nvPr userDrawn="1"/>
        </p:nvGrpSpPr>
        <p:grpSpPr>
          <a:xfrm>
            <a:off x="11055648" y="6126649"/>
            <a:ext cx="507702" cy="507702"/>
            <a:chOff x="10923015" y="5651661"/>
            <a:chExt cx="1015404" cy="1015404"/>
          </a:xfrm>
        </p:grpSpPr>
        <p:sp>
          <p:nvSpPr>
            <p:cNvPr id="8" name="object 10"/>
            <p:cNvSpPr/>
            <p:nvPr userDrawn="1"/>
          </p:nvSpPr>
          <p:spPr>
            <a:xfrm>
              <a:off x="10923015" y="5651661"/>
              <a:ext cx="1015404" cy="1015404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45719" rIns="45719"/>
            <a:lstStyle/>
            <a:p>
              <a:endParaRPr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0" name="object 11"/>
            <p:cNvSpPr/>
            <p:nvPr userDrawn="1"/>
          </p:nvSpPr>
          <p:spPr>
            <a:xfrm>
              <a:off x="11050739" y="6504864"/>
              <a:ext cx="759944" cy="1"/>
            </a:xfrm>
            <a:prstGeom prst="line">
              <a:avLst/>
            </a:prstGeom>
            <a:ln w="68922">
              <a:solidFill>
                <a:srgbClr val="2B9CDA"/>
              </a:solidFill>
            </a:ln>
          </p:spPr>
          <p:txBody>
            <a:bodyPr lIns="45719" rIns="45719"/>
            <a:lstStyle/>
            <a:p>
              <a:endParaRPr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1" name="object 12"/>
            <p:cNvSpPr/>
            <p:nvPr userDrawn="1"/>
          </p:nvSpPr>
          <p:spPr>
            <a:xfrm>
              <a:off x="11050739" y="5813859"/>
              <a:ext cx="759944" cy="1"/>
            </a:xfrm>
            <a:prstGeom prst="line">
              <a:avLst/>
            </a:prstGeom>
            <a:ln w="68922">
              <a:solidFill>
                <a:srgbClr val="2B9CDA"/>
              </a:solidFill>
            </a:ln>
          </p:spPr>
          <p:txBody>
            <a:bodyPr lIns="45719" rIns="45719"/>
            <a:lstStyle/>
            <a:p>
              <a:endParaRPr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2" name="object 13"/>
            <p:cNvGrpSpPr/>
            <p:nvPr userDrawn="1"/>
          </p:nvGrpSpPr>
          <p:grpSpPr>
            <a:xfrm>
              <a:off x="11299682" y="5972233"/>
              <a:ext cx="242811" cy="374257"/>
              <a:chOff x="0" y="0"/>
              <a:chExt cx="242810" cy="374256"/>
            </a:xfrm>
          </p:grpSpPr>
          <p:sp>
            <p:nvSpPr>
              <p:cNvPr id="19" name="Shape"/>
              <p:cNvSpPr/>
              <p:nvPr/>
            </p:nvSpPr>
            <p:spPr>
              <a:xfrm>
                <a:off x="0" y="250939"/>
                <a:ext cx="232898" cy="1233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1313" y="10161"/>
                    </a:lnTo>
                    <a:lnTo>
                      <a:pt x="4114" y="16744"/>
                    </a:lnTo>
                    <a:lnTo>
                      <a:pt x="7964" y="20699"/>
                    </a:lnTo>
                    <a:lnTo>
                      <a:pt x="11238" y="21600"/>
                    </a:lnTo>
                    <a:lnTo>
                      <a:pt x="12361" y="21500"/>
                    </a:lnTo>
                    <a:lnTo>
                      <a:pt x="16571" y="19119"/>
                    </a:lnTo>
                    <a:lnTo>
                      <a:pt x="19967" y="13722"/>
                    </a:lnTo>
                    <a:lnTo>
                      <a:pt x="21600" y="8540"/>
                    </a:lnTo>
                    <a:lnTo>
                      <a:pt x="10620" y="8540"/>
                    </a:lnTo>
                    <a:lnTo>
                      <a:pt x="10046" y="8317"/>
                    </a:lnTo>
                    <a:lnTo>
                      <a:pt x="7180" y="3306"/>
                    </a:lnTo>
                    <a:lnTo>
                      <a:pt x="6949" y="2300"/>
                    </a:lnTo>
                    <a:lnTo>
                      <a:pt x="6939" y="2233"/>
                    </a:lnTo>
                    <a:lnTo>
                      <a:pt x="6830" y="1203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0" name="Shape"/>
              <p:cNvSpPr/>
              <p:nvPr/>
            </p:nvSpPr>
            <p:spPr>
              <a:xfrm>
                <a:off x="27011" y="0"/>
                <a:ext cx="215800" cy="2996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5"/>
                    </a:lnTo>
                    <a:lnTo>
                      <a:pt x="9472" y="5375"/>
                    </a:lnTo>
                    <a:lnTo>
                      <a:pt x="3797" y="14601"/>
                    </a:lnTo>
                    <a:lnTo>
                      <a:pt x="10087" y="14601"/>
                    </a:lnTo>
                    <a:lnTo>
                      <a:pt x="10714" y="14694"/>
                    </a:lnTo>
                    <a:lnTo>
                      <a:pt x="14105" y="17169"/>
                    </a:lnTo>
                    <a:lnTo>
                      <a:pt x="14232" y="17621"/>
                    </a:lnTo>
                    <a:lnTo>
                      <a:pt x="14232" y="18581"/>
                    </a:lnTo>
                    <a:lnTo>
                      <a:pt x="11892" y="21142"/>
                    </a:lnTo>
                    <a:lnTo>
                      <a:pt x="10091" y="21600"/>
                    </a:lnTo>
                    <a:lnTo>
                      <a:pt x="20608" y="21600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0144" y="13947"/>
                    </a:lnTo>
                    <a:lnTo>
                      <a:pt x="17489" y="11484"/>
                    </a:lnTo>
                    <a:lnTo>
                      <a:pt x="14568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13" name="object 14"/>
            <p:cNvGrpSpPr/>
            <p:nvPr userDrawn="1"/>
          </p:nvGrpSpPr>
          <p:grpSpPr>
            <a:xfrm>
              <a:off x="11567132" y="5972233"/>
              <a:ext cx="242811" cy="374257"/>
              <a:chOff x="0" y="0"/>
              <a:chExt cx="242810" cy="374256"/>
            </a:xfrm>
          </p:grpSpPr>
          <p:sp>
            <p:nvSpPr>
              <p:cNvPr id="17" name="Shape"/>
              <p:cNvSpPr/>
              <p:nvPr/>
            </p:nvSpPr>
            <p:spPr>
              <a:xfrm>
                <a:off x="0" y="250939"/>
                <a:ext cx="232898" cy="1233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1313" y="10161"/>
                    </a:lnTo>
                    <a:lnTo>
                      <a:pt x="4114" y="16744"/>
                    </a:lnTo>
                    <a:lnTo>
                      <a:pt x="7964" y="20699"/>
                    </a:lnTo>
                    <a:lnTo>
                      <a:pt x="11238" y="21600"/>
                    </a:lnTo>
                    <a:lnTo>
                      <a:pt x="12361" y="21500"/>
                    </a:lnTo>
                    <a:lnTo>
                      <a:pt x="16571" y="19119"/>
                    </a:lnTo>
                    <a:lnTo>
                      <a:pt x="19967" y="13722"/>
                    </a:lnTo>
                    <a:lnTo>
                      <a:pt x="21600" y="8540"/>
                    </a:lnTo>
                    <a:lnTo>
                      <a:pt x="10620" y="8540"/>
                    </a:lnTo>
                    <a:lnTo>
                      <a:pt x="10046" y="8317"/>
                    </a:lnTo>
                    <a:lnTo>
                      <a:pt x="6949" y="2300"/>
                    </a:lnTo>
                    <a:lnTo>
                      <a:pt x="6830" y="1203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8" name="Shape"/>
              <p:cNvSpPr/>
              <p:nvPr/>
            </p:nvSpPr>
            <p:spPr>
              <a:xfrm>
                <a:off x="27011" y="0"/>
                <a:ext cx="215800" cy="2996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5"/>
                    </a:lnTo>
                    <a:lnTo>
                      <a:pt x="9472" y="5375"/>
                    </a:lnTo>
                    <a:lnTo>
                      <a:pt x="3797" y="14601"/>
                    </a:lnTo>
                    <a:lnTo>
                      <a:pt x="10086" y="14601"/>
                    </a:lnTo>
                    <a:lnTo>
                      <a:pt x="10714" y="14694"/>
                    </a:lnTo>
                    <a:lnTo>
                      <a:pt x="14105" y="17169"/>
                    </a:lnTo>
                    <a:lnTo>
                      <a:pt x="14232" y="17621"/>
                    </a:lnTo>
                    <a:lnTo>
                      <a:pt x="14232" y="18581"/>
                    </a:lnTo>
                    <a:lnTo>
                      <a:pt x="11892" y="21142"/>
                    </a:lnTo>
                    <a:lnTo>
                      <a:pt x="10091" y="21600"/>
                    </a:lnTo>
                    <a:lnTo>
                      <a:pt x="20608" y="21600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0144" y="13947"/>
                    </a:lnTo>
                    <a:lnTo>
                      <a:pt x="17489" y="11484"/>
                    </a:lnTo>
                    <a:lnTo>
                      <a:pt x="14567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14" name="object 15"/>
            <p:cNvGrpSpPr/>
            <p:nvPr userDrawn="1"/>
          </p:nvGrpSpPr>
          <p:grpSpPr>
            <a:xfrm>
              <a:off x="11051486" y="5974871"/>
              <a:ext cx="247944" cy="368986"/>
              <a:chOff x="0" y="0"/>
              <a:chExt cx="247942" cy="368985"/>
            </a:xfrm>
          </p:grpSpPr>
          <p:sp>
            <p:nvSpPr>
              <p:cNvPr id="15" name="Shape"/>
              <p:cNvSpPr/>
              <p:nvPr/>
            </p:nvSpPr>
            <p:spPr>
              <a:xfrm>
                <a:off x="0" y="0"/>
                <a:ext cx="240802" cy="36898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2294" y="0"/>
                    </a:moveTo>
                    <a:lnTo>
                      <a:pt x="0" y="0"/>
                    </a:lnTo>
                    <a:lnTo>
                      <a:pt x="0" y="21600"/>
                    </a:lnTo>
                    <a:lnTo>
                      <a:pt x="6603" y="21600"/>
                    </a:lnTo>
                    <a:lnTo>
                      <a:pt x="6603" y="12982"/>
                    </a:lnTo>
                    <a:lnTo>
                      <a:pt x="12294" y="12982"/>
                    </a:lnTo>
                    <a:lnTo>
                      <a:pt x="16153" y="12479"/>
                    </a:lnTo>
                    <a:lnTo>
                      <a:pt x="19304" y="11094"/>
                    </a:lnTo>
                    <a:lnTo>
                      <a:pt x="21448" y="9023"/>
                    </a:lnTo>
                    <a:lnTo>
                      <a:pt x="21600" y="8758"/>
                    </a:lnTo>
                    <a:lnTo>
                      <a:pt x="6603" y="8758"/>
                    </a:lnTo>
                    <a:lnTo>
                      <a:pt x="6603" y="4225"/>
                    </a:lnTo>
                    <a:lnTo>
                      <a:pt x="21594" y="4225"/>
                    </a:lnTo>
                    <a:lnTo>
                      <a:pt x="21448" y="3973"/>
                    </a:lnTo>
                    <a:lnTo>
                      <a:pt x="19304" y="1917"/>
                    </a:lnTo>
                    <a:lnTo>
                      <a:pt x="16153" y="517"/>
                    </a:lnTo>
                    <a:lnTo>
                      <a:pt x="13307" y="32"/>
                    </a:lnTo>
                    <a:lnTo>
                      <a:pt x="12294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" name="Shape"/>
              <p:cNvSpPr/>
              <p:nvPr/>
            </p:nvSpPr>
            <p:spPr>
              <a:xfrm>
                <a:off x="127977" y="72174"/>
                <a:ext cx="119966" cy="7743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302" y="0"/>
                    </a:moveTo>
                    <a:lnTo>
                      <a:pt x="0" y="0"/>
                    </a:lnTo>
                    <a:lnTo>
                      <a:pt x="1372" y="196"/>
                    </a:lnTo>
                    <a:lnTo>
                      <a:pt x="2646" y="783"/>
                    </a:lnTo>
                    <a:lnTo>
                      <a:pt x="6970" y="10798"/>
                    </a:lnTo>
                    <a:lnTo>
                      <a:pt x="6841" y="12978"/>
                    </a:lnTo>
                    <a:lnTo>
                      <a:pt x="1372" y="21404"/>
                    </a:lnTo>
                    <a:lnTo>
                      <a:pt x="0" y="21600"/>
                    </a:lnTo>
                    <a:lnTo>
                      <a:pt x="20314" y="21600"/>
                    </a:lnTo>
                    <a:lnTo>
                      <a:pt x="20705" y="19986"/>
                    </a:lnTo>
                    <a:lnTo>
                      <a:pt x="21202" y="17015"/>
                    </a:lnTo>
                    <a:lnTo>
                      <a:pt x="21500" y="13952"/>
                    </a:lnTo>
                    <a:lnTo>
                      <a:pt x="21600" y="10798"/>
                    </a:lnTo>
                    <a:lnTo>
                      <a:pt x="21500" y="7649"/>
                    </a:lnTo>
                    <a:lnTo>
                      <a:pt x="21202" y="4599"/>
                    </a:lnTo>
                    <a:lnTo>
                      <a:pt x="20705" y="1649"/>
                    </a:lnTo>
                    <a:lnTo>
                      <a:pt x="20302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04339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30362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2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520 P33 Overview - CBIA v2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29999" y="3262145"/>
            <a:ext cx="1494891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cap="all" baseline="0" dirty="0">
                <a:solidFill>
                  <a:schemeClr val="bg1"/>
                </a:solidFill>
                <a:latin typeface="+mj-lt"/>
                <a:ea typeface="+mn-ea"/>
                <a:cs typeface="+mn-cs"/>
                <a:sym typeface="+mn-lt"/>
              </a:rPr>
              <a:t>AGENDA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11055648" y="6126649"/>
            <a:ext cx="507702" cy="507702"/>
            <a:chOff x="10923015" y="5651661"/>
            <a:chExt cx="1015404" cy="1015404"/>
          </a:xfrm>
        </p:grpSpPr>
        <p:sp>
          <p:nvSpPr>
            <p:cNvPr id="12" name="object 10"/>
            <p:cNvSpPr/>
            <p:nvPr userDrawn="1"/>
          </p:nvSpPr>
          <p:spPr>
            <a:xfrm>
              <a:off x="10923015" y="5651661"/>
              <a:ext cx="1015404" cy="1015404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45719" rIns="45719"/>
            <a:lstStyle/>
            <a:p>
              <a:endParaRPr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3" name="object 11"/>
            <p:cNvSpPr/>
            <p:nvPr userDrawn="1"/>
          </p:nvSpPr>
          <p:spPr>
            <a:xfrm>
              <a:off x="11050739" y="6504864"/>
              <a:ext cx="759944" cy="1"/>
            </a:xfrm>
            <a:prstGeom prst="line">
              <a:avLst/>
            </a:prstGeom>
            <a:ln w="68922">
              <a:solidFill>
                <a:srgbClr val="2B9CDA"/>
              </a:solidFill>
            </a:ln>
          </p:spPr>
          <p:txBody>
            <a:bodyPr lIns="45719" rIns="45719"/>
            <a:lstStyle/>
            <a:p>
              <a:endParaRPr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" name="object 12"/>
            <p:cNvSpPr/>
            <p:nvPr userDrawn="1"/>
          </p:nvSpPr>
          <p:spPr>
            <a:xfrm>
              <a:off x="11050739" y="5813859"/>
              <a:ext cx="759944" cy="1"/>
            </a:xfrm>
            <a:prstGeom prst="line">
              <a:avLst/>
            </a:prstGeom>
            <a:ln w="68922">
              <a:solidFill>
                <a:srgbClr val="2B9CDA"/>
              </a:solidFill>
            </a:ln>
          </p:spPr>
          <p:txBody>
            <a:bodyPr lIns="45719" rIns="45719"/>
            <a:lstStyle/>
            <a:p>
              <a:endParaRPr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" name="object 13"/>
            <p:cNvGrpSpPr/>
            <p:nvPr userDrawn="1"/>
          </p:nvGrpSpPr>
          <p:grpSpPr>
            <a:xfrm>
              <a:off x="11299682" y="5972233"/>
              <a:ext cx="242811" cy="374257"/>
              <a:chOff x="0" y="0"/>
              <a:chExt cx="242810" cy="374256"/>
            </a:xfrm>
          </p:grpSpPr>
          <p:sp>
            <p:nvSpPr>
              <p:cNvPr id="22" name="Shape"/>
              <p:cNvSpPr/>
              <p:nvPr/>
            </p:nvSpPr>
            <p:spPr>
              <a:xfrm>
                <a:off x="0" y="250939"/>
                <a:ext cx="232898" cy="1233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1313" y="10161"/>
                    </a:lnTo>
                    <a:lnTo>
                      <a:pt x="4114" y="16744"/>
                    </a:lnTo>
                    <a:lnTo>
                      <a:pt x="7964" y="20699"/>
                    </a:lnTo>
                    <a:lnTo>
                      <a:pt x="11238" y="21600"/>
                    </a:lnTo>
                    <a:lnTo>
                      <a:pt x="12361" y="21500"/>
                    </a:lnTo>
                    <a:lnTo>
                      <a:pt x="16571" y="19119"/>
                    </a:lnTo>
                    <a:lnTo>
                      <a:pt x="19967" y="13722"/>
                    </a:lnTo>
                    <a:lnTo>
                      <a:pt x="21600" y="8540"/>
                    </a:lnTo>
                    <a:lnTo>
                      <a:pt x="10620" y="8540"/>
                    </a:lnTo>
                    <a:lnTo>
                      <a:pt x="10046" y="8317"/>
                    </a:lnTo>
                    <a:lnTo>
                      <a:pt x="7180" y="3306"/>
                    </a:lnTo>
                    <a:lnTo>
                      <a:pt x="6949" y="2300"/>
                    </a:lnTo>
                    <a:lnTo>
                      <a:pt x="6939" y="2233"/>
                    </a:lnTo>
                    <a:lnTo>
                      <a:pt x="6830" y="1203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4" name="Shape"/>
              <p:cNvSpPr/>
              <p:nvPr/>
            </p:nvSpPr>
            <p:spPr>
              <a:xfrm>
                <a:off x="27011" y="0"/>
                <a:ext cx="215800" cy="2996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5"/>
                    </a:lnTo>
                    <a:lnTo>
                      <a:pt x="9472" y="5375"/>
                    </a:lnTo>
                    <a:lnTo>
                      <a:pt x="3797" y="14601"/>
                    </a:lnTo>
                    <a:lnTo>
                      <a:pt x="10087" y="14601"/>
                    </a:lnTo>
                    <a:lnTo>
                      <a:pt x="10714" y="14694"/>
                    </a:lnTo>
                    <a:lnTo>
                      <a:pt x="14105" y="17169"/>
                    </a:lnTo>
                    <a:lnTo>
                      <a:pt x="14232" y="17621"/>
                    </a:lnTo>
                    <a:lnTo>
                      <a:pt x="14232" y="18581"/>
                    </a:lnTo>
                    <a:lnTo>
                      <a:pt x="11892" y="21142"/>
                    </a:lnTo>
                    <a:lnTo>
                      <a:pt x="10091" y="21600"/>
                    </a:lnTo>
                    <a:lnTo>
                      <a:pt x="20608" y="21600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0144" y="13947"/>
                    </a:lnTo>
                    <a:lnTo>
                      <a:pt x="17489" y="11484"/>
                    </a:lnTo>
                    <a:lnTo>
                      <a:pt x="14568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16" name="object 14"/>
            <p:cNvGrpSpPr/>
            <p:nvPr userDrawn="1"/>
          </p:nvGrpSpPr>
          <p:grpSpPr>
            <a:xfrm>
              <a:off x="11567132" y="5972233"/>
              <a:ext cx="242811" cy="374257"/>
              <a:chOff x="0" y="0"/>
              <a:chExt cx="242810" cy="374256"/>
            </a:xfrm>
          </p:grpSpPr>
          <p:sp>
            <p:nvSpPr>
              <p:cNvPr id="20" name="Shape"/>
              <p:cNvSpPr/>
              <p:nvPr/>
            </p:nvSpPr>
            <p:spPr>
              <a:xfrm>
                <a:off x="0" y="250939"/>
                <a:ext cx="232898" cy="1233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1313" y="10161"/>
                    </a:lnTo>
                    <a:lnTo>
                      <a:pt x="4114" y="16744"/>
                    </a:lnTo>
                    <a:lnTo>
                      <a:pt x="7964" y="20699"/>
                    </a:lnTo>
                    <a:lnTo>
                      <a:pt x="11238" y="21600"/>
                    </a:lnTo>
                    <a:lnTo>
                      <a:pt x="12361" y="21500"/>
                    </a:lnTo>
                    <a:lnTo>
                      <a:pt x="16571" y="19119"/>
                    </a:lnTo>
                    <a:lnTo>
                      <a:pt x="19967" y="13722"/>
                    </a:lnTo>
                    <a:lnTo>
                      <a:pt x="21600" y="8540"/>
                    </a:lnTo>
                    <a:lnTo>
                      <a:pt x="10620" y="8540"/>
                    </a:lnTo>
                    <a:lnTo>
                      <a:pt x="10046" y="8317"/>
                    </a:lnTo>
                    <a:lnTo>
                      <a:pt x="6949" y="2300"/>
                    </a:lnTo>
                    <a:lnTo>
                      <a:pt x="6830" y="1203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1" name="Shape"/>
              <p:cNvSpPr/>
              <p:nvPr/>
            </p:nvSpPr>
            <p:spPr>
              <a:xfrm>
                <a:off x="27011" y="0"/>
                <a:ext cx="215800" cy="2996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5"/>
                    </a:lnTo>
                    <a:lnTo>
                      <a:pt x="9472" y="5375"/>
                    </a:lnTo>
                    <a:lnTo>
                      <a:pt x="3797" y="14601"/>
                    </a:lnTo>
                    <a:lnTo>
                      <a:pt x="10086" y="14601"/>
                    </a:lnTo>
                    <a:lnTo>
                      <a:pt x="10714" y="14694"/>
                    </a:lnTo>
                    <a:lnTo>
                      <a:pt x="14105" y="17169"/>
                    </a:lnTo>
                    <a:lnTo>
                      <a:pt x="14232" y="17621"/>
                    </a:lnTo>
                    <a:lnTo>
                      <a:pt x="14232" y="18581"/>
                    </a:lnTo>
                    <a:lnTo>
                      <a:pt x="11892" y="21142"/>
                    </a:lnTo>
                    <a:lnTo>
                      <a:pt x="10091" y="21600"/>
                    </a:lnTo>
                    <a:lnTo>
                      <a:pt x="20608" y="21600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0144" y="13947"/>
                    </a:lnTo>
                    <a:lnTo>
                      <a:pt x="17489" y="11484"/>
                    </a:lnTo>
                    <a:lnTo>
                      <a:pt x="14567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17" name="object 15"/>
            <p:cNvGrpSpPr/>
            <p:nvPr userDrawn="1"/>
          </p:nvGrpSpPr>
          <p:grpSpPr>
            <a:xfrm>
              <a:off x="11051486" y="5974871"/>
              <a:ext cx="247944" cy="368986"/>
              <a:chOff x="0" y="0"/>
              <a:chExt cx="247942" cy="368985"/>
            </a:xfrm>
          </p:grpSpPr>
          <p:sp>
            <p:nvSpPr>
              <p:cNvPr id="18" name="Shape"/>
              <p:cNvSpPr/>
              <p:nvPr/>
            </p:nvSpPr>
            <p:spPr>
              <a:xfrm>
                <a:off x="0" y="0"/>
                <a:ext cx="240802" cy="36898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2294" y="0"/>
                    </a:moveTo>
                    <a:lnTo>
                      <a:pt x="0" y="0"/>
                    </a:lnTo>
                    <a:lnTo>
                      <a:pt x="0" y="21600"/>
                    </a:lnTo>
                    <a:lnTo>
                      <a:pt x="6603" y="21600"/>
                    </a:lnTo>
                    <a:lnTo>
                      <a:pt x="6603" y="12982"/>
                    </a:lnTo>
                    <a:lnTo>
                      <a:pt x="12294" y="12982"/>
                    </a:lnTo>
                    <a:lnTo>
                      <a:pt x="16153" y="12479"/>
                    </a:lnTo>
                    <a:lnTo>
                      <a:pt x="19304" y="11094"/>
                    </a:lnTo>
                    <a:lnTo>
                      <a:pt x="21448" y="9023"/>
                    </a:lnTo>
                    <a:lnTo>
                      <a:pt x="21600" y="8758"/>
                    </a:lnTo>
                    <a:lnTo>
                      <a:pt x="6603" y="8758"/>
                    </a:lnTo>
                    <a:lnTo>
                      <a:pt x="6603" y="4225"/>
                    </a:lnTo>
                    <a:lnTo>
                      <a:pt x="21594" y="4225"/>
                    </a:lnTo>
                    <a:lnTo>
                      <a:pt x="21448" y="3973"/>
                    </a:lnTo>
                    <a:lnTo>
                      <a:pt x="19304" y="1917"/>
                    </a:lnTo>
                    <a:lnTo>
                      <a:pt x="16153" y="517"/>
                    </a:lnTo>
                    <a:lnTo>
                      <a:pt x="13307" y="32"/>
                    </a:lnTo>
                    <a:lnTo>
                      <a:pt x="12294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9" name="Shape"/>
              <p:cNvSpPr/>
              <p:nvPr/>
            </p:nvSpPr>
            <p:spPr>
              <a:xfrm>
                <a:off x="127977" y="72174"/>
                <a:ext cx="119966" cy="7743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302" y="0"/>
                    </a:moveTo>
                    <a:lnTo>
                      <a:pt x="0" y="0"/>
                    </a:lnTo>
                    <a:lnTo>
                      <a:pt x="1372" y="196"/>
                    </a:lnTo>
                    <a:lnTo>
                      <a:pt x="2646" y="783"/>
                    </a:lnTo>
                    <a:lnTo>
                      <a:pt x="6970" y="10798"/>
                    </a:lnTo>
                    <a:lnTo>
                      <a:pt x="6841" y="12978"/>
                    </a:lnTo>
                    <a:lnTo>
                      <a:pt x="1372" y="21404"/>
                    </a:lnTo>
                    <a:lnTo>
                      <a:pt x="0" y="21600"/>
                    </a:lnTo>
                    <a:lnTo>
                      <a:pt x="20314" y="21600"/>
                    </a:lnTo>
                    <a:lnTo>
                      <a:pt x="20705" y="19986"/>
                    </a:lnTo>
                    <a:lnTo>
                      <a:pt x="21202" y="17015"/>
                    </a:lnTo>
                    <a:lnTo>
                      <a:pt x="21500" y="13952"/>
                    </a:lnTo>
                    <a:lnTo>
                      <a:pt x="21600" y="10798"/>
                    </a:lnTo>
                    <a:lnTo>
                      <a:pt x="21500" y="7649"/>
                    </a:lnTo>
                    <a:lnTo>
                      <a:pt x="21202" y="4599"/>
                    </a:lnTo>
                    <a:lnTo>
                      <a:pt x="20705" y="1649"/>
                    </a:lnTo>
                    <a:lnTo>
                      <a:pt x="20302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84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28270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2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3011834"/>
            <a:ext cx="3458312" cy="89396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2800" cap="all" baseline="0" dirty="0">
                <a:solidFill>
                  <a:schemeClr val="tx1"/>
                </a:solidFill>
                <a:latin typeface="+mj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9"/>
          <p:cNvGrpSpPr/>
          <p:nvPr userDrawn="1"/>
        </p:nvGrpSpPr>
        <p:grpSpPr>
          <a:xfrm>
            <a:off x="11055648" y="6126649"/>
            <a:ext cx="507702" cy="507702"/>
            <a:chOff x="10923015" y="5651661"/>
            <a:chExt cx="1015404" cy="1015404"/>
          </a:xfrm>
        </p:grpSpPr>
        <p:sp>
          <p:nvSpPr>
            <p:cNvPr id="11" name="object 10"/>
            <p:cNvSpPr/>
            <p:nvPr userDrawn="1"/>
          </p:nvSpPr>
          <p:spPr>
            <a:xfrm>
              <a:off x="10923015" y="5651661"/>
              <a:ext cx="1015404" cy="1015404"/>
            </a:xfrm>
            <a:prstGeom prst="rect">
              <a:avLst/>
            </a:prstGeom>
            <a:solidFill>
              <a:srgbClr val="FFFFFF"/>
            </a:solidFill>
            <a:ln w="12700">
              <a:miter lim="400000"/>
            </a:ln>
          </p:spPr>
          <p:txBody>
            <a:bodyPr lIns="45719" rIns="45719"/>
            <a:lstStyle/>
            <a:p>
              <a:endParaRPr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2" name="object 11"/>
            <p:cNvSpPr/>
            <p:nvPr userDrawn="1"/>
          </p:nvSpPr>
          <p:spPr>
            <a:xfrm>
              <a:off x="11050739" y="6504864"/>
              <a:ext cx="759944" cy="1"/>
            </a:xfrm>
            <a:prstGeom prst="line">
              <a:avLst/>
            </a:prstGeom>
            <a:ln w="68922">
              <a:solidFill>
                <a:srgbClr val="2B9CDA"/>
              </a:solidFill>
            </a:ln>
          </p:spPr>
          <p:txBody>
            <a:bodyPr lIns="45719" rIns="45719"/>
            <a:lstStyle/>
            <a:p>
              <a:endParaRPr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" name="object 12"/>
            <p:cNvSpPr/>
            <p:nvPr userDrawn="1"/>
          </p:nvSpPr>
          <p:spPr>
            <a:xfrm>
              <a:off x="11050739" y="5813859"/>
              <a:ext cx="759944" cy="1"/>
            </a:xfrm>
            <a:prstGeom prst="line">
              <a:avLst/>
            </a:prstGeom>
            <a:ln w="68922">
              <a:solidFill>
                <a:srgbClr val="2B9CDA"/>
              </a:solidFill>
            </a:ln>
          </p:spPr>
          <p:txBody>
            <a:bodyPr lIns="45719" rIns="45719"/>
            <a:lstStyle/>
            <a:p>
              <a:endParaRPr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" name="object 13"/>
            <p:cNvGrpSpPr/>
            <p:nvPr userDrawn="1"/>
          </p:nvGrpSpPr>
          <p:grpSpPr>
            <a:xfrm>
              <a:off x="11299682" y="5972233"/>
              <a:ext cx="242811" cy="374257"/>
              <a:chOff x="0" y="0"/>
              <a:chExt cx="242810" cy="374256"/>
            </a:xfrm>
          </p:grpSpPr>
          <p:sp>
            <p:nvSpPr>
              <p:cNvPr id="26" name="Shape"/>
              <p:cNvSpPr/>
              <p:nvPr/>
            </p:nvSpPr>
            <p:spPr>
              <a:xfrm>
                <a:off x="0" y="250939"/>
                <a:ext cx="232898" cy="1233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1313" y="10161"/>
                    </a:lnTo>
                    <a:lnTo>
                      <a:pt x="4114" y="16744"/>
                    </a:lnTo>
                    <a:lnTo>
                      <a:pt x="7964" y="20699"/>
                    </a:lnTo>
                    <a:lnTo>
                      <a:pt x="11238" y="21600"/>
                    </a:lnTo>
                    <a:lnTo>
                      <a:pt x="12361" y="21500"/>
                    </a:lnTo>
                    <a:lnTo>
                      <a:pt x="16571" y="19119"/>
                    </a:lnTo>
                    <a:lnTo>
                      <a:pt x="19967" y="13722"/>
                    </a:lnTo>
                    <a:lnTo>
                      <a:pt x="21600" y="8540"/>
                    </a:lnTo>
                    <a:lnTo>
                      <a:pt x="10620" y="8540"/>
                    </a:lnTo>
                    <a:lnTo>
                      <a:pt x="10046" y="8317"/>
                    </a:lnTo>
                    <a:lnTo>
                      <a:pt x="7180" y="3306"/>
                    </a:lnTo>
                    <a:lnTo>
                      <a:pt x="6949" y="2300"/>
                    </a:lnTo>
                    <a:lnTo>
                      <a:pt x="6939" y="2233"/>
                    </a:lnTo>
                    <a:lnTo>
                      <a:pt x="6830" y="1203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7" name="Shape"/>
              <p:cNvSpPr/>
              <p:nvPr/>
            </p:nvSpPr>
            <p:spPr>
              <a:xfrm>
                <a:off x="27011" y="0"/>
                <a:ext cx="215800" cy="2996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5"/>
                    </a:lnTo>
                    <a:lnTo>
                      <a:pt x="9472" y="5375"/>
                    </a:lnTo>
                    <a:lnTo>
                      <a:pt x="3797" y="14601"/>
                    </a:lnTo>
                    <a:lnTo>
                      <a:pt x="10087" y="14601"/>
                    </a:lnTo>
                    <a:lnTo>
                      <a:pt x="10714" y="14694"/>
                    </a:lnTo>
                    <a:lnTo>
                      <a:pt x="14105" y="17169"/>
                    </a:lnTo>
                    <a:lnTo>
                      <a:pt x="14232" y="17621"/>
                    </a:lnTo>
                    <a:lnTo>
                      <a:pt x="14232" y="18581"/>
                    </a:lnTo>
                    <a:lnTo>
                      <a:pt x="11892" y="21142"/>
                    </a:lnTo>
                    <a:lnTo>
                      <a:pt x="10091" y="21600"/>
                    </a:lnTo>
                    <a:lnTo>
                      <a:pt x="20608" y="21600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0144" y="13947"/>
                    </a:lnTo>
                    <a:lnTo>
                      <a:pt x="17489" y="11484"/>
                    </a:lnTo>
                    <a:lnTo>
                      <a:pt x="14568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16" name="object 14"/>
            <p:cNvGrpSpPr/>
            <p:nvPr userDrawn="1"/>
          </p:nvGrpSpPr>
          <p:grpSpPr>
            <a:xfrm>
              <a:off x="11567132" y="5972233"/>
              <a:ext cx="242811" cy="374257"/>
              <a:chOff x="0" y="0"/>
              <a:chExt cx="242810" cy="374256"/>
            </a:xfrm>
          </p:grpSpPr>
          <p:sp>
            <p:nvSpPr>
              <p:cNvPr id="23" name="Shape"/>
              <p:cNvSpPr/>
              <p:nvPr/>
            </p:nvSpPr>
            <p:spPr>
              <a:xfrm>
                <a:off x="0" y="250939"/>
                <a:ext cx="232898" cy="1233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827" y="0"/>
                    </a:moveTo>
                    <a:lnTo>
                      <a:pt x="0" y="0"/>
                    </a:lnTo>
                    <a:lnTo>
                      <a:pt x="53" y="2149"/>
                    </a:lnTo>
                    <a:lnTo>
                      <a:pt x="1313" y="10161"/>
                    </a:lnTo>
                    <a:lnTo>
                      <a:pt x="4114" y="16744"/>
                    </a:lnTo>
                    <a:lnTo>
                      <a:pt x="7964" y="20699"/>
                    </a:lnTo>
                    <a:lnTo>
                      <a:pt x="11238" y="21600"/>
                    </a:lnTo>
                    <a:lnTo>
                      <a:pt x="12361" y="21500"/>
                    </a:lnTo>
                    <a:lnTo>
                      <a:pt x="16571" y="19119"/>
                    </a:lnTo>
                    <a:lnTo>
                      <a:pt x="19967" y="13722"/>
                    </a:lnTo>
                    <a:lnTo>
                      <a:pt x="21600" y="8540"/>
                    </a:lnTo>
                    <a:lnTo>
                      <a:pt x="10620" y="8540"/>
                    </a:lnTo>
                    <a:lnTo>
                      <a:pt x="10046" y="8317"/>
                    </a:lnTo>
                    <a:lnTo>
                      <a:pt x="6949" y="2300"/>
                    </a:lnTo>
                    <a:lnTo>
                      <a:pt x="6830" y="1203"/>
                    </a:lnTo>
                    <a:lnTo>
                      <a:pt x="6827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5" name="Shape"/>
              <p:cNvSpPr/>
              <p:nvPr/>
            </p:nvSpPr>
            <p:spPr>
              <a:xfrm>
                <a:off x="27011" y="0"/>
                <a:ext cx="215800" cy="2996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81" y="0"/>
                    </a:moveTo>
                    <a:lnTo>
                      <a:pt x="0" y="0"/>
                    </a:lnTo>
                    <a:lnTo>
                      <a:pt x="0" y="5375"/>
                    </a:lnTo>
                    <a:lnTo>
                      <a:pt x="9472" y="5375"/>
                    </a:lnTo>
                    <a:lnTo>
                      <a:pt x="3797" y="14601"/>
                    </a:lnTo>
                    <a:lnTo>
                      <a:pt x="10086" y="14601"/>
                    </a:lnTo>
                    <a:lnTo>
                      <a:pt x="10714" y="14694"/>
                    </a:lnTo>
                    <a:lnTo>
                      <a:pt x="14105" y="17169"/>
                    </a:lnTo>
                    <a:lnTo>
                      <a:pt x="14232" y="17621"/>
                    </a:lnTo>
                    <a:lnTo>
                      <a:pt x="14232" y="18581"/>
                    </a:lnTo>
                    <a:lnTo>
                      <a:pt x="11892" y="21142"/>
                    </a:lnTo>
                    <a:lnTo>
                      <a:pt x="10091" y="21600"/>
                    </a:lnTo>
                    <a:lnTo>
                      <a:pt x="20608" y="21600"/>
                    </a:lnTo>
                    <a:lnTo>
                      <a:pt x="21600" y="18121"/>
                    </a:lnTo>
                    <a:lnTo>
                      <a:pt x="21541" y="17237"/>
                    </a:lnTo>
                    <a:lnTo>
                      <a:pt x="20144" y="13947"/>
                    </a:lnTo>
                    <a:lnTo>
                      <a:pt x="17489" y="11484"/>
                    </a:lnTo>
                    <a:lnTo>
                      <a:pt x="14567" y="10094"/>
                    </a:lnTo>
                    <a:lnTo>
                      <a:pt x="20781" y="0"/>
                    </a:lnTo>
                    <a:close/>
                  </a:path>
                </a:pathLst>
              </a:custGeom>
              <a:solidFill>
                <a:srgbClr val="D91F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18" name="object 15"/>
            <p:cNvGrpSpPr/>
            <p:nvPr userDrawn="1"/>
          </p:nvGrpSpPr>
          <p:grpSpPr>
            <a:xfrm>
              <a:off x="11051486" y="5974871"/>
              <a:ext cx="247944" cy="368986"/>
              <a:chOff x="0" y="0"/>
              <a:chExt cx="247942" cy="368985"/>
            </a:xfrm>
          </p:grpSpPr>
          <p:sp>
            <p:nvSpPr>
              <p:cNvPr id="21" name="Shape"/>
              <p:cNvSpPr/>
              <p:nvPr/>
            </p:nvSpPr>
            <p:spPr>
              <a:xfrm>
                <a:off x="0" y="0"/>
                <a:ext cx="240802" cy="36898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2294" y="0"/>
                    </a:moveTo>
                    <a:lnTo>
                      <a:pt x="0" y="0"/>
                    </a:lnTo>
                    <a:lnTo>
                      <a:pt x="0" y="21600"/>
                    </a:lnTo>
                    <a:lnTo>
                      <a:pt x="6603" y="21600"/>
                    </a:lnTo>
                    <a:lnTo>
                      <a:pt x="6603" y="12982"/>
                    </a:lnTo>
                    <a:lnTo>
                      <a:pt x="12294" y="12982"/>
                    </a:lnTo>
                    <a:lnTo>
                      <a:pt x="16153" y="12479"/>
                    </a:lnTo>
                    <a:lnTo>
                      <a:pt x="19304" y="11094"/>
                    </a:lnTo>
                    <a:lnTo>
                      <a:pt x="21448" y="9023"/>
                    </a:lnTo>
                    <a:lnTo>
                      <a:pt x="21600" y="8758"/>
                    </a:lnTo>
                    <a:lnTo>
                      <a:pt x="6603" y="8758"/>
                    </a:lnTo>
                    <a:lnTo>
                      <a:pt x="6603" y="4225"/>
                    </a:lnTo>
                    <a:lnTo>
                      <a:pt x="21594" y="4225"/>
                    </a:lnTo>
                    <a:lnTo>
                      <a:pt x="21448" y="3973"/>
                    </a:lnTo>
                    <a:lnTo>
                      <a:pt x="19304" y="1917"/>
                    </a:lnTo>
                    <a:lnTo>
                      <a:pt x="16153" y="517"/>
                    </a:lnTo>
                    <a:lnTo>
                      <a:pt x="13307" y="32"/>
                    </a:lnTo>
                    <a:lnTo>
                      <a:pt x="12294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22" name="Shape"/>
              <p:cNvSpPr/>
              <p:nvPr/>
            </p:nvSpPr>
            <p:spPr>
              <a:xfrm>
                <a:off x="127977" y="72174"/>
                <a:ext cx="119966" cy="7743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302" y="0"/>
                    </a:moveTo>
                    <a:lnTo>
                      <a:pt x="0" y="0"/>
                    </a:lnTo>
                    <a:lnTo>
                      <a:pt x="1372" y="196"/>
                    </a:lnTo>
                    <a:lnTo>
                      <a:pt x="2646" y="783"/>
                    </a:lnTo>
                    <a:lnTo>
                      <a:pt x="6970" y="10798"/>
                    </a:lnTo>
                    <a:lnTo>
                      <a:pt x="6841" y="12978"/>
                    </a:lnTo>
                    <a:lnTo>
                      <a:pt x="1372" y="21404"/>
                    </a:lnTo>
                    <a:lnTo>
                      <a:pt x="0" y="21600"/>
                    </a:lnTo>
                    <a:lnTo>
                      <a:pt x="20314" y="21600"/>
                    </a:lnTo>
                    <a:lnTo>
                      <a:pt x="20705" y="19986"/>
                    </a:lnTo>
                    <a:lnTo>
                      <a:pt x="21202" y="17015"/>
                    </a:lnTo>
                    <a:lnTo>
                      <a:pt x="21500" y="13952"/>
                    </a:lnTo>
                    <a:lnTo>
                      <a:pt x="21600" y="10798"/>
                    </a:lnTo>
                    <a:lnTo>
                      <a:pt x="21500" y="7649"/>
                    </a:lnTo>
                    <a:lnTo>
                      <a:pt x="21202" y="4599"/>
                    </a:lnTo>
                    <a:lnTo>
                      <a:pt x="20705" y="1649"/>
                    </a:lnTo>
                    <a:lnTo>
                      <a:pt x="20302" y="0"/>
                    </a:lnTo>
                    <a:close/>
                  </a:path>
                </a:pathLst>
              </a:custGeom>
              <a:solidFill>
                <a:srgbClr val="2B9CDA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33657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object 4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1513417" y="4883518"/>
            <a:ext cx="2607823" cy="492186"/>
          </a:xfrm>
          <a:prstGeom prst="rect">
            <a:avLst/>
          </a:prstGeom>
        </p:spPr>
        <p:txBody>
          <a:bodyPr wrap="square">
            <a:spAutoFit/>
          </a:bodyPr>
          <a:lstStyle>
            <a:lvl1pPr marR="4233" indent="10583">
              <a:lnSpc>
                <a:spcPct val="101899"/>
              </a:lnSpc>
              <a:defRPr cap="all" baseline="0">
                <a:solidFill>
                  <a:srgbClr val="B7E1EE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1pPr>
          </a:lstStyle>
          <a:p>
            <a:r>
              <a:rPr lang="en-US" dirty="0"/>
              <a:t>DATE &amp; </a:t>
            </a:r>
            <a:r>
              <a:rPr lang="en-US" dirty="0" err="1"/>
              <a:t>SUBTIDaTLE</a:t>
            </a:r>
            <a:r>
              <a:rPr lang="en-US" dirty="0"/>
              <a:t>  </a:t>
            </a:r>
          </a:p>
          <a:p>
            <a:r>
              <a:rPr lang="en-US" dirty="0"/>
              <a:t>18 / 22 PT. SEMIBOLD</a:t>
            </a:r>
          </a:p>
        </p:txBody>
      </p:sp>
      <p:sp>
        <p:nvSpPr>
          <p:cNvPr id="60" name="object 5"/>
          <p:cNvSpPr/>
          <p:nvPr/>
        </p:nvSpPr>
        <p:spPr>
          <a:xfrm>
            <a:off x="11155679" y="5791200"/>
            <a:ext cx="846170" cy="84617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38099" rIns="38099"/>
          <a:lstStyle/>
          <a:p>
            <a:endParaRPr sz="1500"/>
          </a:p>
        </p:txBody>
      </p:sp>
      <p:sp>
        <p:nvSpPr>
          <p:cNvPr id="61" name="object 6"/>
          <p:cNvSpPr/>
          <p:nvPr userDrawn="1"/>
        </p:nvSpPr>
        <p:spPr>
          <a:xfrm>
            <a:off x="11262116" y="6502203"/>
            <a:ext cx="633287" cy="1"/>
          </a:xfrm>
          <a:prstGeom prst="line">
            <a:avLst/>
          </a:prstGeom>
          <a:ln w="68922">
            <a:solidFill>
              <a:srgbClr val="2B9CDA"/>
            </a:solidFill>
          </a:ln>
        </p:spPr>
        <p:txBody>
          <a:bodyPr lIns="38099" rIns="38099"/>
          <a:lstStyle/>
          <a:p>
            <a:endParaRPr sz="1500"/>
          </a:p>
        </p:txBody>
      </p:sp>
      <p:sp>
        <p:nvSpPr>
          <p:cNvPr id="62" name="object 7"/>
          <p:cNvSpPr/>
          <p:nvPr/>
        </p:nvSpPr>
        <p:spPr>
          <a:xfrm>
            <a:off x="11262116" y="5926365"/>
            <a:ext cx="633287" cy="1"/>
          </a:xfrm>
          <a:prstGeom prst="line">
            <a:avLst/>
          </a:prstGeom>
          <a:ln w="68922">
            <a:solidFill>
              <a:srgbClr val="2B9CDA"/>
            </a:solidFill>
          </a:ln>
        </p:spPr>
        <p:txBody>
          <a:bodyPr lIns="38099" rIns="38099"/>
          <a:lstStyle/>
          <a:p>
            <a:endParaRPr sz="1500"/>
          </a:p>
        </p:txBody>
      </p:sp>
      <p:grpSp>
        <p:nvGrpSpPr>
          <p:cNvPr id="65" name="object 8"/>
          <p:cNvGrpSpPr/>
          <p:nvPr/>
        </p:nvGrpSpPr>
        <p:grpSpPr>
          <a:xfrm>
            <a:off x="11469569" y="6058344"/>
            <a:ext cx="202343" cy="311881"/>
            <a:chOff x="0" y="0"/>
            <a:chExt cx="242810" cy="374256"/>
          </a:xfrm>
        </p:grpSpPr>
        <p:sp>
          <p:nvSpPr>
            <p:cNvPr id="63" name="Shape"/>
            <p:cNvSpPr/>
            <p:nvPr/>
          </p:nvSpPr>
          <p:spPr>
            <a:xfrm>
              <a:off x="0" y="250939"/>
              <a:ext cx="232898" cy="12331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827" y="0"/>
                  </a:moveTo>
                  <a:lnTo>
                    <a:pt x="0" y="0"/>
                  </a:lnTo>
                  <a:lnTo>
                    <a:pt x="53" y="2149"/>
                  </a:lnTo>
                  <a:lnTo>
                    <a:pt x="1313" y="10161"/>
                  </a:lnTo>
                  <a:lnTo>
                    <a:pt x="4114" y="16744"/>
                  </a:lnTo>
                  <a:lnTo>
                    <a:pt x="7964" y="20699"/>
                  </a:lnTo>
                  <a:lnTo>
                    <a:pt x="11238" y="21600"/>
                  </a:lnTo>
                  <a:lnTo>
                    <a:pt x="12361" y="21500"/>
                  </a:lnTo>
                  <a:lnTo>
                    <a:pt x="16571" y="19119"/>
                  </a:lnTo>
                  <a:lnTo>
                    <a:pt x="19967" y="13722"/>
                  </a:lnTo>
                  <a:lnTo>
                    <a:pt x="21600" y="8540"/>
                  </a:lnTo>
                  <a:lnTo>
                    <a:pt x="10620" y="8540"/>
                  </a:lnTo>
                  <a:lnTo>
                    <a:pt x="10046" y="8317"/>
                  </a:lnTo>
                  <a:lnTo>
                    <a:pt x="7180" y="3306"/>
                  </a:lnTo>
                  <a:lnTo>
                    <a:pt x="6949" y="2300"/>
                  </a:lnTo>
                  <a:lnTo>
                    <a:pt x="6939" y="2233"/>
                  </a:lnTo>
                  <a:lnTo>
                    <a:pt x="6830" y="1203"/>
                  </a:lnTo>
                  <a:lnTo>
                    <a:pt x="6827" y="0"/>
                  </a:lnTo>
                  <a:close/>
                </a:path>
              </a:pathLst>
            </a:custGeom>
            <a:solidFill>
              <a:srgbClr val="D91F3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500"/>
            </a:p>
          </p:txBody>
        </p:sp>
        <p:sp>
          <p:nvSpPr>
            <p:cNvPr id="64" name="Shape"/>
            <p:cNvSpPr/>
            <p:nvPr/>
          </p:nvSpPr>
          <p:spPr>
            <a:xfrm>
              <a:off x="27011" y="0"/>
              <a:ext cx="215800" cy="2996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781" y="0"/>
                  </a:moveTo>
                  <a:lnTo>
                    <a:pt x="0" y="0"/>
                  </a:lnTo>
                  <a:lnTo>
                    <a:pt x="0" y="5375"/>
                  </a:lnTo>
                  <a:lnTo>
                    <a:pt x="9472" y="5375"/>
                  </a:lnTo>
                  <a:lnTo>
                    <a:pt x="3797" y="14601"/>
                  </a:lnTo>
                  <a:lnTo>
                    <a:pt x="10087" y="14601"/>
                  </a:lnTo>
                  <a:lnTo>
                    <a:pt x="10714" y="14694"/>
                  </a:lnTo>
                  <a:lnTo>
                    <a:pt x="14105" y="17169"/>
                  </a:lnTo>
                  <a:lnTo>
                    <a:pt x="14232" y="17621"/>
                  </a:lnTo>
                  <a:lnTo>
                    <a:pt x="14232" y="18581"/>
                  </a:lnTo>
                  <a:lnTo>
                    <a:pt x="11892" y="21142"/>
                  </a:lnTo>
                  <a:lnTo>
                    <a:pt x="10091" y="21600"/>
                  </a:lnTo>
                  <a:lnTo>
                    <a:pt x="20608" y="21600"/>
                  </a:lnTo>
                  <a:lnTo>
                    <a:pt x="21600" y="18121"/>
                  </a:lnTo>
                  <a:lnTo>
                    <a:pt x="21541" y="17237"/>
                  </a:lnTo>
                  <a:lnTo>
                    <a:pt x="20144" y="13947"/>
                  </a:lnTo>
                  <a:lnTo>
                    <a:pt x="17489" y="11484"/>
                  </a:lnTo>
                  <a:lnTo>
                    <a:pt x="14568" y="10094"/>
                  </a:lnTo>
                  <a:lnTo>
                    <a:pt x="20781" y="0"/>
                  </a:lnTo>
                  <a:close/>
                </a:path>
              </a:pathLst>
            </a:custGeom>
            <a:solidFill>
              <a:srgbClr val="D91F3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500"/>
            </a:p>
          </p:txBody>
        </p:sp>
      </p:grpSp>
      <p:grpSp>
        <p:nvGrpSpPr>
          <p:cNvPr id="68" name="object 9"/>
          <p:cNvGrpSpPr/>
          <p:nvPr/>
        </p:nvGrpSpPr>
        <p:grpSpPr>
          <a:xfrm>
            <a:off x="11692444" y="6058344"/>
            <a:ext cx="202343" cy="311881"/>
            <a:chOff x="0" y="0"/>
            <a:chExt cx="242810" cy="374256"/>
          </a:xfrm>
        </p:grpSpPr>
        <p:sp>
          <p:nvSpPr>
            <p:cNvPr id="66" name="Shape"/>
            <p:cNvSpPr/>
            <p:nvPr/>
          </p:nvSpPr>
          <p:spPr>
            <a:xfrm>
              <a:off x="0" y="250939"/>
              <a:ext cx="232898" cy="12331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827" y="0"/>
                  </a:moveTo>
                  <a:lnTo>
                    <a:pt x="0" y="0"/>
                  </a:lnTo>
                  <a:lnTo>
                    <a:pt x="53" y="2149"/>
                  </a:lnTo>
                  <a:lnTo>
                    <a:pt x="1313" y="10161"/>
                  </a:lnTo>
                  <a:lnTo>
                    <a:pt x="4114" y="16744"/>
                  </a:lnTo>
                  <a:lnTo>
                    <a:pt x="7964" y="20699"/>
                  </a:lnTo>
                  <a:lnTo>
                    <a:pt x="11238" y="21600"/>
                  </a:lnTo>
                  <a:lnTo>
                    <a:pt x="12361" y="21500"/>
                  </a:lnTo>
                  <a:lnTo>
                    <a:pt x="16571" y="19119"/>
                  </a:lnTo>
                  <a:lnTo>
                    <a:pt x="19967" y="13722"/>
                  </a:lnTo>
                  <a:lnTo>
                    <a:pt x="21600" y="8540"/>
                  </a:lnTo>
                  <a:lnTo>
                    <a:pt x="10620" y="8540"/>
                  </a:lnTo>
                  <a:lnTo>
                    <a:pt x="10046" y="8317"/>
                  </a:lnTo>
                  <a:lnTo>
                    <a:pt x="6949" y="2300"/>
                  </a:lnTo>
                  <a:lnTo>
                    <a:pt x="6830" y="1203"/>
                  </a:lnTo>
                  <a:lnTo>
                    <a:pt x="6827" y="0"/>
                  </a:lnTo>
                  <a:close/>
                </a:path>
              </a:pathLst>
            </a:custGeom>
            <a:solidFill>
              <a:srgbClr val="D91F3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500"/>
            </a:p>
          </p:txBody>
        </p:sp>
        <p:sp>
          <p:nvSpPr>
            <p:cNvPr id="67" name="Shape"/>
            <p:cNvSpPr/>
            <p:nvPr/>
          </p:nvSpPr>
          <p:spPr>
            <a:xfrm>
              <a:off x="27011" y="0"/>
              <a:ext cx="215800" cy="2996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781" y="0"/>
                  </a:moveTo>
                  <a:lnTo>
                    <a:pt x="0" y="0"/>
                  </a:lnTo>
                  <a:lnTo>
                    <a:pt x="0" y="5375"/>
                  </a:lnTo>
                  <a:lnTo>
                    <a:pt x="9472" y="5375"/>
                  </a:lnTo>
                  <a:lnTo>
                    <a:pt x="3797" y="14601"/>
                  </a:lnTo>
                  <a:lnTo>
                    <a:pt x="10086" y="14601"/>
                  </a:lnTo>
                  <a:lnTo>
                    <a:pt x="10714" y="14694"/>
                  </a:lnTo>
                  <a:lnTo>
                    <a:pt x="14105" y="17169"/>
                  </a:lnTo>
                  <a:lnTo>
                    <a:pt x="14232" y="17621"/>
                  </a:lnTo>
                  <a:lnTo>
                    <a:pt x="14232" y="18581"/>
                  </a:lnTo>
                  <a:lnTo>
                    <a:pt x="11892" y="21142"/>
                  </a:lnTo>
                  <a:lnTo>
                    <a:pt x="10091" y="21600"/>
                  </a:lnTo>
                  <a:lnTo>
                    <a:pt x="20608" y="21600"/>
                  </a:lnTo>
                  <a:lnTo>
                    <a:pt x="21600" y="18121"/>
                  </a:lnTo>
                  <a:lnTo>
                    <a:pt x="21541" y="17237"/>
                  </a:lnTo>
                  <a:lnTo>
                    <a:pt x="20144" y="13947"/>
                  </a:lnTo>
                  <a:lnTo>
                    <a:pt x="17489" y="11484"/>
                  </a:lnTo>
                  <a:lnTo>
                    <a:pt x="14567" y="10094"/>
                  </a:lnTo>
                  <a:lnTo>
                    <a:pt x="20781" y="0"/>
                  </a:lnTo>
                  <a:close/>
                </a:path>
              </a:pathLst>
            </a:custGeom>
            <a:solidFill>
              <a:srgbClr val="D91F3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500"/>
            </a:p>
          </p:txBody>
        </p:sp>
      </p:grpSp>
      <p:grpSp>
        <p:nvGrpSpPr>
          <p:cNvPr id="71" name="object 10"/>
          <p:cNvGrpSpPr/>
          <p:nvPr/>
        </p:nvGrpSpPr>
        <p:grpSpPr>
          <a:xfrm>
            <a:off x="11262738" y="6060542"/>
            <a:ext cx="206620" cy="307488"/>
            <a:chOff x="0" y="0"/>
            <a:chExt cx="247942" cy="368985"/>
          </a:xfrm>
        </p:grpSpPr>
        <p:sp>
          <p:nvSpPr>
            <p:cNvPr id="69" name="Shape"/>
            <p:cNvSpPr/>
            <p:nvPr/>
          </p:nvSpPr>
          <p:spPr>
            <a:xfrm>
              <a:off x="0" y="0"/>
              <a:ext cx="240802" cy="36898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294" y="0"/>
                  </a:moveTo>
                  <a:lnTo>
                    <a:pt x="0" y="0"/>
                  </a:lnTo>
                  <a:lnTo>
                    <a:pt x="0" y="21600"/>
                  </a:lnTo>
                  <a:lnTo>
                    <a:pt x="6603" y="21600"/>
                  </a:lnTo>
                  <a:lnTo>
                    <a:pt x="6603" y="12982"/>
                  </a:lnTo>
                  <a:lnTo>
                    <a:pt x="12294" y="12982"/>
                  </a:lnTo>
                  <a:lnTo>
                    <a:pt x="16153" y="12479"/>
                  </a:lnTo>
                  <a:lnTo>
                    <a:pt x="19304" y="11094"/>
                  </a:lnTo>
                  <a:lnTo>
                    <a:pt x="21448" y="9023"/>
                  </a:lnTo>
                  <a:lnTo>
                    <a:pt x="21600" y="8758"/>
                  </a:lnTo>
                  <a:lnTo>
                    <a:pt x="6603" y="8758"/>
                  </a:lnTo>
                  <a:lnTo>
                    <a:pt x="6603" y="4225"/>
                  </a:lnTo>
                  <a:lnTo>
                    <a:pt x="21594" y="4225"/>
                  </a:lnTo>
                  <a:lnTo>
                    <a:pt x="21448" y="3973"/>
                  </a:lnTo>
                  <a:lnTo>
                    <a:pt x="19304" y="1917"/>
                  </a:lnTo>
                  <a:lnTo>
                    <a:pt x="16153" y="517"/>
                  </a:lnTo>
                  <a:lnTo>
                    <a:pt x="13307" y="32"/>
                  </a:lnTo>
                  <a:lnTo>
                    <a:pt x="12294" y="0"/>
                  </a:lnTo>
                  <a:close/>
                </a:path>
              </a:pathLst>
            </a:custGeom>
            <a:solidFill>
              <a:srgbClr val="2B9CDA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500"/>
            </a:p>
          </p:txBody>
        </p:sp>
        <p:sp>
          <p:nvSpPr>
            <p:cNvPr id="70" name="Shape"/>
            <p:cNvSpPr/>
            <p:nvPr/>
          </p:nvSpPr>
          <p:spPr>
            <a:xfrm>
              <a:off x="127977" y="72174"/>
              <a:ext cx="119966" cy="7743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302" y="0"/>
                  </a:moveTo>
                  <a:lnTo>
                    <a:pt x="0" y="0"/>
                  </a:lnTo>
                  <a:lnTo>
                    <a:pt x="1372" y="196"/>
                  </a:lnTo>
                  <a:lnTo>
                    <a:pt x="2646" y="783"/>
                  </a:lnTo>
                  <a:lnTo>
                    <a:pt x="6970" y="10798"/>
                  </a:lnTo>
                  <a:lnTo>
                    <a:pt x="6841" y="12978"/>
                  </a:lnTo>
                  <a:lnTo>
                    <a:pt x="1372" y="21404"/>
                  </a:lnTo>
                  <a:lnTo>
                    <a:pt x="0" y="21600"/>
                  </a:lnTo>
                  <a:lnTo>
                    <a:pt x="20314" y="21600"/>
                  </a:lnTo>
                  <a:lnTo>
                    <a:pt x="20705" y="19986"/>
                  </a:lnTo>
                  <a:lnTo>
                    <a:pt x="21202" y="17015"/>
                  </a:lnTo>
                  <a:lnTo>
                    <a:pt x="21500" y="13952"/>
                  </a:lnTo>
                  <a:lnTo>
                    <a:pt x="21600" y="10798"/>
                  </a:lnTo>
                  <a:lnTo>
                    <a:pt x="21500" y="7649"/>
                  </a:lnTo>
                  <a:lnTo>
                    <a:pt x="21202" y="4599"/>
                  </a:lnTo>
                  <a:lnTo>
                    <a:pt x="20705" y="1649"/>
                  </a:lnTo>
                  <a:lnTo>
                    <a:pt x="20302" y="0"/>
                  </a:lnTo>
                  <a:close/>
                </a:path>
              </a:pathLst>
            </a:custGeom>
            <a:solidFill>
              <a:srgbClr val="2B9CDA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500"/>
            </a:p>
          </p:txBody>
        </p:sp>
      </p:grpSp>
      <p:sp>
        <p:nvSpPr>
          <p:cNvPr id="72" name="object 3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1513417" y="1336882"/>
            <a:ext cx="5441175" cy="1951567"/>
          </a:xfrm>
          <a:prstGeom prst="rect">
            <a:avLst/>
          </a:prstGeom>
        </p:spPr>
        <p:txBody>
          <a:bodyPr>
            <a:normAutofit/>
          </a:bodyPr>
          <a:lstStyle>
            <a:lvl1pPr marL="0" marR="4233" indent="10583" algn="l" defTabSz="761970" rtl="0" eaLnBrk="1" fontAlgn="auto" latinLnBrk="0" hangingPunct="1">
              <a:lnSpc>
                <a:spcPts val="5000"/>
              </a:lnSpc>
              <a:spcBef>
                <a:spcPts val="417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 cap="all" baseline="0">
                <a:solidFill>
                  <a:srgbClr val="B7E1EE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1pPr>
          </a:lstStyle>
          <a:p>
            <a:pPr lvl="0"/>
            <a:r>
              <a:rPr lang="en-US" dirty="0"/>
              <a:t>NEW TITLE </a:t>
            </a:r>
            <a:br>
              <a:rPr lang="en-US" dirty="0"/>
            </a:br>
            <a:r>
              <a:rPr lang="en-US" dirty="0"/>
              <a:t>HEADING SLIDE</a:t>
            </a:r>
          </a:p>
        </p:txBody>
      </p:sp>
    </p:spTree>
    <p:extLst>
      <p:ext uri="{BB962C8B-B14F-4D97-AF65-F5344CB8AC3E}">
        <p14:creationId xmlns:p14="http://schemas.microsoft.com/office/powerpoint/2010/main" val="3297100857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7714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8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4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505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044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grpSp>
        <p:nvGrpSpPr>
          <p:cNvPr id="9" name="Group 8"/>
          <p:cNvGrpSpPr/>
          <p:nvPr userDrawn="1"/>
        </p:nvGrpSpPr>
        <p:grpSpPr>
          <a:xfrm>
            <a:off x="0" y="-571255"/>
            <a:ext cx="13055300" cy="7449575"/>
            <a:chOff x="300" y="-12934"/>
            <a:chExt cx="12192000" cy="6956961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535" b="45358"/>
            <a:stretch/>
          </p:blipFill>
          <p:spPr>
            <a:xfrm>
              <a:off x="300" y="2034130"/>
              <a:ext cx="11395275" cy="4909897"/>
            </a:xfrm>
            <a:prstGeom prst="rect">
              <a:avLst/>
            </a:prstGeom>
          </p:spPr>
        </p:pic>
        <p:sp>
          <p:nvSpPr>
            <p:cNvPr id="12" name="Rectangle 11"/>
            <p:cNvSpPr/>
            <p:nvPr/>
          </p:nvSpPr>
          <p:spPr>
            <a:xfrm>
              <a:off x="300" y="-12934"/>
              <a:ext cx="12192000" cy="2969494"/>
            </a:xfrm>
            <a:prstGeom prst="rect">
              <a:avLst/>
            </a:prstGeom>
            <a:gradFill>
              <a:gsLst>
                <a:gs pos="0">
                  <a:srgbClr val="FBFCFE"/>
                </a:gs>
                <a:gs pos="100000">
                  <a:srgbClr val="FBFCFE"/>
                </a:gs>
              </a:gsLst>
              <a:lin ang="8100000" scaled="1"/>
            </a:gradFill>
            <a:ln w="9525" cap="rnd" cmpd="sng" algn="ctr">
              <a:solidFill>
                <a:srgbClr val="FBFCFE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520 P33 Overview - CBIA v2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-25400" y="0"/>
            <a:ext cx="12192000" cy="6878322"/>
          </a:xfrm>
          <a:prstGeom prst="rect">
            <a:avLst/>
          </a:prstGeom>
          <a:solidFill>
            <a:srgbClr val="FBFCFE">
              <a:alpha val="55000"/>
            </a:srgbClr>
          </a:solidFill>
          <a:ln w="9525" cap="rnd" cmpd="sng" algn="ctr">
            <a:solidFill>
              <a:srgbClr val="FBFCF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59299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="" xmlns:a16="http://schemas.microsoft.com/office/drawing/2014/main" id="{F1C0F05C-FD8B-4FE4-8B99-0CEABA342F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57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32292" cy="132292"/>
          </a:xfrm>
          <a:prstGeom prst="rect">
            <a:avLst/>
          </a:prstGeom>
          <a:solidFill>
            <a:schemeClr val="accent5"/>
          </a:solidFill>
          <a:ln w="19050">
            <a:noFill/>
            <a:prstDash val="sysDot"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="" xmlns:a16="http://schemas.microsoft.com/office/drawing/2014/main" id="{1A5A086F-4F78-4F13-9448-AC4D26E3D42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76298" y="6544500"/>
            <a:ext cx="977832" cy="135422"/>
          </a:xfrm>
          <a:ln>
            <a:noFill/>
          </a:ln>
        </p:spPr>
        <p:txBody>
          <a:bodyPr wrap="none" lIns="0" tIns="0" rIns="0" bIns="0" anchor="b">
            <a:spAutoFit/>
          </a:bodyPr>
          <a:lstStyle>
            <a:lvl1pPr>
              <a:spcBef>
                <a:spcPts val="0"/>
              </a:spcBef>
              <a:defRPr sz="800" baseline="0">
                <a:solidFill>
                  <a:schemeClr val="bg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ource if Needed</a:t>
            </a:r>
            <a:endParaRPr lang="en-AU"/>
          </a:p>
        </p:txBody>
      </p:sp>
      <p:sp>
        <p:nvSpPr>
          <p:cNvPr id="13" name="Title 1">
            <a:extLst>
              <a:ext uri="{FF2B5EF4-FFF2-40B4-BE49-F238E27FC236}">
                <a16:creationId xmlns="" xmlns:a16="http://schemas.microsoft.com/office/drawing/2014/main" id="{49A16F11-F671-4766-8CFE-CA7294DE77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5742" y="561762"/>
            <a:ext cx="11474881" cy="443198"/>
          </a:xfrm>
        </p:spPr>
        <p:txBody>
          <a:bodyPr/>
          <a:lstStyle>
            <a:lvl1pPr algn="l">
              <a:defRPr lang="en-AU" sz="3200" kern="1200" cap="all" spc="0" baseline="0" dirty="0">
                <a:solidFill>
                  <a:schemeClr val="tx1"/>
                </a:solidFill>
                <a:latin typeface="Arial Black" panose="020B0A04020102020204" pitchFamily="34" charset="0"/>
                <a:ea typeface="Roboto Black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INSERT MAIN TITLE AT 36PT MIN 30PT</a:t>
            </a:r>
            <a:endParaRPr lang="en-AU" dirty="0"/>
          </a:p>
        </p:txBody>
      </p:sp>
      <p:sp>
        <p:nvSpPr>
          <p:cNvPr id="14" name="Text Placeholder 4">
            <a:extLst>
              <a:ext uri="{FF2B5EF4-FFF2-40B4-BE49-F238E27FC236}">
                <a16:creationId xmlns="" xmlns:a16="http://schemas.microsoft.com/office/drawing/2014/main" id="{0D2B55F1-026E-46C4-AB40-FFC158A8E06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65787" y="973093"/>
            <a:ext cx="11464835" cy="276999"/>
          </a:xfr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AU" sz="1800" kern="1200" dirty="0">
                <a:solidFill>
                  <a:schemeClr val="accent5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Tagline</a:t>
            </a:r>
            <a:endParaRPr lang="en-AU" dirty="0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32"/>
          </p:nvPr>
        </p:nvSpPr>
        <p:spPr>
          <a:xfrm flipH="1">
            <a:off x="11275786" y="6537400"/>
            <a:ext cx="557299" cy="179537"/>
          </a:xfrm>
          <a:prstGeom prst="rect">
            <a:avLst/>
          </a:prstGeom>
        </p:spPr>
        <p:txBody>
          <a:bodyPr/>
          <a:lstStyle>
            <a:lvl1pPr algn="r">
              <a:defRPr sz="1167">
                <a:solidFill>
                  <a:schemeClr val="tx1">
                    <a:alpha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000000">
                    <a:alpha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alpha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7641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47773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24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20190520 P33 Overview - CBIA v2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84277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6556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48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0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3877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800" b="0" i="0" u="none" kern="1200" spc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20190520 P33 Overview - CBIA v2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92263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76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4"/>
            </p:custDataLst>
            <p:extLst>
              <p:ext uri="{D42A27DB-BD31-4B8C-83A1-F6EECF244321}">
                <p14:modId xmlns:p14="http://schemas.microsoft.com/office/powerpoint/2010/main" val="24130694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3" name="think-cell Slide" r:id="rId76" imgW="270" imgH="270" progId="TCLayout.ActiveDocument.1">
                  <p:embed/>
                </p:oleObj>
              </mc:Choice>
              <mc:Fallback>
                <p:oleObj name="think-cell Slide" r:id="rId7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7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835336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15" r:id="rId1"/>
    <p:sldLayoutId id="2147485185" r:id="rId2"/>
    <p:sldLayoutId id="2147485086" r:id="rId3"/>
    <p:sldLayoutId id="2147485183" r:id="rId4"/>
    <p:sldLayoutId id="2147485158" r:id="rId5"/>
    <p:sldLayoutId id="2147485113" r:id="rId6"/>
    <p:sldLayoutId id="2147485114" r:id="rId7"/>
    <p:sldLayoutId id="2147485154" r:id="rId8"/>
    <p:sldLayoutId id="2147485162" r:id="rId9"/>
    <p:sldLayoutId id="2147485149" r:id="rId10"/>
    <p:sldLayoutId id="2147485087" r:id="rId11"/>
    <p:sldLayoutId id="2147485112" r:id="rId12"/>
    <p:sldLayoutId id="2147485155" r:id="rId13"/>
    <p:sldLayoutId id="2147485164" r:id="rId14"/>
    <p:sldLayoutId id="2147485109" r:id="rId15"/>
    <p:sldLayoutId id="2147485165" r:id="rId16"/>
    <p:sldLayoutId id="2147485110" r:id="rId17"/>
    <p:sldLayoutId id="2147485166" r:id="rId18"/>
    <p:sldLayoutId id="2147485156" r:id="rId19"/>
    <p:sldLayoutId id="2147485167" r:id="rId20"/>
    <p:sldLayoutId id="2147485108" r:id="rId21"/>
    <p:sldLayoutId id="2147485107" r:id="rId22"/>
    <p:sldLayoutId id="2147485106" r:id="rId23"/>
    <p:sldLayoutId id="2147485090" r:id="rId24"/>
    <p:sldLayoutId id="2147485091" r:id="rId25"/>
    <p:sldLayoutId id="2147485092" r:id="rId26"/>
    <p:sldLayoutId id="2147485093" r:id="rId27"/>
    <p:sldLayoutId id="2147485116" r:id="rId28"/>
    <p:sldLayoutId id="2147485161" r:id="rId29"/>
    <p:sldLayoutId id="2147485159" r:id="rId30"/>
    <p:sldLayoutId id="2147485119" r:id="rId31"/>
    <p:sldLayoutId id="2147485184" r:id="rId32"/>
    <p:sldLayoutId id="2147485137" r:id="rId33"/>
    <p:sldLayoutId id="2147485120" r:id="rId34"/>
    <p:sldLayoutId id="2147485121" r:id="rId35"/>
    <p:sldLayoutId id="2147485141" r:id="rId36"/>
    <p:sldLayoutId id="2147485163" r:id="rId37"/>
    <p:sldLayoutId id="2147485139" r:id="rId38"/>
    <p:sldLayoutId id="2147485140" r:id="rId39"/>
    <p:sldLayoutId id="2147485122" r:id="rId40"/>
    <p:sldLayoutId id="2147485123" r:id="rId41"/>
    <p:sldLayoutId id="2147485151" r:id="rId42"/>
    <p:sldLayoutId id="2147485168" r:id="rId43"/>
    <p:sldLayoutId id="2147485127" r:id="rId44"/>
    <p:sldLayoutId id="2147485169" r:id="rId45"/>
    <p:sldLayoutId id="2147485126" r:id="rId46"/>
    <p:sldLayoutId id="2147485170" r:id="rId47"/>
    <p:sldLayoutId id="2147485153" r:id="rId48"/>
    <p:sldLayoutId id="2147485171" r:id="rId49"/>
    <p:sldLayoutId id="2147485128" r:id="rId50"/>
    <p:sldLayoutId id="2147485129" r:id="rId51"/>
    <p:sldLayoutId id="2147485130" r:id="rId52"/>
    <p:sldLayoutId id="2147485131" r:id="rId53"/>
    <p:sldLayoutId id="2147485145" r:id="rId54"/>
    <p:sldLayoutId id="2147485133" r:id="rId55"/>
    <p:sldLayoutId id="2147485144" r:id="rId56"/>
    <p:sldLayoutId id="2147485134" r:id="rId57"/>
    <p:sldLayoutId id="2147485146" r:id="rId58"/>
    <p:sldLayoutId id="2147485160" r:id="rId59"/>
    <p:sldLayoutId id="2147485172" r:id="rId60"/>
    <p:sldLayoutId id="2147485173" r:id="rId61"/>
    <p:sldLayoutId id="2147485174" r:id="rId62"/>
    <p:sldLayoutId id="2147485175" r:id="rId63"/>
    <p:sldLayoutId id="2147485176" r:id="rId64"/>
    <p:sldLayoutId id="2147485177" r:id="rId65"/>
    <p:sldLayoutId id="2147485178" r:id="rId66"/>
    <p:sldLayoutId id="2147485179" r:id="rId67"/>
    <p:sldLayoutId id="2147485180" r:id="rId68"/>
    <p:sldLayoutId id="2147485186" r:id="rId69"/>
    <p:sldLayoutId id="2147485187" r:id="rId70"/>
    <p:sldLayoutId id="2147485189" r:id="rId7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 cap="all" baseline="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+mn-lt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+mn-lt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+mn-lt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+mn-lt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+mn-lt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+mn-lt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+mn-lt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+mn-lt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 userDrawn="1">
          <p15:clr>
            <a:srgbClr val="F26B43"/>
          </p15:clr>
        </p15:guide>
        <p15:guide id="2" pos="396" userDrawn="1">
          <p15:clr>
            <a:srgbClr val="F26B43"/>
          </p15:clr>
        </p15:guide>
        <p15:guide id="3" pos="7284" userDrawn="1">
          <p15:clr>
            <a:srgbClr val="F26B43"/>
          </p15:clr>
        </p15:guide>
        <p15:guide id="4" orient="horz" pos="388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3.bin"/><Relationship Id="rId3" Type="http://schemas.openxmlformats.org/officeDocument/2006/relationships/tags" Target="../tags/tag178.xml"/><Relationship Id="rId7" Type="http://schemas.openxmlformats.org/officeDocument/2006/relationships/image" Target="../media/image13.emf"/><Relationship Id="rId2" Type="http://schemas.openxmlformats.org/officeDocument/2006/relationships/tags" Target="../tags/tag177.xml"/><Relationship Id="rId1" Type="http://schemas.openxmlformats.org/officeDocument/2006/relationships/vmlDrawing" Target="../drawings/vmlDrawing72.vml"/><Relationship Id="rId6" Type="http://schemas.openxmlformats.org/officeDocument/2006/relationships/oleObject" Target="../embeddings/oleObject7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69.xml"/><Relationship Id="rId9" Type="http://schemas.openxmlformats.org/officeDocument/2006/relationships/image" Target="../media/image5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99.xml"/><Relationship Id="rId7" Type="http://schemas.openxmlformats.org/officeDocument/2006/relationships/image" Target="../media/image71.emf"/><Relationship Id="rId2" Type="http://schemas.openxmlformats.org/officeDocument/2006/relationships/tags" Target="../tags/tag198.xml"/><Relationship Id="rId1" Type="http://schemas.openxmlformats.org/officeDocument/2006/relationships/vmlDrawing" Target="../drawings/vmlDrawing81.vml"/><Relationship Id="rId6" Type="http://schemas.openxmlformats.org/officeDocument/2006/relationships/oleObject" Target="../embeddings/oleObject82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7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201.xml"/><Relationship Id="rId7" Type="http://schemas.openxmlformats.org/officeDocument/2006/relationships/oleObject" Target="../embeddings/oleObject83.bin"/><Relationship Id="rId2" Type="http://schemas.openxmlformats.org/officeDocument/2006/relationships/tags" Target="../tags/tag200.xml"/><Relationship Id="rId1" Type="http://schemas.openxmlformats.org/officeDocument/2006/relationships/vmlDrawing" Target="../drawings/vmlDrawing82.v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70.xml"/><Relationship Id="rId4" Type="http://schemas.openxmlformats.org/officeDocument/2006/relationships/tags" Target="../tags/tag20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04.xml"/><Relationship Id="rId2" Type="http://schemas.openxmlformats.org/officeDocument/2006/relationships/tags" Target="../tags/tag203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84.bin"/><Relationship Id="rId4" Type="http://schemas.openxmlformats.org/officeDocument/2006/relationships/slideLayout" Target="../slideLayouts/slideLayout3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tags" Target="../tags/tag206.xml"/><Relationship Id="rId7" Type="http://schemas.openxmlformats.org/officeDocument/2006/relationships/oleObject" Target="../embeddings/oleObject85.bin"/><Relationship Id="rId2" Type="http://schemas.openxmlformats.org/officeDocument/2006/relationships/tags" Target="../tags/tag205.xml"/><Relationship Id="rId1" Type="http://schemas.openxmlformats.org/officeDocument/2006/relationships/vmlDrawing" Target="../drawings/vmlDrawing84.v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20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208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6.bin"/><Relationship Id="rId4" Type="http://schemas.openxmlformats.org/officeDocument/2006/relationships/notesSlide" Target="../notesSlides/notesSlide1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tags" Target="../tags/tag180.xml"/><Relationship Id="rId7" Type="http://schemas.openxmlformats.org/officeDocument/2006/relationships/oleObject" Target="../embeddings/oleObject74.bin"/><Relationship Id="rId12" Type="http://schemas.openxmlformats.org/officeDocument/2006/relationships/image" Target="../media/image18.png"/><Relationship Id="rId2" Type="http://schemas.openxmlformats.org/officeDocument/2006/relationships/tags" Target="../tags/tag179.xml"/><Relationship Id="rId1" Type="http://schemas.openxmlformats.org/officeDocument/2006/relationships/vmlDrawing" Target="../drawings/vmlDrawing73.vml"/><Relationship Id="rId6" Type="http://schemas.openxmlformats.org/officeDocument/2006/relationships/notesSlide" Target="../notesSlides/notesSlide2.xml"/><Relationship Id="rId11" Type="http://schemas.openxmlformats.org/officeDocument/2006/relationships/image" Target="../media/image17.png"/><Relationship Id="rId5" Type="http://schemas.openxmlformats.org/officeDocument/2006/relationships/slideLayout" Target="../slideLayouts/slideLayout70.xml"/><Relationship Id="rId10" Type="http://schemas.openxmlformats.org/officeDocument/2006/relationships/image" Target="../media/image16.png"/><Relationship Id="rId4" Type="http://schemas.openxmlformats.org/officeDocument/2006/relationships/tags" Target="../tags/tag181.xml"/><Relationship Id="rId9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83.xml"/><Relationship Id="rId7" Type="http://schemas.openxmlformats.org/officeDocument/2006/relationships/image" Target="../media/image20.png"/><Relationship Id="rId2" Type="http://schemas.openxmlformats.org/officeDocument/2006/relationships/tags" Target="../tags/tag182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75.bin"/><Relationship Id="rId4" Type="http://schemas.openxmlformats.org/officeDocument/2006/relationships/slideLayout" Target="../slideLayouts/slideLayout7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85.xml"/><Relationship Id="rId7" Type="http://schemas.openxmlformats.org/officeDocument/2006/relationships/oleObject" Target="../embeddings/oleObject76.bin"/><Relationship Id="rId2" Type="http://schemas.openxmlformats.org/officeDocument/2006/relationships/tags" Target="../tags/tag184.xml"/><Relationship Id="rId1" Type="http://schemas.openxmlformats.org/officeDocument/2006/relationships/vmlDrawing" Target="../drawings/vmlDrawing75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186.xml"/><Relationship Id="rId9" Type="http://schemas.openxmlformats.org/officeDocument/2006/relationships/image" Target="../media/image21.jp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188.xml"/><Relationship Id="rId7" Type="http://schemas.openxmlformats.org/officeDocument/2006/relationships/image" Target="../media/image22.png"/><Relationship Id="rId2" Type="http://schemas.openxmlformats.org/officeDocument/2006/relationships/tags" Target="../tags/tag187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77.bin"/><Relationship Id="rId4" Type="http://schemas.openxmlformats.org/officeDocument/2006/relationships/slideLayout" Target="../slideLayouts/slideLayout70.xml"/><Relationship Id="rId9" Type="http://schemas.openxmlformats.org/officeDocument/2006/relationships/image" Target="../media/image24.png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2.jpeg"/><Relationship Id="rId18" Type="http://schemas.openxmlformats.org/officeDocument/2006/relationships/image" Target="../media/image37.png"/><Relationship Id="rId26" Type="http://schemas.openxmlformats.org/officeDocument/2006/relationships/image" Target="../media/image45.jpeg"/><Relationship Id="rId39" Type="http://schemas.openxmlformats.org/officeDocument/2006/relationships/image" Target="../media/image58.png"/><Relationship Id="rId3" Type="http://schemas.openxmlformats.org/officeDocument/2006/relationships/tags" Target="../tags/tag190.xml"/><Relationship Id="rId21" Type="http://schemas.openxmlformats.org/officeDocument/2006/relationships/image" Target="../media/image40.png"/><Relationship Id="rId34" Type="http://schemas.openxmlformats.org/officeDocument/2006/relationships/image" Target="../media/image53.png"/><Relationship Id="rId42" Type="http://schemas.openxmlformats.org/officeDocument/2006/relationships/image" Target="../media/image61.png"/><Relationship Id="rId47" Type="http://schemas.openxmlformats.org/officeDocument/2006/relationships/image" Target="../media/image66.png"/><Relationship Id="rId50" Type="http://schemas.openxmlformats.org/officeDocument/2006/relationships/image" Target="../media/image69.png"/><Relationship Id="rId7" Type="http://schemas.openxmlformats.org/officeDocument/2006/relationships/image" Target="../media/image26.png"/><Relationship Id="rId12" Type="http://schemas.openxmlformats.org/officeDocument/2006/relationships/image" Target="../media/image31.png"/><Relationship Id="rId17" Type="http://schemas.openxmlformats.org/officeDocument/2006/relationships/image" Target="../media/image36.jpeg"/><Relationship Id="rId25" Type="http://schemas.openxmlformats.org/officeDocument/2006/relationships/image" Target="../media/image44.png"/><Relationship Id="rId33" Type="http://schemas.openxmlformats.org/officeDocument/2006/relationships/image" Target="../media/image52.jpeg"/><Relationship Id="rId38" Type="http://schemas.openxmlformats.org/officeDocument/2006/relationships/image" Target="../media/image57.png"/><Relationship Id="rId46" Type="http://schemas.openxmlformats.org/officeDocument/2006/relationships/image" Target="../media/image65.jpeg"/><Relationship Id="rId2" Type="http://schemas.openxmlformats.org/officeDocument/2006/relationships/tags" Target="../tags/tag189.xml"/><Relationship Id="rId16" Type="http://schemas.openxmlformats.org/officeDocument/2006/relationships/image" Target="../media/image35.gif"/><Relationship Id="rId20" Type="http://schemas.openxmlformats.org/officeDocument/2006/relationships/image" Target="../media/image39.jpeg"/><Relationship Id="rId29" Type="http://schemas.openxmlformats.org/officeDocument/2006/relationships/image" Target="../media/image48.png"/><Relationship Id="rId41" Type="http://schemas.openxmlformats.org/officeDocument/2006/relationships/image" Target="../media/image60.png"/><Relationship Id="rId1" Type="http://schemas.openxmlformats.org/officeDocument/2006/relationships/vmlDrawing" Target="../drawings/vmlDrawing77.vml"/><Relationship Id="rId6" Type="http://schemas.openxmlformats.org/officeDocument/2006/relationships/image" Target="../media/image25.emf"/><Relationship Id="rId11" Type="http://schemas.openxmlformats.org/officeDocument/2006/relationships/image" Target="../media/image30.png"/><Relationship Id="rId24" Type="http://schemas.openxmlformats.org/officeDocument/2006/relationships/image" Target="../media/image43.png"/><Relationship Id="rId32" Type="http://schemas.openxmlformats.org/officeDocument/2006/relationships/image" Target="../media/image51.png"/><Relationship Id="rId37" Type="http://schemas.openxmlformats.org/officeDocument/2006/relationships/image" Target="../media/image56.jpeg"/><Relationship Id="rId40" Type="http://schemas.openxmlformats.org/officeDocument/2006/relationships/image" Target="../media/image59.jpeg"/><Relationship Id="rId45" Type="http://schemas.openxmlformats.org/officeDocument/2006/relationships/image" Target="../media/image64.png"/><Relationship Id="rId5" Type="http://schemas.openxmlformats.org/officeDocument/2006/relationships/oleObject" Target="../embeddings/oleObject78.bin"/><Relationship Id="rId15" Type="http://schemas.openxmlformats.org/officeDocument/2006/relationships/image" Target="../media/image34.png"/><Relationship Id="rId23" Type="http://schemas.openxmlformats.org/officeDocument/2006/relationships/image" Target="../media/image42.png"/><Relationship Id="rId28" Type="http://schemas.openxmlformats.org/officeDocument/2006/relationships/image" Target="../media/image47.png"/><Relationship Id="rId36" Type="http://schemas.openxmlformats.org/officeDocument/2006/relationships/image" Target="../media/image55.jpeg"/><Relationship Id="rId49" Type="http://schemas.openxmlformats.org/officeDocument/2006/relationships/image" Target="../media/image68.png"/><Relationship Id="rId10" Type="http://schemas.openxmlformats.org/officeDocument/2006/relationships/image" Target="../media/image29.png"/><Relationship Id="rId19" Type="http://schemas.openxmlformats.org/officeDocument/2006/relationships/image" Target="../media/image38.png"/><Relationship Id="rId31" Type="http://schemas.openxmlformats.org/officeDocument/2006/relationships/image" Target="../media/image50.png"/><Relationship Id="rId44" Type="http://schemas.openxmlformats.org/officeDocument/2006/relationships/image" Target="../media/image63.gif"/><Relationship Id="rId4" Type="http://schemas.openxmlformats.org/officeDocument/2006/relationships/slideLayout" Target="../slideLayouts/slideLayout70.xml"/><Relationship Id="rId9" Type="http://schemas.openxmlformats.org/officeDocument/2006/relationships/image" Target="../media/image28.png"/><Relationship Id="rId14" Type="http://schemas.openxmlformats.org/officeDocument/2006/relationships/image" Target="../media/image33.png"/><Relationship Id="rId22" Type="http://schemas.openxmlformats.org/officeDocument/2006/relationships/image" Target="../media/image41.png"/><Relationship Id="rId27" Type="http://schemas.openxmlformats.org/officeDocument/2006/relationships/image" Target="../media/image46.png"/><Relationship Id="rId30" Type="http://schemas.openxmlformats.org/officeDocument/2006/relationships/image" Target="../media/image49.png"/><Relationship Id="rId35" Type="http://schemas.openxmlformats.org/officeDocument/2006/relationships/image" Target="../media/image54.png"/><Relationship Id="rId43" Type="http://schemas.openxmlformats.org/officeDocument/2006/relationships/image" Target="../media/image62.jpeg"/><Relationship Id="rId48" Type="http://schemas.openxmlformats.org/officeDocument/2006/relationships/image" Target="../media/image67.png"/><Relationship Id="rId8" Type="http://schemas.openxmlformats.org/officeDocument/2006/relationships/image" Target="../media/image27.jpeg"/><Relationship Id="rId51" Type="http://schemas.openxmlformats.org/officeDocument/2006/relationships/image" Target="../media/image7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92.xml"/><Relationship Id="rId7" Type="http://schemas.openxmlformats.org/officeDocument/2006/relationships/image" Target="../media/image71.emf"/><Relationship Id="rId2" Type="http://schemas.openxmlformats.org/officeDocument/2006/relationships/tags" Target="../tags/tag191.xml"/><Relationship Id="rId1" Type="http://schemas.openxmlformats.org/officeDocument/2006/relationships/vmlDrawing" Target="../drawings/vmlDrawing78.vml"/><Relationship Id="rId6" Type="http://schemas.openxmlformats.org/officeDocument/2006/relationships/oleObject" Target="../embeddings/oleObject79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7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emf"/><Relationship Id="rId3" Type="http://schemas.openxmlformats.org/officeDocument/2006/relationships/tags" Target="../tags/tag194.xml"/><Relationship Id="rId7" Type="http://schemas.openxmlformats.org/officeDocument/2006/relationships/oleObject" Target="../embeddings/oleObject80.bin"/><Relationship Id="rId2" Type="http://schemas.openxmlformats.org/officeDocument/2006/relationships/tags" Target="../tags/tag193.xml"/><Relationship Id="rId1" Type="http://schemas.openxmlformats.org/officeDocument/2006/relationships/vmlDrawing" Target="../drawings/vmlDrawing79.v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71.xml"/><Relationship Id="rId4" Type="http://schemas.openxmlformats.org/officeDocument/2006/relationships/tags" Target="../tags/tag19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97.xml"/><Relationship Id="rId7" Type="http://schemas.openxmlformats.org/officeDocument/2006/relationships/image" Target="../media/image72.emf"/><Relationship Id="rId2" Type="http://schemas.openxmlformats.org/officeDocument/2006/relationships/tags" Target="../tags/tag196.xml"/><Relationship Id="rId1" Type="http://schemas.openxmlformats.org/officeDocument/2006/relationships/vmlDrawing" Target="../drawings/vmlDrawing80.vml"/><Relationship Id="rId6" Type="http://schemas.openxmlformats.org/officeDocument/2006/relationships/oleObject" Target="../embeddings/oleObject81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7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324" y="1324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11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324" y="1324"/>
                        <a:ext cx="1323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object 2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4630400" h="8229600">
                <a:moveTo>
                  <a:pt x="0" y="8229600"/>
                </a:moveTo>
                <a:lnTo>
                  <a:pt x="14630400" y="8229600"/>
                </a:lnTo>
                <a:lnTo>
                  <a:pt x="14630400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rgbClr val="1F4174"/>
          </a:solidFill>
        </p:spPr>
        <p:txBody>
          <a:bodyPr wrap="square" lIns="0" tIns="0" rIns="0" bIns="0" rtlCol="0"/>
          <a:lstStyle/>
          <a:p>
            <a:endParaRPr sz="125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1B8F0DD8-A81A-C743-9EF8-AF87946044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2925" y="4209521"/>
            <a:ext cx="11020425" cy="1951567"/>
          </a:xfrm>
          <a:ln>
            <a:noFill/>
          </a:ln>
        </p:spPr>
        <p:txBody>
          <a:bodyPr>
            <a:noAutofit/>
          </a:bodyPr>
          <a:lstStyle/>
          <a:p>
            <a:pPr algn="ctr"/>
            <a:r>
              <a:rPr lang="en-US" dirty="0">
                <a:latin typeface="+mj-lt"/>
                <a:cs typeface="Arial" panose="020B0604020202020204" pitchFamily="34" charset="0"/>
              </a:rPr>
              <a:t>Turbocharging Chicago's tech economy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5046594" y="1372372"/>
            <a:ext cx="2013086" cy="2013086"/>
            <a:chOff x="10982096" y="5749761"/>
            <a:chExt cx="834761" cy="834761"/>
          </a:xfrm>
        </p:grpSpPr>
        <p:sp>
          <p:nvSpPr>
            <p:cNvPr id="8" name="object 6"/>
            <p:cNvSpPr/>
            <p:nvPr/>
          </p:nvSpPr>
          <p:spPr>
            <a:xfrm>
              <a:off x="10982096" y="5749761"/>
              <a:ext cx="834761" cy="834761"/>
            </a:xfrm>
            <a:custGeom>
              <a:avLst/>
              <a:gdLst/>
              <a:ahLst/>
              <a:cxnLst/>
              <a:rect l="l" t="t" r="r" b="b"/>
              <a:pathLst>
                <a:path w="1202055" h="1202054">
                  <a:moveTo>
                    <a:pt x="1201801" y="1201801"/>
                  </a:moveTo>
                  <a:lnTo>
                    <a:pt x="0" y="1201801"/>
                  </a:lnTo>
                  <a:lnTo>
                    <a:pt x="0" y="0"/>
                  </a:lnTo>
                  <a:lnTo>
                    <a:pt x="1201801" y="0"/>
                  </a:lnTo>
                  <a:lnTo>
                    <a:pt x="1201801" y="1201801"/>
                  </a:lnTo>
                  <a:close/>
                </a:path>
              </a:pathLst>
            </a:custGeom>
            <a:solidFill>
              <a:srgbClr val="91D7EC"/>
            </a:solidFill>
          </p:spPr>
          <p:txBody>
            <a:bodyPr wrap="square" lIns="0" tIns="0" rIns="0" bIns="0" rtlCol="0"/>
            <a:lstStyle/>
            <a:p>
              <a:pPr defTabSz="634950"/>
              <a:endParaRPr sz="125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" name="object 7"/>
            <p:cNvSpPr/>
            <p:nvPr/>
          </p:nvSpPr>
          <p:spPr>
            <a:xfrm>
              <a:off x="11087082" y="6451035"/>
              <a:ext cx="624857" cy="0"/>
            </a:xfrm>
            <a:custGeom>
              <a:avLst/>
              <a:gdLst/>
              <a:ahLst/>
              <a:cxnLst/>
              <a:rect l="l" t="t" r="r" b="b"/>
              <a:pathLst>
                <a:path w="899794">
                  <a:moveTo>
                    <a:pt x="0" y="0"/>
                  </a:moveTo>
                  <a:lnTo>
                    <a:pt x="899439" y="0"/>
                  </a:lnTo>
                </a:path>
              </a:pathLst>
            </a:custGeom>
            <a:ln w="8157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defTabSz="634950"/>
              <a:endParaRPr sz="125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" name="object 8"/>
            <p:cNvSpPr/>
            <p:nvPr/>
          </p:nvSpPr>
          <p:spPr>
            <a:xfrm>
              <a:off x="11087082" y="5883071"/>
              <a:ext cx="624857" cy="0"/>
            </a:xfrm>
            <a:custGeom>
              <a:avLst/>
              <a:gdLst/>
              <a:ahLst/>
              <a:cxnLst/>
              <a:rect l="l" t="t" r="r" b="b"/>
              <a:pathLst>
                <a:path w="899794">
                  <a:moveTo>
                    <a:pt x="0" y="0"/>
                  </a:moveTo>
                  <a:lnTo>
                    <a:pt x="899439" y="0"/>
                  </a:lnTo>
                </a:path>
              </a:pathLst>
            </a:custGeom>
            <a:ln w="8157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defTabSz="634950"/>
              <a:endParaRPr sz="125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1" name="object 9"/>
            <p:cNvSpPr/>
            <p:nvPr/>
          </p:nvSpPr>
          <p:spPr>
            <a:xfrm>
              <a:off x="11291686" y="6013253"/>
              <a:ext cx="199761" cy="307798"/>
            </a:xfrm>
            <a:custGeom>
              <a:avLst/>
              <a:gdLst/>
              <a:ahLst/>
              <a:cxnLst/>
              <a:rect l="l" t="t" r="r" b="b"/>
              <a:pathLst>
                <a:path w="287655" h="443229">
                  <a:moveTo>
                    <a:pt x="87121" y="296989"/>
                  </a:moveTo>
                  <a:lnTo>
                    <a:pt x="0" y="296989"/>
                  </a:lnTo>
                  <a:lnTo>
                    <a:pt x="673" y="311513"/>
                  </a:lnTo>
                  <a:lnTo>
                    <a:pt x="10769" y="352793"/>
                  </a:lnTo>
                  <a:lnTo>
                    <a:pt x="32347" y="389380"/>
                  </a:lnTo>
                  <a:lnTo>
                    <a:pt x="63769" y="418747"/>
                  </a:lnTo>
                  <a:lnTo>
                    <a:pt x="101638" y="436858"/>
                  </a:lnTo>
                  <a:lnTo>
                    <a:pt x="143408" y="442950"/>
                  </a:lnTo>
                  <a:lnTo>
                    <a:pt x="157744" y="442272"/>
                  </a:lnTo>
                  <a:lnTo>
                    <a:pt x="198666" y="432193"/>
                  </a:lnTo>
                  <a:lnTo>
                    <a:pt x="234859" y="410351"/>
                  </a:lnTo>
                  <a:lnTo>
                    <a:pt x="263074" y="378252"/>
                  </a:lnTo>
                  <a:lnTo>
                    <a:pt x="275657" y="354698"/>
                  </a:lnTo>
                  <a:lnTo>
                    <a:pt x="135521" y="354698"/>
                  </a:lnTo>
                  <a:lnTo>
                    <a:pt x="128206" y="353199"/>
                  </a:lnTo>
                  <a:lnTo>
                    <a:pt x="94627" y="326326"/>
                  </a:lnTo>
                  <a:lnTo>
                    <a:pt x="87165" y="305130"/>
                  </a:lnTo>
                  <a:lnTo>
                    <a:pt x="87121" y="296989"/>
                  </a:lnTo>
                  <a:close/>
                </a:path>
                <a:path w="287655" h="443229">
                  <a:moveTo>
                    <a:pt x="277698" y="0"/>
                  </a:moveTo>
                  <a:lnTo>
                    <a:pt x="31965" y="0"/>
                  </a:lnTo>
                  <a:lnTo>
                    <a:pt x="31965" y="88252"/>
                  </a:lnTo>
                  <a:lnTo>
                    <a:pt x="143979" y="88252"/>
                  </a:lnTo>
                  <a:lnTo>
                    <a:pt x="76873" y="239775"/>
                  </a:lnTo>
                  <a:lnTo>
                    <a:pt x="151244" y="239775"/>
                  </a:lnTo>
                  <a:lnTo>
                    <a:pt x="158648" y="241287"/>
                  </a:lnTo>
                  <a:lnTo>
                    <a:pt x="192747" y="268046"/>
                  </a:lnTo>
                  <a:lnTo>
                    <a:pt x="200266" y="289356"/>
                  </a:lnTo>
                  <a:lnTo>
                    <a:pt x="200266" y="305130"/>
                  </a:lnTo>
                  <a:lnTo>
                    <a:pt x="178587" y="343052"/>
                  </a:lnTo>
                  <a:lnTo>
                    <a:pt x="151295" y="354698"/>
                  </a:lnTo>
                  <a:lnTo>
                    <a:pt x="275657" y="354698"/>
                  </a:lnTo>
                  <a:lnTo>
                    <a:pt x="286628" y="312534"/>
                  </a:lnTo>
                  <a:lnTo>
                    <a:pt x="287388" y="297560"/>
                  </a:lnTo>
                  <a:lnTo>
                    <a:pt x="286692" y="283047"/>
                  </a:lnTo>
                  <a:lnTo>
                    <a:pt x="276263" y="241833"/>
                  </a:lnTo>
                  <a:lnTo>
                    <a:pt x="254647" y="205403"/>
                  </a:lnTo>
                  <a:lnTo>
                    <a:pt x="225577" y="178193"/>
                  </a:lnTo>
                  <a:lnTo>
                    <a:pt x="204228" y="165747"/>
                  </a:lnTo>
                  <a:lnTo>
                    <a:pt x="277698" y="0"/>
                  </a:lnTo>
                  <a:close/>
                </a:path>
              </a:pathLst>
            </a:custGeom>
            <a:solidFill>
              <a:srgbClr val="C73442"/>
            </a:solidFill>
          </p:spPr>
          <p:txBody>
            <a:bodyPr wrap="square" lIns="0" tIns="0" rIns="0" bIns="0" rtlCol="0"/>
            <a:lstStyle/>
            <a:p>
              <a:pPr defTabSz="634950"/>
              <a:endParaRPr sz="125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2" name="object 10"/>
            <p:cNvSpPr/>
            <p:nvPr/>
          </p:nvSpPr>
          <p:spPr>
            <a:xfrm>
              <a:off x="11511510" y="6013253"/>
              <a:ext cx="199761" cy="307798"/>
            </a:xfrm>
            <a:custGeom>
              <a:avLst/>
              <a:gdLst/>
              <a:ahLst/>
              <a:cxnLst/>
              <a:rect l="l" t="t" r="r" b="b"/>
              <a:pathLst>
                <a:path w="287655" h="443229">
                  <a:moveTo>
                    <a:pt x="87121" y="296989"/>
                  </a:moveTo>
                  <a:lnTo>
                    <a:pt x="0" y="296989"/>
                  </a:lnTo>
                  <a:lnTo>
                    <a:pt x="673" y="311513"/>
                  </a:lnTo>
                  <a:lnTo>
                    <a:pt x="10769" y="352793"/>
                  </a:lnTo>
                  <a:lnTo>
                    <a:pt x="32347" y="389380"/>
                  </a:lnTo>
                  <a:lnTo>
                    <a:pt x="63768" y="418747"/>
                  </a:lnTo>
                  <a:lnTo>
                    <a:pt x="101633" y="436858"/>
                  </a:lnTo>
                  <a:lnTo>
                    <a:pt x="143408" y="442950"/>
                  </a:lnTo>
                  <a:lnTo>
                    <a:pt x="157744" y="442272"/>
                  </a:lnTo>
                  <a:lnTo>
                    <a:pt x="198666" y="432193"/>
                  </a:lnTo>
                  <a:lnTo>
                    <a:pt x="234859" y="410351"/>
                  </a:lnTo>
                  <a:lnTo>
                    <a:pt x="263074" y="378252"/>
                  </a:lnTo>
                  <a:lnTo>
                    <a:pt x="275657" y="354698"/>
                  </a:lnTo>
                  <a:lnTo>
                    <a:pt x="135521" y="354698"/>
                  </a:lnTo>
                  <a:lnTo>
                    <a:pt x="128206" y="353199"/>
                  </a:lnTo>
                  <a:lnTo>
                    <a:pt x="94627" y="326326"/>
                  </a:lnTo>
                  <a:lnTo>
                    <a:pt x="87165" y="305130"/>
                  </a:lnTo>
                  <a:lnTo>
                    <a:pt x="87121" y="296989"/>
                  </a:lnTo>
                  <a:close/>
                </a:path>
                <a:path w="287655" h="443229">
                  <a:moveTo>
                    <a:pt x="277698" y="0"/>
                  </a:moveTo>
                  <a:lnTo>
                    <a:pt x="31965" y="0"/>
                  </a:lnTo>
                  <a:lnTo>
                    <a:pt x="31965" y="88252"/>
                  </a:lnTo>
                  <a:lnTo>
                    <a:pt x="143979" y="88252"/>
                  </a:lnTo>
                  <a:lnTo>
                    <a:pt x="76873" y="239775"/>
                  </a:lnTo>
                  <a:lnTo>
                    <a:pt x="151244" y="239775"/>
                  </a:lnTo>
                  <a:lnTo>
                    <a:pt x="158661" y="241287"/>
                  </a:lnTo>
                  <a:lnTo>
                    <a:pt x="192747" y="268046"/>
                  </a:lnTo>
                  <a:lnTo>
                    <a:pt x="200253" y="289356"/>
                  </a:lnTo>
                  <a:lnTo>
                    <a:pt x="200253" y="305130"/>
                  </a:lnTo>
                  <a:lnTo>
                    <a:pt x="178587" y="343052"/>
                  </a:lnTo>
                  <a:lnTo>
                    <a:pt x="151282" y="354698"/>
                  </a:lnTo>
                  <a:lnTo>
                    <a:pt x="275657" y="354698"/>
                  </a:lnTo>
                  <a:lnTo>
                    <a:pt x="286628" y="312534"/>
                  </a:lnTo>
                  <a:lnTo>
                    <a:pt x="287388" y="297560"/>
                  </a:lnTo>
                  <a:lnTo>
                    <a:pt x="286693" y="283047"/>
                  </a:lnTo>
                  <a:lnTo>
                    <a:pt x="276275" y="241833"/>
                  </a:lnTo>
                  <a:lnTo>
                    <a:pt x="254648" y="205403"/>
                  </a:lnTo>
                  <a:lnTo>
                    <a:pt x="225577" y="178193"/>
                  </a:lnTo>
                  <a:lnTo>
                    <a:pt x="204215" y="165747"/>
                  </a:lnTo>
                  <a:lnTo>
                    <a:pt x="277698" y="0"/>
                  </a:lnTo>
                  <a:close/>
                </a:path>
              </a:pathLst>
            </a:custGeom>
            <a:solidFill>
              <a:srgbClr val="C73442"/>
            </a:solidFill>
          </p:spPr>
          <p:txBody>
            <a:bodyPr wrap="square" lIns="0" tIns="0" rIns="0" bIns="0" rtlCol="0"/>
            <a:lstStyle/>
            <a:p>
              <a:pPr defTabSz="634950"/>
              <a:endParaRPr sz="125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3" name="object 11"/>
            <p:cNvSpPr/>
            <p:nvPr/>
          </p:nvSpPr>
          <p:spPr>
            <a:xfrm>
              <a:off x="11087695" y="6015417"/>
              <a:ext cx="204170" cy="303389"/>
            </a:xfrm>
            <a:custGeom>
              <a:avLst/>
              <a:gdLst/>
              <a:ahLst/>
              <a:cxnLst/>
              <a:rect l="l" t="t" r="r" b="b"/>
              <a:pathLst>
                <a:path w="294005" h="436879">
                  <a:moveTo>
                    <a:pt x="162204" y="0"/>
                  </a:moveTo>
                  <a:lnTo>
                    <a:pt x="0" y="0"/>
                  </a:lnTo>
                  <a:lnTo>
                    <a:pt x="0" y="436714"/>
                  </a:lnTo>
                  <a:lnTo>
                    <a:pt x="87121" y="436714"/>
                  </a:lnTo>
                  <a:lnTo>
                    <a:pt x="87121" y="262483"/>
                  </a:lnTo>
                  <a:lnTo>
                    <a:pt x="162204" y="262483"/>
                  </a:lnTo>
                  <a:lnTo>
                    <a:pt x="201028" y="256756"/>
                  </a:lnTo>
                  <a:lnTo>
                    <a:pt x="235399" y="240210"/>
                  </a:lnTo>
                  <a:lnTo>
                    <a:pt x="270678" y="204927"/>
                  </a:lnTo>
                  <a:lnTo>
                    <a:pt x="284996" y="177063"/>
                  </a:lnTo>
                  <a:lnTo>
                    <a:pt x="87121" y="177063"/>
                  </a:lnTo>
                  <a:lnTo>
                    <a:pt x="87121" y="85420"/>
                  </a:lnTo>
                  <a:lnTo>
                    <a:pt x="284911" y="85420"/>
                  </a:lnTo>
                  <a:lnTo>
                    <a:pt x="282981" y="80327"/>
                  </a:lnTo>
                  <a:lnTo>
                    <a:pt x="254698" y="38747"/>
                  </a:lnTo>
                  <a:lnTo>
                    <a:pt x="213118" y="10464"/>
                  </a:lnTo>
                  <a:lnTo>
                    <a:pt x="175572" y="654"/>
                  </a:lnTo>
                  <a:lnTo>
                    <a:pt x="162204" y="0"/>
                  </a:lnTo>
                  <a:close/>
                </a:path>
                <a:path w="294005" h="436879">
                  <a:moveTo>
                    <a:pt x="284911" y="85420"/>
                  </a:moveTo>
                  <a:lnTo>
                    <a:pt x="151460" y="85420"/>
                  </a:lnTo>
                  <a:lnTo>
                    <a:pt x="160475" y="86251"/>
                  </a:lnTo>
                  <a:lnTo>
                    <a:pt x="168854" y="88744"/>
                  </a:lnTo>
                  <a:lnTo>
                    <a:pt x="196433" y="122000"/>
                  </a:lnTo>
                  <a:lnTo>
                    <a:pt x="197281" y="131241"/>
                  </a:lnTo>
                  <a:lnTo>
                    <a:pt x="196433" y="140488"/>
                  </a:lnTo>
                  <a:lnTo>
                    <a:pt x="168854" y="173739"/>
                  </a:lnTo>
                  <a:lnTo>
                    <a:pt x="151460" y="177063"/>
                  </a:lnTo>
                  <a:lnTo>
                    <a:pt x="284996" y="177063"/>
                  </a:lnTo>
                  <a:lnTo>
                    <a:pt x="287563" y="170219"/>
                  </a:lnTo>
                  <a:lnTo>
                    <a:pt x="290833" y="157614"/>
                  </a:lnTo>
                  <a:lnTo>
                    <a:pt x="292793" y="144621"/>
                  </a:lnTo>
                  <a:lnTo>
                    <a:pt x="293446" y="131241"/>
                  </a:lnTo>
                  <a:lnTo>
                    <a:pt x="292793" y="117878"/>
                  </a:lnTo>
                  <a:lnTo>
                    <a:pt x="290833" y="104936"/>
                  </a:lnTo>
                  <a:lnTo>
                    <a:pt x="287563" y="92419"/>
                  </a:lnTo>
                  <a:lnTo>
                    <a:pt x="284911" y="8542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634950"/>
              <a:endParaRPr sz="1250" dirty="0">
                <a:solidFill>
                  <a:prstClr val="black"/>
                </a:solidFill>
                <a:latin typeface="Calibri"/>
              </a:endParaRPr>
            </a:p>
          </p:txBody>
        </p:sp>
      </p:grp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99907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117" name="think-cell Slide" r:id="rId8" imgW="352" imgH="355" progId="TCLayout.ActiveDocument.1">
                  <p:embed/>
                </p:oleObj>
              </mc:Choice>
              <mc:Fallback>
                <p:oleObj name="think-cell Slide" r:id="rId8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04246214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29062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78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/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400" dirty="0" smtClean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775597"/>
          </a:xfrm>
        </p:spPr>
        <p:txBody>
          <a:bodyPr/>
          <a:lstStyle/>
          <a:p>
            <a:r>
              <a:rPr lang="en-US" sz="2800" dirty="0" smtClean="0"/>
              <a:t>Life and health sciences is an attractive cluster to target…</a:t>
            </a:r>
            <a:endParaRPr lang="en-US" sz="2800" dirty="0"/>
          </a:p>
        </p:txBody>
      </p:sp>
      <p:sp>
        <p:nvSpPr>
          <p:cNvPr id="73" name="Rectangle 72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 smtClean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30000" y="3628064"/>
            <a:ext cx="2620708" cy="49244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b="1" dirty="0" smtClean="0">
                <a:solidFill>
                  <a:srgbClr val="1F4174"/>
                </a:solidFill>
                <a:latin typeface="+mj-lt"/>
                <a:cs typeface="Arial" panose="020B0604020202020204" pitchFamily="34" charset="0"/>
              </a:rPr>
              <a:t>Large market for Life and Health Sciences</a:t>
            </a:r>
            <a:endParaRPr lang="en-US" sz="1600" dirty="0">
              <a:solidFill>
                <a:srgbClr val="1F417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630000" y="4261296"/>
            <a:ext cx="2620708" cy="123110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dirty="0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$</a:t>
            </a: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5</a:t>
            </a:r>
            <a:r>
              <a:rPr lang="en-US" sz="1600" dirty="0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+ revenues</a:t>
            </a:r>
            <a:br>
              <a:rPr lang="en-US" sz="1600" dirty="0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dirty="0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cted globally</a:t>
            </a:r>
            <a:br>
              <a:rPr lang="en-US" sz="1600" dirty="0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dirty="0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y 2022; $80 billion</a:t>
            </a:r>
            <a:br>
              <a:rPr lang="en-US" sz="1600" dirty="0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dirty="0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economic impact</a:t>
            </a:r>
            <a:br>
              <a:rPr lang="en-US" sz="1600" dirty="0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dirty="0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Illinois</a:t>
            </a:r>
            <a:endParaRPr lang="en-US" sz="1600" dirty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3400881" y="3628064"/>
            <a:ext cx="2620708" cy="49244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b="1" dirty="0" smtClean="0">
                <a:solidFill>
                  <a:srgbClr val="1F4174"/>
                </a:solidFill>
                <a:latin typeface="+mj-lt"/>
                <a:cs typeface="Arial" panose="020B0604020202020204" pitchFamily="34" charset="0"/>
              </a:rPr>
              <a:t>Inclusive</a:t>
            </a:r>
            <a:br>
              <a:rPr lang="en-US" sz="1600" b="1" dirty="0" smtClean="0">
                <a:solidFill>
                  <a:srgbClr val="1F4174"/>
                </a:solidFill>
                <a:latin typeface="+mj-lt"/>
                <a:cs typeface="Arial" panose="020B0604020202020204" pitchFamily="34" charset="0"/>
              </a:rPr>
            </a:br>
            <a:r>
              <a:rPr lang="en-US" sz="1600" b="1" dirty="0" smtClean="0">
                <a:solidFill>
                  <a:srgbClr val="1F4174"/>
                </a:solidFill>
                <a:latin typeface="+mj-lt"/>
                <a:cs typeface="Arial" panose="020B0604020202020204" pitchFamily="34" charset="0"/>
              </a:rPr>
              <a:t>workforce</a:t>
            </a:r>
            <a:r>
              <a:rPr lang="en-US" sz="1600" b="1" dirty="0">
                <a:solidFill>
                  <a:srgbClr val="1F4174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600" b="1" dirty="0" smtClean="0">
                <a:solidFill>
                  <a:srgbClr val="1F4174"/>
                </a:solidFill>
                <a:latin typeface="+mj-lt"/>
                <a:cs typeface="Arial" panose="020B0604020202020204" pitchFamily="34" charset="0"/>
              </a:rPr>
              <a:t>engine</a:t>
            </a:r>
            <a:endParaRPr lang="en-US" sz="1600" dirty="0">
              <a:solidFill>
                <a:srgbClr val="1F417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3400881" y="4261296"/>
            <a:ext cx="2620708" cy="123110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% growth in biosciences jobs since 2001 vs. 10% overall private sector; </a:t>
            </a:r>
            <a:b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5 new jobs created</a:t>
            </a:r>
            <a:b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every 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</a:t>
            </a: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e science job</a:t>
            </a:r>
            <a:endParaRPr lang="en-US" sz="16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6171762" y="3628064"/>
            <a:ext cx="2620708" cy="49244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b="1" dirty="0" smtClean="0">
                <a:solidFill>
                  <a:srgbClr val="1F4174"/>
                </a:solidFill>
                <a:latin typeface="+mj-lt"/>
                <a:cs typeface="Arial" panose="020B0604020202020204" pitchFamily="34" charset="0"/>
              </a:rPr>
              <a:t>High return on</a:t>
            </a:r>
            <a:br>
              <a:rPr lang="en-US" sz="1600" b="1" dirty="0" smtClean="0">
                <a:solidFill>
                  <a:srgbClr val="1F4174"/>
                </a:solidFill>
                <a:latin typeface="+mj-lt"/>
                <a:cs typeface="Arial" panose="020B0604020202020204" pitchFamily="34" charset="0"/>
              </a:rPr>
            </a:br>
            <a:r>
              <a:rPr lang="en-US" sz="1600" b="1" dirty="0" smtClean="0">
                <a:solidFill>
                  <a:srgbClr val="1F4174"/>
                </a:solidFill>
                <a:latin typeface="+mj-lt"/>
                <a:cs typeface="Arial" panose="020B0604020202020204" pitchFamily="34" charset="0"/>
              </a:rPr>
              <a:t>public investment</a:t>
            </a:r>
            <a:endParaRPr lang="en-US" sz="1600" dirty="0">
              <a:solidFill>
                <a:srgbClr val="1F417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6171762" y="4261296"/>
            <a:ext cx="2620708" cy="123110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ian exit valuation</a:t>
            </a:r>
            <a:b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healthcare startups consistently exceeds</a:t>
            </a:r>
            <a:b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ital and tech ventures</a:t>
            </a:r>
            <a:b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$212M vs. $133M)</a:t>
            </a:r>
            <a:r>
              <a:rPr lang="en-US" sz="1600" baseline="30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en-US" sz="16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8942642" y="3628064"/>
            <a:ext cx="2620708" cy="49244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b="1" dirty="0" smtClean="0">
                <a:solidFill>
                  <a:srgbClr val="1F4174"/>
                </a:solidFill>
                <a:latin typeface="+mj-lt"/>
                <a:cs typeface="Arial" panose="020B0604020202020204" pitchFamily="34" charset="0"/>
              </a:rPr>
              <a:t>Pressure to control healthcare costs</a:t>
            </a:r>
            <a:endParaRPr lang="en-US" sz="1600" dirty="0">
              <a:solidFill>
                <a:srgbClr val="1F417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8942642" y="4261296"/>
            <a:ext cx="2620708" cy="123110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ose that lead the shift</a:t>
            </a:r>
            <a:b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outcome-based reimbursement and preventative care will</a:t>
            </a:r>
            <a:b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e strong gains</a:t>
            </a:r>
            <a:r>
              <a:rPr lang="en-US" sz="1600" baseline="30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sz="16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ee4pFootnotes"/>
          <p:cNvSpPr>
            <a:spLocks noChangeArrowheads="1"/>
          </p:cNvSpPr>
          <p:nvPr/>
        </p:nvSpPr>
        <p:spPr bwMode="auto">
          <a:xfrm>
            <a:off x="630000" y="6291733"/>
            <a:ext cx="10215800" cy="2769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 smtClean="0">
                <a:solidFill>
                  <a:srgbClr val="000000"/>
                </a:solidFill>
                <a:sym typeface="+mn-lt"/>
              </a:rPr>
              <a:t>1. </a:t>
            </a:r>
            <a:r>
              <a:rPr lang="en-US" sz="1000" dirty="0">
                <a:solidFill>
                  <a:srgbClr val="000000"/>
                </a:solidFill>
                <a:sym typeface="+mn-lt"/>
              </a:rPr>
              <a:t>Average over 2012-2016; </a:t>
            </a:r>
            <a:r>
              <a:rPr lang="en-US" sz="1000" dirty="0" smtClean="0">
                <a:solidFill>
                  <a:srgbClr val="000000"/>
                </a:solidFill>
                <a:sym typeface="+mn-lt"/>
              </a:rPr>
              <a:t>2. </a:t>
            </a:r>
            <a:r>
              <a:rPr lang="en-US" sz="1000" dirty="0">
                <a:solidFill>
                  <a:srgbClr val="000000"/>
                </a:solidFill>
                <a:sym typeface="+mn-lt"/>
              </a:rPr>
              <a:t>Many states struggle with high healthcare costs, Illinois' budget contributing up to 20</a:t>
            </a:r>
            <a:r>
              <a:rPr lang="en-US" sz="1000" dirty="0" smtClean="0">
                <a:solidFill>
                  <a:srgbClr val="000000"/>
                </a:solidFill>
                <a:sym typeface="+mn-lt"/>
              </a:rPr>
              <a:t>% </a:t>
            </a:r>
          </a:p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000000"/>
                </a:solidFill>
                <a:sym typeface="+mn-lt"/>
              </a:rPr>
              <a:t>Source: </a:t>
            </a:r>
            <a:r>
              <a:rPr lang="en-US" sz="1000" dirty="0" smtClean="0">
                <a:solidFill>
                  <a:srgbClr val="000000"/>
                </a:solidFill>
                <a:sym typeface="+mn-lt"/>
              </a:rPr>
              <a:t>Frost </a:t>
            </a:r>
            <a:r>
              <a:rPr lang="en-US" sz="1000" dirty="0">
                <a:solidFill>
                  <a:srgbClr val="000000"/>
                </a:solidFill>
                <a:sym typeface="+mn-lt"/>
              </a:rPr>
              <a:t>&amp; Sullivan; Matter economic development white paper; Investment, Innovation and Job Creation in a Growing U.S. Bioscience Industry. </a:t>
            </a:r>
            <a:r>
              <a:rPr lang="en-US" sz="1000" dirty="0" err="1">
                <a:solidFill>
                  <a:srgbClr val="000000"/>
                </a:solidFill>
                <a:sym typeface="+mn-lt"/>
              </a:rPr>
              <a:t>TEConomy</a:t>
            </a:r>
            <a:r>
              <a:rPr lang="en-US" sz="1000" dirty="0">
                <a:solidFill>
                  <a:srgbClr val="000000"/>
                </a:solidFill>
                <a:sym typeface="+mn-lt"/>
              </a:rPr>
              <a:t> (</a:t>
            </a:r>
            <a:r>
              <a:rPr lang="en-US" sz="1000" dirty="0" smtClean="0">
                <a:solidFill>
                  <a:srgbClr val="000000"/>
                </a:solidFill>
                <a:sym typeface="+mn-lt"/>
              </a:rPr>
              <a:t>2018)</a:t>
            </a:r>
            <a:endParaRPr lang="en-US" sz="1000" dirty="0">
              <a:solidFill>
                <a:srgbClr val="000000"/>
              </a:solidFill>
              <a:sym typeface="+mn-lt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630000" y="2076118"/>
            <a:ext cx="1237728" cy="1237728"/>
            <a:chOff x="630000" y="2076118"/>
            <a:chExt cx="1237728" cy="1237728"/>
          </a:xfrm>
        </p:grpSpPr>
        <p:sp>
          <p:nvSpPr>
            <p:cNvPr id="55" name="Oval 54"/>
            <p:cNvSpPr/>
            <p:nvPr/>
          </p:nvSpPr>
          <p:spPr>
            <a:xfrm>
              <a:off x="630000" y="2076118"/>
              <a:ext cx="1237728" cy="1237728"/>
            </a:xfrm>
            <a:prstGeom prst="ellipse">
              <a:avLst/>
            </a:prstGeom>
            <a:solidFill>
              <a:srgbClr val="FFFFFF"/>
            </a:solidFill>
            <a:ln w="3810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kern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74" name="Group 73"/>
            <p:cNvGrpSpPr>
              <a:grpSpLocks noChangeAspect="1"/>
            </p:cNvGrpSpPr>
            <p:nvPr/>
          </p:nvGrpSpPr>
          <p:grpSpPr>
            <a:xfrm>
              <a:off x="791223" y="2237782"/>
              <a:ext cx="915283" cy="914400"/>
              <a:chOff x="6464300" y="2606675"/>
              <a:chExt cx="1646238" cy="1644650"/>
            </a:xfrm>
          </p:grpSpPr>
          <p:sp>
            <p:nvSpPr>
              <p:cNvPr id="75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464300" y="2606675"/>
                <a:ext cx="1646238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76" name="Group 75"/>
              <p:cNvGrpSpPr/>
              <p:nvPr/>
            </p:nvGrpSpPr>
            <p:grpSpPr>
              <a:xfrm>
                <a:off x="6635750" y="2962275"/>
                <a:ext cx="1304925" cy="931863"/>
                <a:chOff x="6635750" y="2962275"/>
                <a:chExt cx="1304925" cy="931863"/>
              </a:xfrm>
            </p:grpSpPr>
            <p:sp>
              <p:nvSpPr>
                <p:cNvPr id="77" name="Freeform 76"/>
                <p:cNvSpPr>
                  <a:spLocks/>
                </p:cNvSpPr>
                <p:nvPr/>
              </p:nvSpPr>
              <p:spPr bwMode="auto">
                <a:xfrm>
                  <a:off x="6635750" y="2962275"/>
                  <a:ext cx="1304925" cy="931863"/>
                </a:xfrm>
                <a:custGeom>
                  <a:avLst/>
                  <a:gdLst>
                    <a:gd name="connsiteX0" fmla="*/ 1227594 w 1304925"/>
                    <a:gd name="connsiteY0" fmla="*/ 90488 h 931863"/>
                    <a:gd name="connsiteX1" fmla="*/ 1242612 w 1304925"/>
                    <a:gd name="connsiteY1" fmla="*/ 110474 h 931863"/>
                    <a:gd name="connsiteX2" fmla="*/ 1176819 w 1304925"/>
                    <a:gd name="connsiteY2" fmla="*/ 338167 h 931863"/>
                    <a:gd name="connsiteX3" fmla="*/ 1166807 w 1304925"/>
                    <a:gd name="connsiteY3" fmla="*/ 346018 h 931863"/>
                    <a:gd name="connsiteX4" fmla="*/ 1159656 w 1304925"/>
                    <a:gd name="connsiteY4" fmla="*/ 343163 h 931863"/>
                    <a:gd name="connsiteX5" fmla="*/ 1109596 w 1304925"/>
                    <a:gd name="connsiteY5" fmla="*/ 302478 h 931863"/>
                    <a:gd name="connsiteX6" fmla="*/ 1103160 w 1304925"/>
                    <a:gd name="connsiteY6" fmla="*/ 300337 h 931863"/>
                    <a:gd name="connsiteX7" fmla="*/ 1094578 w 1304925"/>
                    <a:gd name="connsiteY7" fmla="*/ 303906 h 931863"/>
                    <a:gd name="connsiteX8" fmla="*/ 1065972 w 1304925"/>
                    <a:gd name="connsiteY8" fmla="*/ 335312 h 931863"/>
                    <a:gd name="connsiteX9" fmla="*/ 920084 w 1304925"/>
                    <a:gd name="connsiteY9" fmla="*/ 503048 h 931863"/>
                    <a:gd name="connsiteX10" fmla="*/ 911502 w 1304925"/>
                    <a:gd name="connsiteY10" fmla="*/ 506617 h 931863"/>
                    <a:gd name="connsiteX11" fmla="*/ 905781 w 1304925"/>
                    <a:gd name="connsiteY11" fmla="*/ 505190 h 931863"/>
                    <a:gd name="connsiteX12" fmla="*/ 892193 w 1304925"/>
                    <a:gd name="connsiteY12" fmla="*/ 495911 h 931863"/>
                    <a:gd name="connsiteX13" fmla="*/ 866448 w 1304925"/>
                    <a:gd name="connsiteY13" fmla="*/ 480208 h 931863"/>
                    <a:gd name="connsiteX14" fmla="*/ 865733 w 1304925"/>
                    <a:gd name="connsiteY14" fmla="*/ 480208 h 931863"/>
                    <a:gd name="connsiteX15" fmla="*/ 727710 w 1304925"/>
                    <a:gd name="connsiteY15" fmla="*/ 386703 h 931863"/>
                    <a:gd name="connsiteX16" fmla="*/ 721274 w 1304925"/>
                    <a:gd name="connsiteY16" fmla="*/ 384562 h 931863"/>
                    <a:gd name="connsiteX17" fmla="*/ 713407 w 1304925"/>
                    <a:gd name="connsiteY17" fmla="*/ 388131 h 931863"/>
                    <a:gd name="connsiteX18" fmla="*/ 691238 w 1304925"/>
                    <a:gd name="connsiteY18" fmla="*/ 410972 h 931863"/>
                    <a:gd name="connsiteX19" fmla="*/ 665493 w 1304925"/>
                    <a:gd name="connsiteY19" fmla="*/ 439523 h 931863"/>
                    <a:gd name="connsiteX20" fmla="*/ 488853 w 1304925"/>
                    <a:gd name="connsiteY20" fmla="*/ 623676 h 931863"/>
                    <a:gd name="connsiteX21" fmla="*/ 468829 w 1304925"/>
                    <a:gd name="connsiteY21" fmla="*/ 645089 h 931863"/>
                    <a:gd name="connsiteX22" fmla="*/ 456672 w 1304925"/>
                    <a:gd name="connsiteY22" fmla="*/ 650085 h 931863"/>
                    <a:gd name="connsiteX23" fmla="*/ 449520 w 1304925"/>
                    <a:gd name="connsiteY23" fmla="*/ 648658 h 931863"/>
                    <a:gd name="connsiteX24" fmla="*/ 303631 w 1304925"/>
                    <a:gd name="connsiteY24" fmla="*/ 580136 h 931863"/>
                    <a:gd name="connsiteX25" fmla="*/ 299340 w 1304925"/>
                    <a:gd name="connsiteY25" fmla="*/ 579422 h 931863"/>
                    <a:gd name="connsiteX26" fmla="*/ 290044 w 1304925"/>
                    <a:gd name="connsiteY26" fmla="*/ 582991 h 931863"/>
                    <a:gd name="connsiteX27" fmla="*/ 284322 w 1304925"/>
                    <a:gd name="connsiteY27" fmla="*/ 590842 h 931863"/>
                    <a:gd name="connsiteX28" fmla="*/ 256432 w 1304925"/>
                    <a:gd name="connsiteY28" fmla="*/ 622248 h 931863"/>
                    <a:gd name="connsiteX29" fmla="*/ 81937 w 1304925"/>
                    <a:gd name="connsiteY29" fmla="*/ 817822 h 931863"/>
                    <a:gd name="connsiteX30" fmla="*/ 61913 w 1304925"/>
                    <a:gd name="connsiteY30" fmla="*/ 841376 h 931863"/>
                    <a:gd name="connsiteX31" fmla="*/ 81937 w 1304925"/>
                    <a:gd name="connsiteY31" fmla="*/ 814967 h 931863"/>
                    <a:gd name="connsiteX32" fmla="*/ 256432 w 1304925"/>
                    <a:gd name="connsiteY32" fmla="*/ 582991 h 931863"/>
                    <a:gd name="connsiteX33" fmla="*/ 279316 w 1304925"/>
                    <a:gd name="connsiteY33" fmla="*/ 553012 h 931863"/>
                    <a:gd name="connsiteX34" fmla="*/ 288613 w 1304925"/>
                    <a:gd name="connsiteY34" fmla="*/ 548730 h 931863"/>
                    <a:gd name="connsiteX35" fmla="*/ 292189 w 1304925"/>
                    <a:gd name="connsiteY35" fmla="*/ 549443 h 931863"/>
                    <a:gd name="connsiteX36" fmla="*/ 445229 w 1304925"/>
                    <a:gd name="connsiteY36" fmla="*/ 605118 h 931863"/>
                    <a:gd name="connsiteX37" fmla="*/ 449520 w 1304925"/>
                    <a:gd name="connsiteY37" fmla="*/ 605831 h 931863"/>
                    <a:gd name="connsiteX38" fmla="*/ 457387 w 1304925"/>
                    <a:gd name="connsiteY38" fmla="*/ 601549 h 931863"/>
                    <a:gd name="connsiteX39" fmla="*/ 488853 w 1304925"/>
                    <a:gd name="connsiteY39" fmla="*/ 563719 h 931863"/>
                    <a:gd name="connsiteX40" fmla="*/ 665493 w 1304925"/>
                    <a:gd name="connsiteY40" fmla="*/ 356011 h 931863"/>
                    <a:gd name="connsiteX41" fmla="*/ 691238 w 1304925"/>
                    <a:gd name="connsiteY41" fmla="*/ 324605 h 931863"/>
                    <a:gd name="connsiteX42" fmla="*/ 701965 w 1304925"/>
                    <a:gd name="connsiteY42" fmla="*/ 311044 h 931863"/>
                    <a:gd name="connsiteX43" fmla="*/ 710547 w 1304925"/>
                    <a:gd name="connsiteY43" fmla="*/ 307475 h 931863"/>
                    <a:gd name="connsiteX44" fmla="*/ 716268 w 1304925"/>
                    <a:gd name="connsiteY44" fmla="*/ 308902 h 931863"/>
                    <a:gd name="connsiteX45" fmla="*/ 866448 w 1304925"/>
                    <a:gd name="connsiteY45" fmla="*/ 398124 h 931863"/>
                    <a:gd name="connsiteX46" fmla="*/ 892193 w 1304925"/>
                    <a:gd name="connsiteY46" fmla="*/ 413827 h 931863"/>
                    <a:gd name="connsiteX47" fmla="*/ 892193 w 1304925"/>
                    <a:gd name="connsiteY47" fmla="*/ 414541 h 931863"/>
                    <a:gd name="connsiteX48" fmla="*/ 897914 w 1304925"/>
                    <a:gd name="connsiteY48" fmla="*/ 415968 h 931863"/>
                    <a:gd name="connsiteX49" fmla="*/ 906496 w 1304925"/>
                    <a:gd name="connsiteY49" fmla="*/ 411685 h 931863"/>
                    <a:gd name="connsiteX50" fmla="*/ 1037367 w 1304925"/>
                    <a:gd name="connsiteY50" fmla="*/ 258225 h 931863"/>
                    <a:gd name="connsiteX51" fmla="*/ 1035221 w 1304925"/>
                    <a:gd name="connsiteY51" fmla="*/ 243949 h 931863"/>
                    <a:gd name="connsiteX52" fmla="*/ 986592 w 1304925"/>
                    <a:gd name="connsiteY52" fmla="*/ 207547 h 931863"/>
                    <a:gd name="connsiteX53" fmla="*/ 988737 w 1304925"/>
                    <a:gd name="connsiteY53" fmla="*/ 189702 h 931863"/>
                    <a:gd name="connsiteX54" fmla="*/ 999464 w 1304925"/>
                    <a:gd name="connsiteY54" fmla="*/ 185420 h 931863"/>
                    <a:gd name="connsiteX55" fmla="*/ 1220443 w 1304925"/>
                    <a:gd name="connsiteY55" fmla="*/ 91916 h 931863"/>
                    <a:gd name="connsiteX56" fmla="*/ 1227594 w 1304925"/>
                    <a:gd name="connsiteY56" fmla="*/ 90488 h 931863"/>
                    <a:gd name="connsiteX57" fmla="*/ 30163 w 1304925"/>
                    <a:gd name="connsiteY57" fmla="*/ 31750 h 931863"/>
                    <a:gd name="connsiteX58" fmla="*/ 30163 w 1304925"/>
                    <a:gd name="connsiteY58" fmla="*/ 900113 h 931863"/>
                    <a:gd name="connsiteX59" fmla="*/ 1274763 w 1304925"/>
                    <a:gd name="connsiteY59" fmla="*/ 900113 h 931863"/>
                    <a:gd name="connsiteX60" fmla="*/ 1274763 w 1304925"/>
                    <a:gd name="connsiteY60" fmla="*/ 31750 h 931863"/>
                    <a:gd name="connsiteX61" fmla="*/ 30163 w 1304925"/>
                    <a:gd name="connsiteY61" fmla="*/ 31750 h 931863"/>
                    <a:gd name="connsiteX62" fmla="*/ 15705 w 1304925"/>
                    <a:gd name="connsiteY62" fmla="*/ 0 h 931863"/>
                    <a:gd name="connsiteX63" fmla="*/ 1289220 w 1304925"/>
                    <a:gd name="connsiteY63" fmla="*/ 0 h 931863"/>
                    <a:gd name="connsiteX64" fmla="*/ 1304925 w 1304925"/>
                    <a:gd name="connsiteY64" fmla="*/ 15698 h 931863"/>
                    <a:gd name="connsiteX65" fmla="*/ 1304925 w 1304925"/>
                    <a:gd name="connsiteY65" fmla="*/ 916166 h 931863"/>
                    <a:gd name="connsiteX66" fmla="*/ 1289220 w 1304925"/>
                    <a:gd name="connsiteY66" fmla="*/ 931863 h 931863"/>
                    <a:gd name="connsiteX67" fmla="*/ 15705 w 1304925"/>
                    <a:gd name="connsiteY67" fmla="*/ 931863 h 931863"/>
                    <a:gd name="connsiteX68" fmla="*/ 0 w 1304925"/>
                    <a:gd name="connsiteY68" fmla="*/ 916166 h 931863"/>
                    <a:gd name="connsiteX69" fmla="*/ 0 w 1304925"/>
                    <a:gd name="connsiteY69" fmla="*/ 15698 h 931863"/>
                    <a:gd name="connsiteX70" fmla="*/ 15705 w 1304925"/>
                    <a:gd name="connsiteY70" fmla="*/ 0 h 9318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</a:cxnLst>
                  <a:rect l="l" t="t" r="r" b="b"/>
                  <a:pathLst>
                    <a:path w="1304925" h="931863">
                      <a:moveTo>
                        <a:pt x="1227594" y="90488"/>
                      </a:moveTo>
                      <a:cubicBezTo>
                        <a:pt x="1237606" y="90488"/>
                        <a:pt x="1246188" y="100481"/>
                        <a:pt x="1242612" y="110474"/>
                      </a:cubicBezTo>
                      <a:cubicBezTo>
                        <a:pt x="1242612" y="110474"/>
                        <a:pt x="1242612" y="110474"/>
                        <a:pt x="1176819" y="338167"/>
                      </a:cubicBezTo>
                      <a:cubicBezTo>
                        <a:pt x="1175389" y="343163"/>
                        <a:pt x="1171813" y="346018"/>
                        <a:pt x="1166807" y="346018"/>
                      </a:cubicBezTo>
                      <a:cubicBezTo>
                        <a:pt x="1164662" y="346018"/>
                        <a:pt x="1161801" y="345305"/>
                        <a:pt x="1159656" y="343163"/>
                      </a:cubicBezTo>
                      <a:cubicBezTo>
                        <a:pt x="1159656" y="343163"/>
                        <a:pt x="1159656" y="343163"/>
                        <a:pt x="1109596" y="302478"/>
                      </a:cubicBezTo>
                      <a:cubicBezTo>
                        <a:pt x="1108166" y="301051"/>
                        <a:pt x="1105305" y="300337"/>
                        <a:pt x="1103160" y="300337"/>
                      </a:cubicBezTo>
                      <a:cubicBezTo>
                        <a:pt x="1100299" y="300337"/>
                        <a:pt x="1096724" y="301765"/>
                        <a:pt x="1094578" y="303906"/>
                      </a:cubicBezTo>
                      <a:cubicBezTo>
                        <a:pt x="1094578" y="303906"/>
                        <a:pt x="1094578" y="303906"/>
                        <a:pt x="1065972" y="335312"/>
                      </a:cubicBezTo>
                      <a:cubicBezTo>
                        <a:pt x="1065972" y="335312"/>
                        <a:pt x="1065972" y="335312"/>
                        <a:pt x="920084" y="503048"/>
                      </a:cubicBezTo>
                      <a:cubicBezTo>
                        <a:pt x="917938" y="505903"/>
                        <a:pt x="915078" y="506617"/>
                        <a:pt x="911502" y="506617"/>
                      </a:cubicBezTo>
                      <a:cubicBezTo>
                        <a:pt x="910072" y="506617"/>
                        <a:pt x="907926" y="506617"/>
                        <a:pt x="905781" y="505190"/>
                      </a:cubicBezTo>
                      <a:cubicBezTo>
                        <a:pt x="905781" y="505190"/>
                        <a:pt x="905781" y="505190"/>
                        <a:pt x="892193" y="495911"/>
                      </a:cubicBezTo>
                      <a:cubicBezTo>
                        <a:pt x="892193" y="495911"/>
                        <a:pt x="892193" y="495911"/>
                        <a:pt x="866448" y="480208"/>
                      </a:cubicBezTo>
                      <a:cubicBezTo>
                        <a:pt x="866448" y="480208"/>
                        <a:pt x="866448" y="480208"/>
                        <a:pt x="865733" y="480208"/>
                      </a:cubicBezTo>
                      <a:cubicBezTo>
                        <a:pt x="865733" y="480208"/>
                        <a:pt x="865733" y="480208"/>
                        <a:pt x="727710" y="386703"/>
                      </a:cubicBezTo>
                      <a:cubicBezTo>
                        <a:pt x="725565" y="385276"/>
                        <a:pt x="723419" y="384562"/>
                        <a:pt x="721274" y="384562"/>
                      </a:cubicBezTo>
                      <a:cubicBezTo>
                        <a:pt x="718413" y="384562"/>
                        <a:pt x="715553" y="385990"/>
                        <a:pt x="713407" y="388131"/>
                      </a:cubicBezTo>
                      <a:cubicBezTo>
                        <a:pt x="713407" y="388131"/>
                        <a:pt x="713407" y="388131"/>
                        <a:pt x="691238" y="410972"/>
                      </a:cubicBezTo>
                      <a:cubicBezTo>
                        <a:pt x="691238" y="410972"/>
                        <a:pt x="691238" y="410972"/>
                        <a:pt x="665493" y="439523"/>
                      </a:cubicBezTo>
                      <a:cubicBezTo>
                        <a:pt x="665493" y="439523"/>
                        <a:pt x="665493" y="439523"/>
                        <a:pt x="488853" y="623676"/>
                      </a:cubicBezTo>
                      <a:cubicBezTo>
                        <a:pt x="488853" y="623676"/>
                        <a:pt x="488853" y="623676"/>
                        <a:pt x="468829" y="645089"/>
                      </a:cubicBezTo>
                      <a:cubicBezTo>
                        <a:pt x="465968" y="648658"/>
                        <a:pt x="461678" y="650085"/>
                        <a:pt x="456672" y="650085"/>
                      </a:cubicBezTo>
                      <a:cubicBezTo>
                        <a:pt x="454526" y="650085"/>
                        <a:pt x="451666" y="649372"/>
                        <a:pt x="449520" y="648658"/>
                      </a:cubicBezTo>
                      <a:cubicBezTo>
                        <a:pt x="449520" y="648658"/>
                        <a:pt x="449520" y="648658"/>
                        <a:pt x="303631" y="580136"/>
                      </a:cubicBezTo>
                      <a:cubicBezTo>
                        <a:pt x="302201" y="579422"/>
                        <a:pt x="300771" y="579422"/>
                        <a:pt x="299340" y="579422"/>
                      </a:cubicBezTo>
                      <a:cubicBezTo>
                        <a:pt x="295765" y="579422"/>
                        <a:pt x="292189" y="580849"/>
                        <a:pt x="290044" y="582991"/>
                      </a:cubicBezTo>
                      <a:cubicBezTo>
                        <a:pt x="290044" y="582991"/>
                        <a:pt x="290044" y="582991"/>
                        <a:pt x="284322" y="590842"/>
                      </a:cubicBezTo>
                      <a:cubicBezTo>
                        <a:pt x="284322" y="590842"/>
                        <a:pt x="284322" y="590842"/>
                        <a:pt x="256432" y="622248"/>
                      </a:cubicBezTo>
                      <a:cubicBezTo>
                        <a:pt x="256432" y="622248"/>
                        <a:pt x="256432" y="622248"/>
                        <a:pt x="81937" y="817822"/>
                      </a:cubicBezTo>
                      <a:cubicBezTo>
                        <a:pt x="81937" y="817822"/>
                        <a:pt x="81937" y="817822"/>
                        <a:pt x="61913" y="841376"/>
                      </a:cubicBezTo>
                      <a:cubicBezTo>
                        <a:pt x="61913" y="841376"/>
                        <a:pt x="61913" y="841376"/>
                        <a:pt x="81937" y="814967"/>
                      </a:cubicBezTo>
                      <a:cubicBezTo>
                        <a:pt x="81937" y="814967"/>
                        <a:pt x="81937" y="814967"/>
                        <a:pt x="256432" y="582991"/>
                      </a:cubicBezTo>
                      <a:cubicBezTo>
                        <a:pt x="256432" y="582991"/>
                        <a:pt x="256432" y="582991"/>
                        <a:pt x="279316" y="553012"/>
                      </a:cubicBezTo>
                      <a:cubicBezTo>
                        <a:pt x="281462" y="550157"/>
                        <a:pt x="285038" y="548730"/>
                        <a:pt x="288613" y="548730"/>
                      </a:cubicBezTo>
                      <a:cubicBezTo>
                        <a:pt x="289328" y="548730"/>
                        <a:pt x="290759" y="548730"/>
                        <a:pt x="292189" y="549443"/>
                      </a:cubicBezTo>
                      <a:cubicBezTo>
                        <a:pt x="292189" y="549443"/>
                        <a:pt x="292189" y="549443"/>
                        <a:pt x="445229" y="605118"/>
                      </a:cubicBezTo>
                      <a:cubicBezTo>
                        <a:pt x="446660" y="605831"/>
                        <a:pt x="448090" y="605831"/>
                        <a:pt x="449520" y="605831"/>
                      </a:cubicBezTo>
                      <a:cubicBezTo>
                        <a:pt x="452381" y="605831"/>
                        <a:pt x="455956" y="604404"/>
                        <a:pt x="457387" y="601549"/>
                      </a:cubicBezTo>
                      <a:cubicBezTo>
                        <a:pt x="457387" y="601549"/>
                        <a:pt x="457387" y="601549"/>
                        <a:pt x="488853" y="563719"/>
                      </a:cubicBezTo>
                      <a:cubicBezTo>
                        <a:pt x="488853" y="563719"/>
                        <a:pt x="488853" y="563719"/>
                        <a:pt x="665493" y="356011"/>
                      </a:cubicBezTo>
                      <a:cubicBezTo>
                        <a:pt x="665493" y="356011"/>
                        <a:pt x="665493" y="356011"/>
                        <a:pt x="691238" y="324605"/>
                      </a:cubicBezTo>
                      <a:cubicBezTo>
                        <a:pt x="691238" y="324605"/>
                        <a:pt x="691238" y="324605"/>
                        <a:pt x="701965" y="311044"/>
                      </a:cubicBezTo>
                      <a:cubicBezTo>
                        <a:pt x="704111" y="308902"/>
                        <a:pt x="706971" y="307475"/>
                        <a:pt x="710547" y="307475"/>
                      </a:cubicBezTo>
                      <a:cubicBezTo>
                        <a:pt x="712692" y="307475"/>
                        <a:pt x="714123" y="308189"/>
                        <a:pt x="716268" y="308902"/>
                      </a:cubicBezTo>
                      <a:cubicBezTo>
                        <a:pt x="716268" y="308902"/>
                        <a:pt x="716268" y="308902"/>
                        <a:pt x="866448" y="398124"/>
                      </a:cubicBezTo>
                      <a:cubicBezTo>
                        <a:pt x="866448" y="398124"/>
                        <a:pt x="866448" y="398124"/>
                        <a:pt x="892193" y="413827"/>
                      </a:cubicBezTo>
                      <a:cubicBezTo>
                        <a:pt x="892193" y="413827"/>
                        <a:pt x="892193" y="413827"/>
                        <a:pt x="892193" y="414541"/>
                      </a:cubicBezTo>
                      <a:cubicBezTo>
                        <a:pt x="894338" y="415254"/>
                        <a:pt x="895769" y="415968"/>
                        <a:pt x="897914" y="415968"/>
                      </a:cubicBezTo>
                      <a:cubicBezTo>
                        <a:pt x="901490" y="415968"/>
                        <a:pt x="905066" y="414541"/>
                        <a:pt x="906496" y="411685"/>
                      </a:cubicBezTo>
                      <a:cubicBezTo>
                        <a:pt x="906496" y="411685"/>
                        <a:pt x="906496" y="411685"/>
                        <a:pt x="1037367" y="258225"/>
                      </a:cubicBezTo>
                      <a:cubicBezTo>
                        <a:pt x="1040942" y="253942"/>
                        <a:pt x="1040227" y="247518"/>
                        <a:pt x="1035221" y="243949"/>
                      </a:cubicBezTo>
                      <a:cubicBezTo>
                        <a:pt x="1035221" y="243949"/>
                        <a:pt x="1035221" y="243949"/>
                        <a:pt x="986592" y="207547"/>
                      </a:cubicBezTo>
                      <a:cubicBezTo>
                        <a:pt x="980155" y="202550"/>
                        <a:pt x="981586" y="192558"/>
                        <a:pt x="988737" y="189702"/>
                      </a:cubicBezTo>
                      <a:cubicBezTo>
                        <a:pt x="988737" y="189702"/>
                        <a:pt x="988737" y="189702"/>
                        <a:pt x="999464" y="185420"/>
                      </a:cubicBezTo>
                      <a:cubicBezTo>
                        <a:pt x="999464" y="185420"/>
                        <a:pt x="999464" y="185420"/>
                        <a:pt x="1220443" y="91916"/>
                      </a:cubicBezTo>
                      <a:cubicBezTo>
                        <a:pt x="1222589" y="91202"/>
                        <a:pt x="1224734" y="90488"/>
                        <a:pt x="1227594" y="90488"/>
                      </a:cubicBezTo>
                      <a:close/>
                      <a:moveTo>
                        <a:pt x="30163" y="31750"/>
                      </a:moveTo>
                      <a:cubicBezTo>
                        <a:pt x="30163" y="900113"/>
                        <a:pt x="30163" y="900113"/>
                        <a:pt x="30163" y="900113"/>
                      </a:cubicBezTo>
                      <a:cubicBezTo>
                        <a:pt x="1274763" y="900113"/>
                        <a:pt x="1274763" y="900113"/>
                        <a:pt x="1274763" y="900113"/>
                      </a:cubicBezTo>
                      <a:cubicBezTo>
                        <a:pt x="1274763" y="31750"/>
                        <a:pt x="1274763" y="31750"/>
                        <a:pt x="1274763" y="31750"/>
                      </a:cubicBezTo>
                      <a:cubicBezTo>
                        <a:pt x="30163" y="31750"/>
                        <a:pt x="30163" y="31750"/>
                        <a:pt x="30163" y="31750"/>
                      </a:cubicBezTo>
                      <a:close/>
                      <a:moveTo>
                        <a:pt x="15705" y="0"/>
                      </a:moveTo>
                      <a:cubicBezTo>
                        <a:pt x="15705" y="0"/>
                        <a:pt x="15705" y="0"/>
                        <a:pt x="1289220" y="0"/>
                      </a:cubicBezTo>
                      <a:cubicBezTo>
                        <a:pt x="1297787" y="0"/>
                        <a:pt x="1304925" y="6422"/>
                        <a:pt x="1304925" y="15698"/>
                      </a:cubicBezTo>
                      <a:cubicBezTo>
                        <a:pt x="1304925" y="15698"/>
                        <a:pt x="1304925" y="15698"/>
                        <a:pt x="1304925" y="916166"/>
                      </a:cubicBezTo>
                      <a:cubicBezTo>
                        <a:pt x="1304925" y="925441"/>
                        <a:pt x="1297787" y="931863"/>
                        <a:pt x="1289220" y="931863"/>
                      </a:cubicBezTo>
                      <a:cubicBezTo>
                        <a:pt x="1289220" y="931863"/>
                        <a:pt x="1289220" y="931863"/>
                        <a:pt x="15705" y="931863"/>
                      </a:cubicBezTo>
                      <a:cubicBezTo>
                        <a:pt x="7139" y="931863"/>
                        <a:pt x="0" y="925441"/>
                        <a:pt x="0" y="916166"/>
                      </a:cubicBezTo>
                      <a:cubicBezTo>
                        <a:pt x="0" y="916166"/>
                        <a:pt x="0" y="916166"/>
                        <a:pt x="0" y="15698"/>
                      </a:cubicBezTo>
                      <a:cubicBezTo>
                        <a:pt x="0" y="6422"/>
                        <a:pt x="7139" y="0"/>
                        <a:pt x="15705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78" name="Freeform 7"/>
                <p:cNvSpPr>
                  <a:spLocks/>
                </p:cNvSpPr>
                <p:nvPr/>
              </p:nvSpPr>
              <p:spPr bwMode="auto">
                <a:xfrm>
                  <a:off x="6711950" y="3184525"/>
                  <a:ext cx="1166813" cy="647700"/>
                </a:xfrm>
                <a:custGeom>
                  <a:avLst/>
                  <a:gdLst>
                    <a:gd name="T0" fmla="*/ 1583 w 1633"/>
                    <a:gd name="T1" fmla="*/ 175 h 907"/>
                    <a:gd name="T2" fmla="*/ 1526 w 1633"/>
                    <a:gd name="T3" fmla="*/ 218 h 907"/>
                    <a:gd name="T4" fmla="*/ 1488 w 1633"/>
                    <a:gd name="T5" fmla="*/ 204 h 907"/>
                    <a:gd name="T6" fmla="*/ 1440 w 1633"/>
                    <a:gd name="T7" fmla="*/ 165 h 907"/>
                    <a:gd name="T8" fmla="*/ 1417 w 1633"/>
                    <a:gd name="T9" fmla="*/ 189 h 907"/>
                    <a:gd name="T10" fmla="*/ 1214 w 1633"/>
                    <a:gd name="T11" fmla="*/ 423 h 907"/>
                    <a:gd name="T12" fmla="*/ 1169 w 1633"/>
                    <a:gd name="T13" fmla="*/ 443 h 907"/>
                    <a:gd name="T14" fmla="*/ 1138 w 1633"/>
                    <a:gd name="T15" fmla="*/ 434 h 907"/>
                    <a:gd name="T16" fmla="*/ 1136 w 1633"/>
                    <a:gd name="T17" fmla="*/ 433 h 907"/>
                    <a:gd name="T18" fmla="*/ 1119 w 1633"/>
                    <a:gd name="T19" fmla="*/ 421 h 907"/>
                    <a:gd name="T20" fmla="*/ 1088 w 1633"/>
                    <a:gd name="T21" fmla="*/ 403 h 907"/>
                    <a:gd name="T22" fmla="*/ 1080 w 1633"/>
                    <a:gd name="T23" fmla="*/ 398 h 907"/>
                    <a:gd name="T24" fmla="*/ 907 w 1633"/>
                    <a:gd name="T25" fmla="*/ 281 h 907"/>
                    <a:gd name="T26" fmla="*/ 894 w 1633"/>
                    <a:gd name="T27" fmla="*/ 295 h 907"/>
                    <a:gd name="T28" fmla="*/ 857 w 1633"/>
                    <a:gd name="T29" fmla="*/ 335 h 907"/>
                    <a:gd name="T30" fmla="*/ 857 w 1633"/>
                    <a:gd name="T31" fmla="*/ 335 h 907"/>
                    <a:gd name="T32" fmla="*/ 610 w 1633"/>
                    <a:gd name="T33" fmla="*/ 593 h 907"/>
                    <a:gd name="T34" fmla="*/ 582 w 1633"/>
                    <a:gd name="T35" fmla="*/ 623 h 907"/>
                    <a:gd name="T36" fmla="*/ 533 w 1633"/>
                    <a:gd name="T37" fmla="*/ 644 h 907"/>
                    <a:gd name="T38" fmla="*/ 506 w 1633"/>
                    <a:gd name="T39" fmla="*/ 638 h 907"/>
                    <a:gd name="T40" fmla="*/ 504 w 1633"/>
                    <a:gd name="T41" fmla="*/ 638 h 907"/>
                    <a:gd name="T42" fmla="*/ 321 w 1633"/>
                    <a:gd name="T43" fmla="*/ 551 h 907"/>
                    <a:gd name="T44" fmla="*/ 287 w 1633"/>
                    <a:gd name="T45" fmla="*/ 590 h 907"/>
                    <a:gd name="T46" fmla="*/ 286 w 1633"/>
                    <a:gd name="T47" fmla="*/ 590 h 907"/>
                    <a:gd name="T48" fmla="*/ 42 w 1633"/>
                    <a:gd name="T49" fmla="*/ 864 h 907"/>
                    <a:gd name="T50" fmla="*/ 14 w 1633"/>
                    <a:gd name="T51" fmla="*/ 896 h 907"/>
                    <a:gd name="T52" fmla="*/ 0 w 1633"/>
                    <a:gd name="T53" fmla="*/ 907 h 907"/>
                    <a:gd name="T54" fmla="*/ 1633 w 1633"/>
                    <a:gd name="T55" fmla="*/ 907 h 907"/>
                    <a:gd name="T56" fmla="*/ 1633 w 1633"/>
                    <a:gd name="T57" fmla="*/ 0 h 907"/>
                    <a:gd name="T58" fmla="*/ 1583 w 1633"/>
                    <a:gd name="T59" fmla="*/ 175 h 9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1633" h="907">
                      <a:moveTo>
                        <a:pt x="1583" y="175"/>
                      </a:moveTo>
                      <a:cubicBezTo>
                        <a:pt x="1575" y="201"/>
                        <a:pt x="1553" y="218"/>
                        <a:pt x="1526" y="218"/>
                      </a:cubicBezTo>
                      <a:cubicBezTo>
                        <a:pt x="1513" y="218"/>
                        <a:pt x="1499" y="213"/>
                        <a:pt x="1488" y="204"/>
                      </a:cubicBezTo>
                      <a:cubicBezTo>
                        <a:pt x="1440" y="165"/>
                        <a:pt x="1440" y="165"/>
                        <a:pt x="1440" y="165"/>
                      </a:cubicBezTo>
                      <a:cubicBezTo>
                        <a:pt x="1417" y="189"/>
                        <a:pt x="1417" y="189"/>
                        <a:pt x="1417" y="189"/>
                      </a:cubicBezTo>
                      <a:cubicBezTo>
                        <a:pt x="1214" y="423"/>
                        <a:pt x="1214" y="423"/>
                        <a:pt x="1214" y="423"/>
                      </a:cubicBezTo>
                      <a:cubicBezTo>
                        <a:pt x="1203" y="436"/>
                        <a:pt x="1187" y="443"/>
                        <a:pt x="1169" y="443"/>
                      </a:cubicBezTo>
                      <a:cubicBezTo>
                        <a:pt x="1158" y="443"/>
                        <a:pt x="1147" y="440"/>
                        <a:pt x="1138" y="434"/>
                      </a:cubicBezTo>
                      <a:cubicBezTo>
                        <a:pt x="1137" y="434"/>
                        <a:pt x="1137" y="434"/>
                        <a:pt x="1136" y="433"/>
                      </a:cubicBezTo>
                      <a:cubicBezTo>
                        <a:pt x="1119" y="421"/>
                        <a:pt x="1119" y="421"/>
                        <a:pt x="1119" y="421"/>
                      </a:cubicBezTo>
                      <a:cubicBezTo>
                        <a:pt x="1088" y="403"/>
                        <a:pt x="1088" y="403"/>
                        <a:pt x="1088" y="403"/>
                      </a:cubicBezTo>
                      <a:cubicBezTo>
                        <a:pt x="1085" y="402"/>
                        <a:pt x="1083" y="400"/>
                        <a:pt x="1080" y="398"/>
                      </a:cubicBezTo>
                      <a:cubicBezTo>
                        <a:pt x="907" y="281"/>
                        <a:pt x="907" y="281"/>
                        <a:pt x="907" y="281"/>
                      </a:cubicBezTo>
                      <a:cubicBezTo>
                        <a:pt x="894" y="295"/>
                        <a:pt x="894" y="295"/>
                        <a:pt x="894" y="295"/>
                      </a:cubicBezTo>
                      <a:cubicBezTo>
                        <a:pt x="857" y="335"/>
                        <a:pt x="857" y="335"/>
                        <a:pt x="857" y="335"/>
                      </a:cubicBezTo>
                      <a:cubicBezTo>
                        <a:pt x="857" y="335"/>
                        <a:pt x="857" y="335"/>
                        <a:pt x="857" y="335"/>
                      </a:cubicBezTo>
                      <a:cubicBezTo>
                        <a:pt x="610" y="593"/>
                        <a:pt x="610" y="593"/>
                        <a:pt x="610" y="593"/>
                      </a:cubicBezTo>
                      <a:cubicBezTo>
                        <a:pt x="582" y="623"/>
                        <a:pt x="582" y="623"/>
                        <a:pt x="582" y="623"/>
                      </a:cubicBezTo>
                      <a:cubicBezTo>
                        <a:pt x="570" y="636"/>
                        <a:pt x="552" y="644"/>
                        <a:pt x="533" y="644"/>
                      </a:cubicBezTo>
                      <a:cubicBezTo>
                        <a:pt x="524" y="644"/>
                        <a:pt x="514" y="642"/>
                        <a:pt x="506" y="638"/>
                      </a:cubicBezTo>
                      <a:cubicBezTo>
                        <a:pt x="505" y="638"/>
                        <a:pt x="505" y="638"/>
                        <a:pt x="504" y="638"/>
                      </a:cubicBezTo>
                      <a:cubicBezTo>
                        <a:pt x="321" y="551"/>
                        <a:pt x="321" y="551"/>
                        <a:pt x="321" y="551"/>
                      </a:cubicBezTo>
                      <a:cubicBezTo>
                        <a:pt x="287" y="590"/>
                        <a:pt x="287" y="590"/>
                        <a:pt x="287" y="590"/>
                      </a:cubicBezTo>
                      <a:cubicBezTo>
                        <a:pt x="286" y="590"/>
                        <a:pt x="286" y="590"/>
                        <a:pt x="286" y="590"/>
                      </a:cubicBezTo>
                      <a:cubicBezTo>
                        <a:pt x="42" y="864"/>
                        <a:pt x="42" y="864"/>
                        <a:pt x="42" y="864"/>
                      </a:cubicBezTo>
                      <a:cubicBezTo>
                        <a:pt x="14" y="896"/>
                        <a:pt x="14" y="896"/>
                        <a:pt x="14" y="896"/>
                      </a:cubicBezTo>
                      <a:cubicBezTo>
                        <a:pt x="10" y="901"/>
                        <a:pt x="5" y="905"/>
                        <a:pt x="0" y="907"/>
                      </a:cubicBezTo>
                      <a:cubicBezTo>
                        <a:pt x="1633" y="907"/>
                        <a:pt x="1633" y="907"/>
                        <a:pt x="1633" y="907"/>
                      </a:cubicBezTo>
                      <a:cubicBezTo>
                        <a:pt x="1633" y="0"/>
                        <a:pt x="1633" y="0"/>
                        <a:pt x="1633" y="0"/>
                      </a:cubicBezTo>
                      <a:lnTo>
                        <a:pt x="1583" y="175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grpSp>
        <p:nvGrpSpPr>
          <p:cNvPr id="7" name="Group 6"/>
          <p:cNvGrpSpPr/>
          <p:nvPr/>
        </p:nvGrpSpPr>
        <p:grpSpPr>
          <a:xfrm>
            <a:off x="6171762" y="2076118"/>
            <a:ext cx="1237728" cy="1237728"/>
            <a:chOff x="6270051" y="2076118"/>
            <a:chExt cx="1237728" cy="1237728"/>
          </a:xfrm>
        </p:grpSpPr>
        <p:sp>
          <p:nvSpPr>
            <p:cNvPr id="62" name="Oval 61"/>
            <p:cNvSpPr/>
            <p:nvPr/>
          </p:nvSpPr>
          <p:spPr>
            <a:xfrm>
              <a:off x="6270051" y="2076118"/>
              <a:ext cx="1237728" cy="1237728"/>
            </a:xfrm>
            <a:prstGeom prst="ellipse">
              <a:avLst/>
            </a:prstGeom>
            <a:solidFill>
              <a:srgbClr val="FFFFFF"/>
            </a:solidFill>
            <a:ln w="3810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kern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25" name="Group 24"/>
            <p:cNvGrpSpPr>
              <a:grpSpLocks noChangeAspect="1"/>
            </p:cNvGrpSpPr>
            <p:nvPr/>
          </p:nvGrpSpPr>
          <p:grpSpPr>
            <a:xfrm>
              <a:off x="6432138" y="2237782"/>
              <a:ext cx="913553" cy="914400"/>
              <a:chOff x="5273801" y="2606040"/>
              <a:chExt cx="1644396" cy="1645920"/>
            </a:xfrm>
          </p:grpSpPr>
          <p:sp>
            <p:nvSpPr>
              <p:cNvPr id="26" name="AutoShape 3">
                <a:extLst>
                  <a:ext uri="{FF2B5EF4-FFF2-40B4-BE49-F238E27FC236}">
                    <a16:creationId xmlns="" xmlns:a16="http://schemas.microsoft.com/office/drawing/2014/main" id="{A685C9B5-CAF2-4A20-BBFD-4AE9FAD941A0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801" y="2606040"/>
                <a:ext cx="1644396" cy="1645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27" name="Group 26"/>
              <p:cNvGrpSpPr/>
              <p:nvPr/>
            </p:nvGrpSpPr>
            <p:grpSpPr>
              <a:xfrm>
                <a:off x="5432297" y="2803017"/>
                <a:ext cx="1330452" cy="1251585"/>
                <a:chOff x="5432297" y="2803017"/>
                <a:chExt cx="1330452" cy="1251585"/>
              </a:xfrm>
            </p:grpSpPr>
            <p:sp>
              <p:nvSpPr>
                <p:cNvPr id="28" name="Freeform 6">
                  <a:extLst>
                    <a:ext uri="{FF2B5EF4-FFF2-40B4-BE49-F238E27FC236}">
                      <a16:creationId xmlns="" xmlns:a16="http://schemas.microsoft.com/office/drawing/2014/main" id="{2F934ACA-6C4E-4F6E-932A-23F37084626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432297" y="2803017"/>
                  <a:ext cx="1330452" cy="1251585"/>
                </a:xfrm>
                <a:custGeom>
                  <a:avLst/>
                  <a:gdLst>
                    <a:gd name="T0" fmla="*/ 1016 w 1864"/>
                    <a:gd name="T1" fmla="*/ 1613 h 1752"/>
                    <a:gd name="T2" fmla="*/ 97 w 1864"/>
                    <a:gd name="T3" fmla="*/ 1503 h 1752"/>
                    <a:gd name="T4" fmla="*/ 239 w 1864"/>
                    <a:gd name="T5" fmla="*/ 707 h 1752"/>
                    <a:gd name="T6" fmla="*/ 521 w 1864"/>
                    <a:gd name="T7" fmla="*/ 396 h 1752"/>
                    <a:gd name="T8" fmla="*/ 501 w 1864"/>
                    <a:gd name="T9" fmla="*/ 361 h 1752"/>
                    <a:gd name="T10" fmla="*/ 436 w 1864"/>
                    <a:gd name="T11" fmla="*/ 117 h 1752"/>
                    <a:gd name="T12" fmla="*/ 496 w 1864"/>
                    <a:gd name="T13" fmla="*/ 32 h 1752"/>
                    <a:gd name="T14" fmla="*/ 842 w 1864"/>
                    <a:gd name="T15" fmla="*/ 0 h 1752"/>
                    <a:gd name="T16" fmla="*/ 922 w 1864"/>
                    <a:gd name="T17" fmla="*/ 89 h 1752"/>
                    <a:gd name="T18" fmla="*/ 1053 w 1864"/>
                    <a:gd name="T19" fmla="*/ 197 h 1752"/>
                    <a:gd name="T20" fmla="*/ 911 w 1864"/>
                    <a:gd name="T21" fmla="*/ 362 h 1752"/>
                    <a:gd name="T22" fmla="*/ 905 w 1864"/>
                    <a:gd name="T23" fmla="*/ 418 h 1752"/>
                    <a:gd name="T24" fmla="*/ 1287 w 1864"/>
                    <a:gd name="T25" fmla="*/ 872 h 1752"/>
                    <a:gd name="T26" fmla="*/ 877 w 1864"/>
                    <a:gd name="T27" fmla="*/ 452 h 1752"/>
                    <a:gd name="T28" fmla="*/ 882 w 1864"/>
                    <a:gd name="T29" fmla="*/ 329 h 1752"/>
                    <a:gd name="T30" fmla="*/ 904 w 1864"/>
                    <a:gd name="T31" fmla="*/ 129 h 1752"/>
                    <a:gd name="T32" fmla="*/ 819 w 1864"/>
                    <a:gd name="T33" fmla="*/ 273 h 1752"/>
                    <a:gd name="T34" fmla="*/ 799 w 1864"/>
                    <a:gd name="T35" fmla="*/ 242 h 1752"/>
                    <a:gd name="T36" fmla="*/ 880 w 1864"/>
                    <a:gd name="T37" fmla="*/ 56 h 1752"/>
                    <a:gd name="T38" fmla="*/ 843 w 1864"/>
                    <a:gd name="T39" fmla="*/ 44 h 1752"/>
                    <a:gd name="T40" fmla="*/ 569 w 1864"/>
                    <a:gd name="T41" fmla="*/ 44 h 1752"/>
                    <a:gd name="T42" fmla="*/ 542 w 1864"/>
                    <a:gd name="T43" fmla="*/ 98 h 1752"/>
                    <a:gd name="T44" fmla="*/ 603 w 1864"/>
                    <a:gd name="T45" fmla="*/ 271 h 1752"/>
                    <a:gd name="T46" fmla="*/ 509 w 1864"/>
                    <a:gd name="T47" fmla="*/ 129 h 1752"/>
                    <a:gd name="T48" fmla="*/ 531 w 1864"/>
                    <a:gd name="T49" fmla="*/ 329 h 1752"/>
                    <a:gd name="T50" fmla="*/ 536 w 1864"/>
                    <a:gd name="T51" fmla="*/ 452 h 1752"/>
                    <a:gd name="T52" fmla="*/ 50 w 1864"/>
                    <a:gd name="T53" fmla="*/ 1247 h 1752"/>
                    <a:gd name="T54" fmla="*/ 397 w 1864"/>
                    <a:gd name="T55" fmla="*/ 1569 h 1752"/>
                    <a:gd name="T56" fmla="*/ 1034 w 1864"/>
                    <a:gd name="T57" fmla="*/ 1569 h 1752"/>
                    <a:gd name="T58" fmla="*/ 1631 w 1864"/>
                    <a:gd name="T59" fmla="*/ 1398 h 1752"/>
                    <a:gd name="T60" fmla="*/ 1509 w 1864"/>
                    <a:gd name="T61" fmla="*/ 1736 h 1752"/>
                    <a:gd name="T62" fmla="*/ 1201 w 1864"/>
                    <a:gd name="T63" fmla="*/ 1736 h 1752"/>
                    <a:gd name="T64" fmla="*/ 1078 w 1864"/>
                    <a:gd name="T65" fmla="*/ 1618 h 1752"/>
                    <a:gd name="T66" fmla="*/ 1201 w 1864"/>
                    <a:gd name="T67" fmla="*/ 1280 h 1752"/>
                    <a:gd name="T68" fmla="*/ 1509 w 1864"/>
                    <a:gd name="T69" fmla="*/ 1280 h 1752"/>
                    <a:gd name="T70" fmla="*/ 1631 w 1864"/>
                    <a:gd name="T71" fmla="*/ 1398 h 1752"/>
                    <a:gd name="T72" fmla="*/ 1498 w 1864"/>
                    <a:gd name="T73" fmla="*/ 1323 h 1752"/>
                    <a:gd name="T74" fmla="*/ 1211 w 1864"/>
                    <a:gd name="T75" fmla="*/ 1323 h 1752"/>
                    <a:gd name="T76" fmla="*/ 1122 w 1864"/>
                    <a:gd name="T77" fmla="*/ 1618 h 1752"/>
                    <a:gd name="T78" fmla="*/ 1355 w 1864"/>
                    <a:gd name="T79" fmla="*/ 1708 h 1752"/>
                    <a:gd name="T80" fmla="*/ 1587 w 1864"/>
                    <a:gd name="T81" fmla="*/ 1618 h 1752"/>
                    <a:gd name="T82" fmla="*/ 1806 w 1864"/>
                    <a:gd name="T83" fmla="*/ 853 h 1752"/>
                    <a:gd name="T84" fmla="*/ 1587 w 1864"/>
                    <a:gd name="T85" fmla="*/ 812 h 1752"/>
                    <a:gd name="T86" fmla="*/ 1311 w 1864"/>
                    <a:gd name="T87" fmla="*/ 946 h 1752"/>
                    <a:gd name="T88" fmla="*/ 1355 w 1864"/>
                    <a:gd name="T89" fmla="*/ 1220 h 1752"/>
                    <a:gd name="T90" fmla="*/ 1355 w 1864"/>
                    <a:gd name="T91" fmla="*/ 946 h 1752"/>
                    <a:gd name="T92" fmla="*/ 1587 w 1864"/>
                    <a:gd name="T93" fmla="*/ 856 h 1752"/>
                    <a:gd name="T94" fmla="*/ 1820 w 1864"/>
                    <a:gd name="T95" fmla="*/ 946 h 1752"/>
                    <a:gd name="T96" fmla="*/ 1731 w 1864"/>
                    <a:gd name="T97" fmla="*/ 1580 h 1752"/>
                    <a:gd name="T98" fmla="*/ 1675 w 1864"/>
                    <a:gd name="T99" fmla="*/ 1618 h 1752"/>
                    <a:gd name="T100" fmla="*/ 1741 w 1864"/>
                    <a:gd name="T101" fmla="*/ 1623 h 1752"/>
                    <a:gd name="T102" fmla="*/ 1864 w 1864"/>
                    <a:gd name="T103" fmla="*/ 946 h 17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1864" h="1752">
                      <a:moveTo>
                        <a:pt x="1034" y="1613"/>
                      </a:moveTo>
                      <a:cubicBezTo>
                        <a:pt x="1028" y="1613"/>
                        <a:pt x="1022" y="1613"/>
                        <a:pt x="1016" y="1613"/>
                      </a:cubicBezTo>
                      <a:cubicBezTo>
                        <a:pt x="397" y="1613"/>
                        <a:pt x="397" y="1613"/>
                        <a:pt x="397" y="1613"/>
                      </a:cubicBezTo>
                      <a:cubicBezTo>
                        <a:pt x="266" y="1613"/>
                        <a:pt x="165" y="1576"/>
                        <a:pt x="97" y="1503"/>
                      </a:cubicBezTo>
                      <a:cubicBezTo>
                        <a:pt x="0" y="1398"/>
                        <a:pt x="5" y="1258"/>
                        <a:pt x="6" y="1245"/>
                      </a:cubicBezTo>
                      <a:cubicBezTo>
                        <a:pt x="6" y="1088"/>
                        <a:pt x="84" y="907"/>
                        <a:pt x="239" y="707"/>
                      </a:cubicBezTo>
                      <a:cubicBezTo>
                        <a:pt x="352" y="560"/>
                        <a:pt x="474" y="446"/>
                        <a:pt x="508" y="418"/>
                      </a:cubicBezTo>
                      <a:cubicBezTo>
                        <a:pt x="521" y="407"/>
                        <a:pt x="521" y="399"/>
                        <a:pt x="521" y="396"/>
                      </a:cubicBezTo>
                      <a:cubicBezTo>
                        <a:pt x="521" y="381"/>
                        <a:pt x="506" y="365"/>
                        <a:pt x="502" y="362"/>
                      </a:cubicBezTo>
                      <a:cubicBezTo>
                        <a:pt x="502" y="362"/>
                        <a:pt x="502" y="361"/>
                        <a:pt x="501" y="361"/>
                      </a:cubicBezTo>
                      <a:cubicBezTo>
                        <a:pt x="451" y="314"/>
                        <a:pt x="365" y="230"/>
                        <a:pt x="360" y="197"/>
                      </a:cubicBezTo>
                      <a:cubicBezTo>
                        <a:pt x="356" y="173"/>
                        <a:pt x="378" y="150"/>
                        <a:pt x="436" y="117"/>
                      </a:cubicBezTo>
                      <a:cubicBezTo>
                        <a:pt x="457" y="106"/>
                        <a:pt x="477" y="96"/>
                        <a:pt x="491" y="89"/>
                      </a:cubicBezTo>
                      <a:cubicBezTo>
                        <a:pt x="484" y="67"/>
                        <a:pt x="486" y="48"/>
                        <a:pt x="496" y="32"/>
                      </a:cubicBezTo>
                      <a:cubicBezTo>
                        <a:pt x="517" y="0"/>
                        <a:pt x="563" y="0"/>
                        <a:pt x="571" y="0"/>
                      </a:cubicBezTo>
                      <a:cubicBezTo>
                        <a:pt x="842" y="0"/>
                        <a:pt x="842" y="0"/>
                        <a:pt x="842" y="0"/>
                      </a:cubicBezTo>
                      <a:cubicBezTo>
                        <a:pt x="850" y="0"/>
                        <a:pt x="896" y="0"/>
                        <a:pt x="917" y="32"/>
                      </a:cubicBezTo>
                      <a:cubicBezTo>
                        <a:pt x="927" y="48"/>
                        <a:pt x="928" y="67"/>
                        <a:pt x="922" y="89"/>
                      </a:cubicBezTo>
                      <a:cubicBezTo>
                        <a:pt x="936" y="96"/>
                        <a:pt x="956" y="106"/>
                        <a:pt x="977" y="117"/>
                      </a:cubicBezTo>
                      <a:cubicBezTo>
                        <a:pt x="1035" y="150"/>
                        <a:pt x="1057" y="173"/>
                        <a:pt x="1053" y="197"/>
                      </a:cubicBezTo>
                      <a:cubicBezTo>
                        <a:pt x="1047" y="230"/>
                        <a:pt x="962" y="314"/>
                        <a:pt x="912" y="361"/>
                      </a:cubicBezTo>
                      <a:cubicBezTo>
                        <a:pt x="911" y="361"/>
                        <a:pt x="911" y="362"/>
                        <a:pt x="911" y="362"/>
                      </a:cubicBezTo>
                      <a:cubicBezTo>
                        <a:pt x="906" y="366"/>
                        <a:pt x="892" y="382"/>
                        <a:pt x="892" y="396"/>
                      </a:cubicBezTo>
                      <a:cubicBezTo>
                        <a:pt x="892" y="399"/>
                        <a:pt x="892" y="407"/>
                        <a:pt x="905" y="418"/>
                      </a:cubicBezTo>
                      <a:cubicBezTo>
                        <a:pt x="939" y="446"/>
                        <a:pt x="1061" y="560"/>
                        <a:pt x="1174" y="707"/>
                      </a:cubicBezTo>
                      <a:cubicBezTo>
                        <a:pt x="1218" y="763"/>
                        <a:pt x="1255" y="818"/>
                        <a:pt x="1287" y="872"/>
                      </a:cubicBezTo>
                      <a:cubicBezTo>
                        <a:pt x="1275" y="891"/>
                        <a:pt x="1270" y="910"/>
                        <a:pt x="1268" y="927"/>
                      </a:cubicBezTo>
                      <a:cubicBezTo>
                        <a:pt x="1127" y="669"/>
                        <a:pt x="881" y="455"/>
                        <a:pt x="877" y="452"/>
                      </a:cubicBezTo>
                      <a:cubicBezTo>
                        <a:pt x="854" y="432"/>
                        <a:pt x="848" y="411"/>
                        <a:pt x="848" y="396"/>
                      </a:cubicBezTo>
                      <a:cubicBezTo>
                        <a:pt x="848" y="360"/>
                        <a:pt x="877" y="333"/>
                        <a:pt x="882" y="329"/>
                      </a:cubicBezTo>
                      <a:cubicBezTo>
                        <a:pt x="936" y="278"/>
                        <a:pt x="997" y="214"/>
                        <a:pt x="1009" y="192"/>
                      </a:cubicBezTo>
                      <a:cubicBezTo>
                        <a:pt x="998" y="179"/>
                        <a:pt x="953" y="152"/>
                        <a:pt x="904" y="129"/>
                      </a:cubicBezTo>
                      <a:cubicBezTo>
                        <a:pt x="861" y="212"/>
                        <a:pt x="839" y="260"/>
                        <a:pt x="839" y="260"/>
                      </a:cubicBezTo>
                      <a:cubicBezTo>
                        <a:pt x="835" y="268"/>
                        <a:pt x="827" y="273"/>
                        <a:pt x="819" y="273"/>
                      </a:cubicBezTo>
                      <a:cubicBezTo>
                        <a:pt x="816" y="273"/>
                        <a:pt x="813" y="273"/>
                        <a:pt x="810" y="271"/>
                      </a:cubicBezTo>
                      <a:cubicBezTo>
                        <a:pt x="799" y="266"/>
                        <a:pt x="794" y="253"/>
                        <a:pt x="799" y="242"/>
                      </a:cubicBezTo>
                      <a:cubicBezTo>
                        <a:pt x="800" y="240"/>
                        <a:pt x="824" y="188"/>
                        <a:pt x="871" y="98"/>
                      </a:cubicBezTo>
                      <a:cubicBezTo>
                        <a:pt x="881" y="78"/>
                        <a:pt x="884" y="63"/>
                        <a:pt x="880" y="56"/>
                      </a:cubicBezTo>
                      <a:cubicBezTo>
                        <a:pt x="874" y="46"/>
                        <a:pt x="852" y="44"/>
                        <a:pt x="844" y="44"/>
                      </a:cubicBezTo>
                      <a:cubicBezTo>
                        <a:pt x="843" y="44"/>
                        <a:pt x="843" y="44"/>
                        <a:pt x="843" y="44"/>
                      </a:cubicBezTo>
                      <a:cubicBezTo>
                        <a:pt x="570" y="44"/>
                        <a:pt x="570" y="44"/>
                        <a:pt x="570" y="44"/>
                      </a:cubicBezTo>
                      <a:cubicBezTo>
                        <a:pt x="570" y="44"/>
                        <a:pt x="569" y="44"/>
                        <a:pt x="569" y="44"/>
                      </a:cubicBezTo>
                      <a:cubicBezTo>
                        <a:pt x="560" y="44"/>
                        <a:pt x="539" y="46"/>
                        <a:pt x="533" y="56"/>
                      </a:cubicBezTo>
                      <a:cubicBezTo>
                        <a:pt x="529" y="63"/>
                        <a:pt x="532" y="78"/>
                        <a:pt x="542" y="98"/>
                      </a:cubicBezTo>
                      <a:cubicBezTo>
                        <a:pt x="589" y="188"/>
                        <a:pt x="613" y="240"/>
                        <a:pt x="614" y="242"/>
                      </a:cubicBezTo>
                      <a:cubicBezTo>
                        <a:pt x="619" y="253"/>
                        <a:pt x="614" y="266"/>
                        <a:pt x="603" y="271"/>
                      </a:cubicBezTo>
                      <a:cubicBezTo>
                        <a:pt x="592" y="276"/>
                        <a:pt x="579" y="271"/>
                        <a:pt x="574" y="260"/>
                      </a:cubicBezTo>
                      <a:cubicBezTo>
                        <a:pt x="574" y="260"/>
                        <a:pt x="552" y="212"/>
                        <a:pt x="509" y="129"/>
                      </a:cubicBezTo>
                      <a:cubicBezTo>
                        <a:pt x="460" y="152"/>
                        <a:pt x="415" y="179"/>
                        <a:pt x="404" y="192"/>
                      </a:cubicBezTo>
                      <a:cubicBezTo>
                        <a:pt x="415" y="214"/>
                        <a:pt x="477" y="278"/>
                        <a:pt x="531" y="329"/>
                      </a:cubicBezTo>
                      <a:cubicBezTo>
                        <a:pt x="536" y="333"/>
                        <a:pt x="565" y="360"/>
                        <a:pt x="565" y="396"/>
                      </a:cubicBezTo>
                      <a:cubicBezTo>
                        <a:pt x="565" y="411"/>
                        <a:pt x="559" y="432"/>
                        <a:pt x="536" y="452"/>
                      </a:cubicBezTo>
                      <a:cubicBezTo>
                        <a:pt x="531" y="456"/>
                        <a:pt x="50" y="873"/>
                        <a:pt x="50" y="1246"/>
                      </a:cubicBezTo>
                      <a:cubicBezTo>
                        <a:pt x="50" y="1246"/>
                        <a:pt x="50" y="1247"/>
                        <a:pt x="50" y="1247"/>
                      </a:cubicBezTo>
                      <a:cubicBezTo>
                        <a:pt x="50" y="1248"/>
                        <a:pt x="42" y="1380"/>
                        <a:pt x="130" y="1473"/>
                      </a:cubicBezTo>
                      <a:cubicBezTo>
                        <a:pt x="189" y="1537"/>
                        <a:pt x="279" y="1569"/>
                        <a:pt x="397" y="1569"/>
                      </a:cubicBezTo>
                      <a:cubicBezTo>
                        <a:pt x="1016" y="1569"/>
                        <a:pt x="1016" y="1569"/>
                        <a:pt x="1016" y="1569"/>
                      </a:cubicBezTo>
                      <a:cubicBezTo>
                        <a:pt x="1022" y="1569"/>
                        <a:pt x="1028" y="1569"/>
                        <a:pt x="1034" y="1569"/>
                      </a:cubicBezTo>
                      <a:lnTo>
                        <a:pt x="1034" y="1613"/>
                      </a:lnTo>
                      <a:close/>
                      <a:moveTo>
                        <a:pt x="1631" y="1398"/>
                      </a:moveTo>
                      <a:cubicBezTo>
                        <a:pt x="1631" y="1618"/>
                        <a:pt x="1631" y="1618"/>
                        <a:pt x="1631" y="1618"/>
                      </a:cubicBezTo>
                      <a:cubicBezTo>
                        <a:pt x="1631" y="1658"/>
                        <a:pt x="1610" y="1711"/>
                        <a:pt x="1509" y="1736"/>
                      </a:cubicBezTo>
                      <a:cubicBezTo>
                        <a:pt x="1467" y="1746"/>
                        <a:pt x="1412" y="1752"/>
                        <a:pt x="1355" y="1752"/>
                      </a:cubicBezTo>
                      <a:cubicBezTo>
                        <a:pt x="1298" y="1752"/>
                        <a:pt x="1243" y="1746"/>
                        <a:pt x="1201" y="1736"/>
                      </a:cubicBezTo>
                      <a:cubicBezTo>
                        <a:pt x="1188" y="1733"/>
                        <a:pt x="1161" y="1726"/>
                        <a:pt x="1136" y="1712"/>
                      </a:cubicBezTo>
                      <a:cubicBezTo>
                        <a:pt x="1099" y="1690"/>
                        <a:pt x="1078" y="1657"/>
                        <a:pt x="1078" y="1618"/>
                      </a:cubicBezTo>
                      <a:cubicBezTo>
                        <a:pt x="1078" y="1398"/>
                        <a:pt x="1078" y="1398"/>
                        <a:pt x="1078" y="1398"/>
                      </a:cubicBezTo>
                      <a:cubicBezTo>
                        <a:pt x="1078" y="1358"/>
                        <a:pt x="1099" y="1305"/>
                        <a:pt x="1201" y="1280"/>
                      </a:cubicBezTo>
                      <a:cubicBezTo>
                        <a:pt x="1243" y="1270"/>
                        <a:pt x="1298" y="1264"/>
                        <a:pt x="1355" y="1264"/>
                      </a:cubicBezTo>
                      <a:cubicBezTo>
                        <a:pt x="1412" y="1264"/>
                        <a:pt x="1467" y="1270"/>
                        <a:pt x="1509" y="1280"/>
                      </a:cubicBezTo>
                      <a:cubicBezTo>
                        <a:pt x="1522" y="1283"/>
                        <a:pt x="1548" y="1290"/>
                        <a:pt x="1573" y="1304"/>
                      </a:cubicBezTo>
                      <a:cubicBezTo>
                        <a:pt x="1611" y="1326"/>
                        <a:pt x="1631" y="1360"/>
                        <a:pt x="1631" y="1398"/>
                      </a:cubicBezTo>
                      <a:close/>
                      <a:moveTo>
                        <a:pt x="1587" y="1398"/>
                      </a:moveTo>
                      <a:cubicBezTo>
                        <a:pt x="1587" y="1344"/>
                        <a:pt x="1520" y="1328"/>
                        <a:pt x="1498" y="1323"/>
                      </a:cubicBezTo>
                      <a:cubicBezTo>
                        <a:pt x="1459" y="1313"/>
                        <a:pt x="1408" y="1308"/>
                        <a:pt x="1355" y="1308"/>
                      </a:cubicBezTo>
                      <a:cubicBezTo>
                        <a:pt x="1301" y="1308"/>
                        <a:pt x="1250" y="1313"/>
                        <a:pt x="1211" y="1323"/>
                      </a:cubicBezTo>
                      <a:cubicBezTo>
                        <a:pt x="1189" y="1328"/>
                        <a:pt x="1122" y="1344"/>
                        <a:pt x="1122" y="1398"/>
                      </a:cubicBezTo>
                      <a:cubicBezTo>
                        <a:pt x="1122" y="1618"/>
                        <a:pt x="1122" y="1618"/>
                        <a:pt x="1122" y="1618"/>
                      </a:cubicBezTo>
                      <a:cubicBezTo>
                        <a:pt x="1122" y="1672"/>
                        <a:pt x="1189" y="1688"/>
                        <a:pt x="1211" y="1693"/>
                      </a:cubicBezTo>
                      <a:cubicBezTo>
                        <a:pt x="1250" y="1703"/>
                        <a:pt x="1301" y="1708"/>
                        <a:pt x="1355" y="1708"/>
                      </a:cubicBezTo>
                      <a:cubicBezTo>
                        <a:pt x="1408" y="1708"/>
                        <a:pt x="1459" y="1703"/>
                        <a:pt x="1498" y="1693"/>
                      </a:cubicBezTo>
                      <a:cubicBezTo>
                        <a:pt x="1520" y="1688"/>
                        <a:pt x="1587" y="1672"/>
                        <a:pt x="1587" y="1618"/>
                      </a:cubicBezTo>
                      <a:lnTo>
                        <a:pt x="1587" y="1398"/>
                      </a:lnTo>
                      <a:close/>
                      <a:moveTo>
                        <a:pt x="1806" y="853"/>
                      </a:moveTo>
                      <a:cubicBezTo>
                        <a:pt x="1781" y="838"/>
                        <a:pt x="1754" y="832"/>
                        <a:pt x="1741" y="828"/>
                      </a:cubicBezTo>
                      <a:cubicBezTo>
                        <a:pt x="1699" y="818"/>
                        <a:pt x="1644" y="812"/>
                        <a:pt x="1587" y="812"/>
                      </a:cubicBezTo>
                      <a:cubicBezTo>
                        <a:pt x="1530" y="812"/>
                        <a:pt x="1475" y="818"/>
                        <a:pt x="1433" y="828"/>
                      </a:cubicBezTo>
                      <a:cubicBezTo>
                        <a:pt x="1332" y="853"/>
                        <a:pt x="1311" y="906"/>
                        <a:pt x="1311" y="946"/>
                      </a:cubicBezTo>
                      <a:cubicBezTo>
                        <a:pt x="1311" y="1221"/>
                        <a:pt x="1311" y="1221"/>
                        <a:pt x="1311" y="1221"/>
                      </a:cubicBezTo>
                      <a:cubicBezTo>
                        <a:pt x="1325" y="1221"/>
                        <a:pt x="1340" y="1220"/>
                        <a:pt x="1355" y="1220"/>
                      </a:cubicBezTo>
                      <a:cubicBezTo>
                        <a:pt x="1355" y="1220"/>
                        <a:pt x="1355" y="1220"/>
                        <a:pt x="1355" y="1220"/>
                      </a:cubicBezTo>
                      <a:cubicBezTo>
                        <a:pt x="1355" y="946"/>
                        <a:pt x="1355" y="946"/>
                        <a:pt x="1355" y="946"/>
                      </a:cubicBezTo>
                      <a:cubicBezTo>
                        <a:pt x="1355" y="893"/>
                        <a:pt x="1422" y="877"/>
                        <a:pt x="1444" y="871"/>
                      </a:cubicBezTo>
                      <a:cubicBezTo>
                        <a:pt x="1482" y="862"/>
                        <a:pt x="1533" y="856"/>
                        <a:pt x="1587" y="856"/>
                      </a:cubicBezTo>
                      <a:cubicBezTo>
                        <a:pt x="1641" y="856"/>
                        <a:pt x="1692" y="862"/>
                        <a:pt x="1731" y="871"/>
                      </a:cubicBezTo>
                      <a:cubicBezTo>
                        <a:pt x="1753" y="877"/>
                        <a:pt x="1820" y="893"/>
                        <a:pt x="1820" y="946"/>
                      </a:cubicBezTo>
                      <a:cubicBezTo>
                        <a:pt x="1820" y="1505"/>
                        <a:pt x="1820" y="1505"/>
                        <a:pt x="1820" y="1505"/>
                      </a:cubicBezTo>
                      <a:cubicBezTo>
                        <a:pt x="1820" y="1558"/>
                        <a:pt x="1753" y="1575"/>
                        <a:pt x="1731" y="1580"/>
                      </a:cubicBezTo>
                      <a:cubicBezTo>
                        <a:pt x="1714" y="1584"/>
                        <a:pt x="1696" y="1587"/>
                        <a:pt x="1675" y="1590"/>
                      </a:cubicBezTo>
                      <a:cubicBezTo>
                        <a:pt x="1675" y="1618"/>
                        <a:pt x="1675" y="1618"/>
                        <a:pt x="1675" y="1618"/>
                      </a:cubicBezTo>
                      <a:cubicBezTo>
                        <a:pt x="1675" y="1623"/>
                        <a:pt x="1675" y="1628"/>
                        <a:pt x="1674" y="1634"/>
                      </a:cubicBezTo>
                      <a:cubicBezTo>
                        <a:pt x="1699" y="1631"/>
                        <a:pt x="1721" y="1628"/>
                        <a:pt x="1741" y="1623"/>
                      </a:cubicBezTo>
                      <a:cubicBezTo>
                        <a:pt x="1843" y="1598"/>
                        <a:pt x="1864" y="1545"/>
                        <a:pt x="1864" y="1505"/>
                      </a:cubicBezTo>
                      <a:cubicBezTo>
                        <a:pt x="1864" y="946"/>
                        <a:pt x="1864" y="946"/>
                        <a:pt x="1864" y="946"/>
                      </a:cubicBezTo>
                      <a:cubicBezTo>
                        <a:pt x="1864" y="908"/>
                        <a:pt x="1843" y="875"/>
                        <a:pt x="1806" y="853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9" name="Freeform 7">
                  <a:extLst>
                    <a:ext uri="{FF2B5EF4-FFF2-40B4-BE49-F238E27FC236}">
                      <a16:creationId xmlns="" xmlns:a16="http://schemas.microsoft.com/office/drawing/2014/main" id="{E383ECDE-E767-4F2A-BC6F-349520F6FAB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489447" y="3074670"/>
                  <a:ext cx="1210437" cy="917067"/>
                </a:xfrm>
                <a:custGeom>
                  <a:avLst/>
                  <a:gdLst>
                    <a:gd name="T0" fmla="*/ 936 w 1696"/>
                    <a:gd name="T1" fmla="*/ 1153 h 1284"/>
                    <a:gd name="T2" fmla="*/ 76 w 1696"/>
                    <a:gd name="T3" fmla="*/ 1069 h 1284"/>
                    <a:gd name="T4" fmla="*/ 6 w 1696"/>
                    <a:gd name="T5" fmla="*/ 866 h 1284"/>
                    <a:gd name="T6" fmla="*/ 479 w 1696"/>
                    <a:gd name="T7" fmla="*/ 99 h 1284"/>
                    <a:gd name="T8" fmla="*/ 520 w 1696"/>
                    <a:gd name="T9" fmla="*/ 3 h 1284"/>
                    <a:gd name="T10" fmla="*/ 733 w 1696"/>
                    <a:gd name="T11" fmla="*/ 3 h 1284"/>
                    <a:gd name="T12" fmla="*/ 774 w 1696"/>
                    <a:gd name="T13" fmla="*/ 99 h 1284"/>
                    <a:gd name="T14" fmla="*/ 1187 w 1696"/>
                    <a:gd name="T15" fmla="*/ 626 h 1284"/>
                    <a:gd name="T16" fmla="*/ 1110 w 1696"/>
                    <a:gd name="T17" fmla="*/ 857 h 1284"/>
                    <a:gd name="T18" fmla="*/ 954 w 1696"/>
                    <a:gd name="T19" fmla="*/ 1153 h 1284"/>
                    <a:gd name="T20" fmla="*/ 1651 w 1696"/>
                    <a:gd name="T21" fmla="*/ 754 h 1284"/>
                    <a:gd name="T22" fmla="*/ 1364 w 1696"/>
                    <a:gd name="T23" fmla="*/ 754 h 1284"/>
                    <a:gd name="T24" fmla="*/ 1319 w 1696"/>
                    <a:gd name="T25" fmla="*/ 788 h 1284"/>
                    <a:gd name="T26" fmla="*/ 1319 w 1696"/>
                    <a:gd name="T27" fmla="*/ 790 h 1284"/>
                    <a:gd name="T28" fmla="*/ 1507 w 1696"/>
                    <a:gd name="T29" fmla="*/ 836 h 1284"/>
                    <a:gd name="T30" fmla="*/ 1696 w 1696"/>
                    <a:gd name="T31" fmla="*/ 790 h 1284"/>
                    <a:gd name="T32" fmla="*/ 1696 w 1696"/>
                    <a:gd name="T33" fmla="*/ 788 h 1284"/>
                    <a:gd name="T34" fmla="*/ 1507 w 1696"/>
                    <a:gd name="T35" fmla="*/ 656 h 1284"/>
                    <a:gd name="T36" fmla="*/ 1319 w 1696"/>
                    <a:gd name="T37" fmla="*/ 626 h 1284"/>
                    <a:gd name="T38" fmla="*/ 1319 w 1696"/>
                    <a:gd name="T39" fmla="*/ 675 h 1284"/>
                    <a:gd name="T40" fmla="*/ 1319 w 1696"/>
                    <a:gd name="T41" fmla="*/ 678 h 1284"/>
                    <a:gd name="T42" fmla="*/ 1696 w 1696"/>
                    <a:gd name="T43" fmla="*/ 678 h 1284"/>
                    <a:gd name="T44" fmla="*/ 1695 w 1696"/>
                    <a:gd name="T45" fmla="*/ 675 h 1284"/>
                    <a:gd name="T46" fmla="*/ 1696 w 1696"/>
                    <a:gd name="T47" fmla="*/ 626 h 1284"/>
                    <a:gd name="T48" fmla="*/ 1507 w 1696"/>
                    <a:gd name="T49" fmla="*/ 656 h 1284"/>
                    <a:gd name="T50" fmla="*/ 1131 w 1696"/>
                    <a:gd name="T51" fmla="*/ 1091 h 1284"/>
                    <a:gd name="T52" fmla="*/ 1086 w 1696"/>
                    <a:gd name="T53" fmla="*/ 1125 h 1284"/>
                    <a:gd name="T54" fmla="*/ 1086 w 1696"/>
                    <a:gd name="T55" fmla="*/ 1128 h 1284"/>
                    <a:gd name="T56" fmla="*/ 1275 w 1696"/>
                    <a:gd name="T57" fmla="*/ 1174 h 1284"/>
                    <a:gd name="T58" fmla="*/ 1463 w 1696"/>
                    <a:gd name="T59" fmla="*/ 1128 h 1284"/>
                    <a:gd name="T60" fmla="*/ 1463 w 1696"/>
                    <a:gd name="T61" fmla="*/ 1125 h 1284"/>
                    <a:gd name="T62" fmla="*/ 1418 w 1696"/>
                    <a:gd name="T63" fmla="*/ 1091 h 1284"/>
                    <a:gd name="T64" fmla="*/ 1418 w 1696"/>
                    <a:gd name="T65" fmla="*/ 1203 h 1284"/>
                    <a:gd name="T66" fmla="*/ 1131 w 1696"/>
                    <a:gd name="T67" fmla="*/ 1203 h 1284"/>
                    <a:gd name="T68" fmla="*/ 1086 w 1696"/>
                    <a:gd name="T69" fmla="*/ 1237 h 1284"/>
                    <a:gd name="T70" fmla="*/ 1086 w 1696"/>
                    <a:gd name="T71" fmla="*/ 1239 h 1284"/>
                    <a:gd name="T72" fmla="*/ 1463 w 1696"/>
                    <a:gd name="T73" fmla="*/ 1239 h 1284"/>
                    <a:gd name="T74" fmla="*/ 1463 w 1696"/>
                    <a:gd name="T75" fmla="*/ 1237 h 1284"/>
                    <a:gd name="T76" fmla="*/ 1418 w 1696"/>
                    <a:gd name="T77" fmla="*/ 1203 h 1284"/>
                    <a:gd name="T78" fmla="*/ 1463 w 1696"/>
                    <a:gd name="T79" fmla="*/ 1017 h 1284"/>
                    <a:gd name="T80" fmla="*/ 1086 w 1696"/>
                    <a:gd name="T81" fmla="*/ 1017 h 1284"/>
                    <a:gd name="T82" fmla="*/ 1696 w 1696"/>
                    <a:gd name="T83" fmla="*/ 850 h 1284"/>
                    <a:gd name="T84" fmla="*/ 1507 w 1696"/>
                    <a:gd name="T85" fmla="*/ 880 h 1284"/>
                    <a:gd name="T86" fmla="*/ 1516 w 1696"/>
                    <a:gd name="T87" fmla="*/ 886 h 1284"/>
                    <a:gd name="T88" fmla="*/ 1696 w 1696"/>
                    <a:gd name="T89" fmla="*/ 903 h 1284"/>
                    <a:gd name="T90" fmla="*/ 1695 w 1696"/>
                    <a:gd name="T91" fmla="*/ 900 h 1284"/>
                    <a:gd name="T92" fmla="*/ 1696 w 1696"/>
                    <a:gd name="T93" fmla="*/ 850 h 1284"/>
                    <a:gd name="T94" fmla="*/ 1651 w 1696"/>
                    <a:gd name="T95" fmla="*/ 978 h 1284"/>
                    <a:gd name="T96" fmla="*/ 1595 w 1696"/>
                    <a:gd name="T97" fmla="*/ 1018 h 1284"/>
                    <a:gd name="T98" fmla="*/ 1696 w 1696"/>
                    <a:gd name="T99" fmla="*/ 1015 h 1284"/>
                    <a:gd name="T100" fmla="*/ 1695 w 1696"/>
                    <a:gd name="T101" fmla="*/ 1012 h 1284"/>
                    <a:gd name="T102" fmla="*/ 1696 w 1696"/>
                    <a:gd name="T103" fmla="*/ 962 h 1284"/>
                    <a:gd name="T104" fmla="*/ 1651 w 1696"/>
                    <a:gd name="T105" fmla="*/ 1090 h 1284"/>
                    <a:gd name="T106" fmla="*/ 1595 w 1696"/>
                    <a:gd name="T107" fmla="*/ 1165 h 1284"/>
                    <a:gd name="T108" fmla="*/ 1695 w 1696"/>
                    <a:gd name="T109" fmla="*/ 1124 h 1284"/>
                    <a:gd name="T110" fmla="*/ 1696 w 1696"/>
                    <a:gd name="T111" fmla="*/ 1074 h 1284"/>
                    <a:gd name="T112" fmla="*/ 1319 w 1696"/>
                    <a:gd name="T113" fmla="*/ 566 h 1284"/>
                    <a:gd name="T114" fmla="*/ 1507 w 1696"/>
                    <a:gd name="T115" fmla="*/ 612 h 1284"/>
                    <a:gd name="T116" fmla="*/ 1696 w 1696"/>
                    <a:gd name="T117" fmla="*/ 566 h 1284"/>
                    <a:gd name="T118" fmla="*/ 1695 w 1696"/>
                    <a:gd name="T119" fmla="*/ 563 h 1284"/>
                    <a:gd name="T120" fmla="*/ 1319 w 1696"/>
                    <a:gd name="T121" fmla="*/ 563 h 12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696" h="1284">
                      <a:moveTo>
                        <a:pt x="954" y="1153"/>
                      </a:moveTo>
                      <a:cubicBezTo>
                        <a:pt x="948" y="1153"/>
                        <a:pt x="942" y="1153"/>
                        <a:pt x="936" y="1153"/>
                      </a:cubicBezTo>
                      <a:cubicBezTo>
                        <a:pt x="317" y="1153"/>
                        <a:pt x="317" y="1153"/>
                        <a:pt x="317" y="1153"/>
                      </a:cubicBezTo>
                      <a:cubicBezTo>
                        <a:pt x="209" y="1153"/>
                        <a:pt x="128" y="1125"/>
                        <a:pt x="76" y="1069"/>
                      </a:cubicBezTo>
                      <a:cubicBezTo>
                        <a:pt x="0" y="988"/>
                        <a:pt x="6" y="870"/>
                        <a:pt x="6" y="870"/>
                      </a:cubicBezTo>
                      <a:cubicBezTo>
                        <a:pt x="6" y="868"/>
                        <a:pt x="6" y="867"/>
                        <a:pt x="6" y="866"/>
                      </a:cubicBezTo>
                      <a:cubicBezTo>
                        <a:pt x="6" y="729"/>
                        <a:pt x="80" y="559"/>
                        <a:pt x="222" y="376"/>
                      </a:cubicBezTo>
                      <a:cubicBezTo>
                        <a:pt x="330" y="234"/>
                        <a:pt x="447" y="126"/>
                        <a:pt x="479" y="99"/>
                      </a:cubicBezTo>
                      <a:cubicBezTo>
                        <a:pt x="505" y="77"/>
                        <a:pt x="520" y="48"/>
                        <a:pt x="520" y="17"/>
                      </a:cubicBezTo>
                      <a:cubicBezTo>
                        <a:pt x="521" y="12"/>
                        <a:pt x="520" y="8"/>
                        <a:pt x="520" y="3"/>
                      </a:cubicBezTo>
                      <a:cubicBezTo>
                        <a:pt x="552" y="1"/>
                        <a:pt x="589" y="0"/>
                        <a:pt x="630" y="0"/>
                      </a:cubicBezTo>
                      <a:cubicBezTo>
                        <a:pt x="668" y="0"/>
                        <a:pt x="703" y="1"/>
                        <a:pt x="733" y="3"/>
                      </a:cubicBezTo>
                      <a:cubicBezTo>
                        <a:pt x="733" y="7"/>
                        <a:pt x="732" y="12"/>
                        <a:pt x="732" y="17"/>
                      </a:cubicBezTo>
                      <a:cubicBezTo>
                        <a:pt x="733" y="48"/>
                        <a:pt x="748" y="77"/>
                        <a:pt x="774" y="99"/>
                      </a:cubicBezTo>
                      <a:cubicBezTo>
                        <a:pt x="806" y="126"/>
                        <a:pt x="922" y="234"/>
                        <a:pt x="1031" y="376"/>
                      </a:cubicBezTo>
                      <a:cubicBezTo>
                        <a:pt x="1098" y="463"/>
                        <a:pt x="1150" y="547"/>
                        <a:pt x="1187" y="626"/>
                      </a:cubicBezTo>
                      <a:cubicBezTo>
                        <a:pt x="1187" y="845"/>
                        <a:pt x="1187" y="845"/>
                        <a:pt x="1187" y="845"/>
                      </a:cubicBezTo>
                      <a:cubicBezTo>
                        <a:pt x="1159" y="847"/>
                        <a:pt x="1133" y="852"/>
                        <a:pt x="1110" y="857"/>
                      </a:cubicBezTo>
                      <a:cubicBezTo>
                        <a:pt x="974" y="890"/>
                        <a:pt x="954" y="972"/>
                        <a:pt x="954" y="1018"/>
                      </a:cubicBezTo>
                      <a:lnTo>
                        <a:pt x="954" y="1153"/>
                      </a:lnTo>
                      <a:close/>
                      <a:moveTo>
                        <a:pt x="1696" y="738"/>
                      </a:moveTo>
                      <a:cubicBezTo>
                        <a:pt x="1684" y="744"/>
                        <a:pt x="1669" y="749"/>
                        <a:pt x="1651" y="754"/>
                      </a:cubicBezTo>
                      <a:cubicBezTo>
                        <a:pt x="1612" y="763"/>
                        <a:pt x="1561" y="768"/>
                        <a:pt x="1507" y="768"/>
                      </a:cubicBezTo>
                      <a:cubicBezTo>
                        <a:pt x="1453" y="768"/>
                        <a:pt x="1402" y="763"/>
                        <a:pt x="1364" y="754"/>
                      </a:cubicBezTo>
                      <a:cubicBezTo>
                        <a:pt x="1346" y="749"/>
                        <a:pt x="1331" y="744"/>
                        <a:pt x="1319" y="738"/>
                      </a:cubicBezTo>
                      <a:cubicBezTo>
                        <a:pt x="1319" y="788"/>
                        <a:pt x="1319" y="788"/>
                        <a:pt x="1319" y="788"/>
                      </a:cubicBezTo>
                      <a:cubicBezTo>
                        <a:pt x="1319" y="788"/>
                        <a:pt x="1319" y="788"/>
                        <a:pt x="1319" y="788"/>
                      </a:cubicBezTo>
                      <a:cubicBezTo>
                        <a:pt x="1319" y="788"/>
                        <a:pt x="1319" y="789"/>
                        <a:pt x="1319" y="790"/>
                      </a:cubicBezTo>
                      <a:cubicBezTo>
                        <a:pt x="1319" y="790"/>
                        <a:pt x="1319" y="790"/>
                        <a:pt x="1319" y="790"/>
                      </a:cubicBezTo>
                      <a:cubicBezTo>
                        <a:pt x="1319" y="816"/>
                        <a:pt x="1403" y="836"/>
                        <a:pt x="1507" y="836"/>
                      </a:cubicBezTo>
                      <a:cubicBezTo>
                        <a:pt x="1611" y="836"/>
                        <a:pt x="1696" y="816"/>
                        <a:pt x="1696" y="790"/>
                      </a:cubicBezTo>
                      <a:cubicBezTo>
                        <a:pt x="1696" y="790"/>
                        <a:pt x="1696" y="790"/>
                        <a:pt x="1696" y="790"/>
                      </a:cubicBezTo>
                      <a:cubicBezTo>
                        <a:pt x="1696" y="789"/>
                        <a:pt x="1696" y="788"/>
                        <a:pt x="1695" y="788"/>
                      </a:cubicBezTo>
                      <a:cubicBezTo>
                        <a:pt x="1696" y="788"/>
                        <a:pt x="1696" y="788"/>
                        <a:pt x="1696" y="788"/>
                      </a:cubicBezTo>
                      <a:lnTo>
                        <a:pt x="1696" y="738"/>
                      </a:lnTo>
                      <a:close/>
                      <a:moveTo>
                        <a:pt x="1507" y="656"/>
                      </a:moveTo>
                      <a:cubicBezTo>
                        <a:pt x="1453" y="656"/>
                        <a:pt x="1402" y="651"/>
                        <a:pt x="1364" y="642"/>
                      </a:cubicBezTo>
                      <a:cubicBezTo>
                        <a:pt x="1346" y="637"/>
                        <a:pt x="1331" y="632"/>
                        <a:pt x="1319" y="626"/>
                      </a:cubicBezTo>
                      <a:cubicBezTo>
                        <a:pt x="1319" y="675"/>
                        <a:pt x="1319" y="675"/>
                        <a:pt x="1319" y="675"/>
                      </a:cubicBezTo>
                      <a:cubicBezTo>
                        <a:pt x="1319" y="675"/>
                        <a:pt x="1319" y="675"/>
                        <a:pt x="1319" y="675"/>
                      </a:cubicBezTo>
                      <a:cubicBezTo>
                        <a:pt x="1319" y="676"/>
                        <a:pt x="1319" y="677"/>
                        <a:pt x="1319" y="678"/>
                      </a:cubicBezTo>
                      <a:cubicBezTo>
                        <a:pt x="1319" y="678"/>
                        <a:pt x="1319" y="678"/>
                        <a:pt x="1319" y="678"/>
                      </a:cubicBezTo>
                      <a:cubicBezTo>
                        <a:pt x="1319" y="704"/>
                        <a:pt x="1403" y="724"/>
                        <a:pt x="1507" y="724"/>
                      </a:cubicBezTo>
                      <a:cubicBezTo>
                        <a:pt x="1611" y="724"/>
                        <a:pt x="1696" y="704"/>
                        <a:pt x="1696" y="678"/>
                      </a:cubicBezTo>
                      <a:cubicBezTo>
                        <a:pt x="1696" y="678"/>
                        <a:pt x="1696" y="678"/>
                        <a:pt x="1696" y="678"/>
                      </a:cubicBezTo>
                      <a:cubicBezTo>
                        <a:pt x="1696" y="677"/>
                        <a:pt x="1696" y="676"/>
                        <a:pt x="1695" y="675"/>
                      </a:cubicBezTo>
                      <a:cubicBezTo>
                        <a:pt x="1696" y="675"/>
                        <a:pt x="1696" y="675"/>
                        <a:pt x="1696" y="675"/>
                      </a:cubicBezTo>
                      <a:cubicBezTo>
                        <a:pt x="1696" y="626"/>
                        <a:pt x="1696" y="626"/>
                        <a:pt x="1696" y="626"/>
                      </a:cubicBezTo>
                      <a:cubicBezTo>
                        <a:pt x="1684" y="632"/>
                        <a:pt x="1669" y="637"/>
                        <a:pt x="1651" y="642"/>
                      </a:cubicBezTo>
                      <a:cubicBezTo>
                        <a:pt x="1612" y="651"/>
                        <a:pt x="1561" y="656"/>
                        <a:pt x="1507" y="656"/>
                      </a:cubicBezTo>
                      <a:close/>
                      <a:moveTo>
                        <a:pt x="1275" y="1106"/>
                      </a:moveTo>
                      <a:cubicBezTo>
                        <a:pt x="1221" y="1106"/>
                        <a:pt x="1170" y="1100"/>
                        <a:pt x="1131" y="1091"/>
                      </a:cubicBezTo>
                      <a:cubicBezTo>
                        <a:pt x="1113" y="1087"/>
                        <a:pt x="1098" y="1082"/>
                        <a:pt x="1086" y="1076"/>
                      </a:cubicBezTo>
                      <a:cubicBezTo>
                        <a:pt x="1086" y="1125"/>
                        <a:pt x="1086" y="1125"/>
                        <a:pt x="1086" y="1125"/>
                      </a:cubicBezTo>
                      <a:cubicBezTo>
                        <a:pt x="1087" y="1125"/>
                        <a:pt x="1087" y="1125"/>
                        <a:pt x="1087" y="1125"/>
                      </a:cubicBezTo>
                      <a:cubicBezTo>
                        <a:pt x="1086" y="1126"/>
                        <a:pt x="1086" y="1127"/>
                        <a:pt x="1086" y="1128"/>
                      </a:cubicBezTo>
                      <a:cubicBezTo>
                        <a:pt x="1086" y="1128"/>
                        <a:pt x="1086" y="1128"/>
                        <a:pt x="1086" y="1128"/>
                      </a:cubicBezTo>
                      <a:cubicBezTo>
                        <a:pt x="1086" y="1153"/>
                        <a:pt x="1171" y="1174"/>
                        <a:pt x="1275" y="1174"/>
                      </a:cubicBezTo>
                      <a:cubicBezTo>
                        <a:pt x="1379" y="1174"/>
                        <a:pt x="1463" y="1153"/>
                        <a:pt x="1463" y="1128"/>
                      </a:cubicBezTo>
                      <a:cubicBezTo>
                        <a:pt x="1463" y="1128"/>
                        <a:pt x="1463" y="1128"/>
                        <a:pt x="1463" y="1128"/>
                      </a:cubicBezTo>
                      <a:cubicBezTo>
                        <a:pt x="1463" y="1127"/>
                        <a:pt x="1463" y="1126"/>
                        <a:pt x="1463" y="1125"/>
                      </a:cubicBezTo>
                      <a:cubicBezTo>
                        <a:pt x="1463" y="1125"/>
                        <a:pt x="1463" y="1125"/>
                        <a:pt x="1463" y="1125"/>
                      </a:cubicBezTo>
                      <a:cubicBezTo>
                        <a:pt x="1463" y="1076"/>
                        <a:pt x="1463" y="1076"/>
                        <a:pt x="1463" y="1076"/>
                      </a:cubicBezTo>
                      <a:cubicBezTo>
                        <a:pt x="1451" y="1082"/>
                        <a:pt x="1436" y="1087"/>
                        <a:pt x="1418" y="1091"/>
                      </a:cubicBezTo>
                      <a:cubicBezTo>
                        <a:pt x="1379" y="1100"/>
                        <a:pt x="1328" y="1106"/>
                        <a:pt x="1275" y="1106"/>
                      </a:cubicBezTo>
                      <a:close/>
                      <a:moveTo>
                        <a:pt x="1418" y="1203"/>
                      </a:moveTo>
                      <a:cubicBezTo>
                        <a:pt x="1379" y="1213"/>
                        <a:pt x="1328" y="1218"/>
                        <a:pt x="1275" y="1218"/>
                      </a:cubicBezTo>
                      <a:cubicBezTo>
                        <a:pt x="1221" y="1218"/>
                        <a:pt x="1170" y="1213"/>
                        <a:pt x="1131" y="1203"/>
                      </a:cubicBezTo>
                      <a:cubicBezTo>
                        <a:pt x="1113" y="1199"/>
                        <a:pt x="1098" y="1194"/>
                        <a:pt x="1086" y="1188"/>
                      </a:cubicBezTo>
                      <a:cubicBezTo>
                        <a:pt x="1086" y="1237"/>
                        <a:pt x="1086" y="1237"/>
                        <a:pt x="1086" y="1237"/>
                      </a:cubicBezTo>
                      <a:cubicBezTo>
                        <a:pt x="1087" y="1237"/>
                        <a:pt x="1087" y="1237"/>
                        <a:pt x="1087" y="1237"/>
                      </a:cubicBezTo>
                      <a:cubicBezTo>
                        <a:pt x="1086" y="1238"/>
                        <a:pt x="1086" y="1238"/>
                        <a:pt x="1086" y="1239"/>
                      </a:cubicBezTo>
                      <a:cubicBezTo>
                        <a:pt x="1088" y="1264"/>
                        <a:pt x="1172" y="1284"/>
                        <a:pt x="1275" y="1284"/>
                      </a:cubicBezTo>
                      <a:cubicBezTo>
                        <a:pt x="1378" y="1284"/>
                        <a:pt x="1461" y="1264"/>
                        <a:pt x="1463" y="1239"/>
                      </a:cubicBezTo>
                      <a:cubicBezTo>
                        <a:pt x="1463" y="1238"/>
                        <a:pt x="1463" y="1238"/>
                        <a:pt x="1463" y="1237"/>
                      </a:cubicBezTo>
                      <a:cubicBezTo>
                        <a:pt x="1463" y="1237"/>
                        <a:pt x="1463" y="1237"/>
                        <a:pt x="1463" y="1237"/>
                      </a:cubicBezTo>
                      <a:cubicBezTo>
                        <a:pt x="1463" y="1188"/>
                        <a:pt x="1463" y="1188"/>
                        <a:pt x="1463" y="1188"/>
                      </a:cubicBezTo>
                      <a:cubicBezTo>
                        <a:pt x="1451" y="1194"/>
                        <a:pt x="1436" y="1199"/>
                        <a:pt x="1418" y="1203"/>
                      </a:cubicBezTo>
                      <a:close/>
                      <a:moveTo>
                        <a:pt x="1275" y="1062"/>
                      </a:moveTo>
                      <a:cubicBezTo>
                        <a:pt x="1377" y="1062"/>
                        <a:pt x="1461" y="1042"/>
                        <a:pt x="1463" y="1017"/>
                      </a:cubicBezTo>
                      <a:cubicBezTo>
                        <a:pt x="1461" y="992"/>
                        <a:pt x="1377" y="972"/>
                        <a:pt x="1275" y="972"/>
                      </a:cubicBezTo>
                      <a:cubicBezTo>
                        <a:pt x="1172" y="972"/>
                        <a:pt x="1089" y="992"/>
                        <a:pt x="1086" y="1017"/>
                      </a:cubicBezTo>
                      <a:cubicBezTo>
                        <a:pt x="1089" y="1042"/>
                        <a:pt x="1172" y="1062"/>
                        <a:pt x="1275" y="1062"/>
                      </a:cubicBezTo>
                      <a:close/>
                      <a:moveTo>
                        <a:pt x="1696" y="850"/>
                      </a:moveTo>
                      <a:cubicBezTo>
                        <a:pt x="1684" y="856"/>
                        <a:pt x="1669" y="861"/>
                        <a:pt x="1651" y="866"/>
                      </a:cubicBezTo>
                      <a:cubicBezTo>
                        <a:pt x="1612" y="875"/>
                        <a:pt x="1561" y="880"/>
                        <a:pt x="1507" y="880"/>
                      </a:cubicBezTo>
                      <a:cubicBezTo>
                        <a:pt x="1506" y="880"/>
                        <a:pt x="1505" y="880"/>
                        <a:pt x="1504" y="880"/>
                      </a:cubicBezTo>
                      <a:cubicBezTo>
                        <a:pt x="1508" y="882"/>
                        <a:pt x="1512" y="884"/>
                        <a:pt x="1516" y="886"/>
                      </a:cubicBezTo>
                      <a:cubicBezTo>
                        <a:pt x="1542" y="902"/>
                        <a:pt x="1562" y="922"/>
                        <a:pt x="1576" y="945"/>
                      </a:cubicBezTo>
                      <a:cubicBezTo>
                        <a:pt x="1646" y="939"/>
                        <a:pt x="1696" y="922"/>
                        <a:pt x="1696" y="903"/>
                      </a:cubicBezTo>
                      <a:cubicBezTo>
                        <a:pt x="1696" y="903"/>
                        <a:pt x="1696" y="903"/>
                        <a:pt x="1696" y="903"/>
                      </a:cubicBezTo>
                      <a:cubicBezTo>
                        <a:pt x="1696" y="902"/>
                        <a:pt x="1696" y="901"/>
                        <a:pt x="1695" y="900"/>
                      </a:cubicBezTo>
                      <a:cubicBezTo>
                        <a:pt x="1696" y="900"/>
                        <a:pt x="1696" y="900"/>
                        <a:pt x="1696" y="900"/>
                      </a:cubicBezTo>
                      <a:lnTo>
                        <a:pt x="1696" y="850"/>
                      </a:lnTo>
                      <a:close/>
                      <a:moveTo>
                        <a:pt x="1696" y="962"/>
                      </a:moveTo>
                      <a:cubicBezTo>
                        <a:pt x="1684" y="968"/>
                        <a:pt x="1669" y="973"/>
                        <a:pt x="1651" y="978"/>
                      </a:cubicBezTo>
                      <a:cubicBezTo>
                        <a:pt x="1634" y="982"/>
                        <a:pt x="1614" y="985"/>
                        <a:pt x="1592" y="988"/>
                      </a:cubicBezTo>
                      <a:cubicBezTo>
                        <a:pt x="1594" y="998"/>
                        <a:pt x="1595" y="1008"/>
                        <a:pt x="1595" y="1018"/>
                      </a:cubicBezTo>
                      <a:cubicBezTo>
                        <a:pt x="1595" y="1055"/>
                        <a:pt x="1595" y="1055"/>
                        <a:pt x="1595" y="1055"/>
                      </a:cubicBezTo>
                      <a:cubicBezTo>
                        <a:pt x="1655" y="1047"/>
                        <a:pt x="1696" y="1032"/>
                        <a:pt x="1696" y="1015"/>
                      </a:cubicBezTo>
                      <a:cubicBezTo>
                        <a:pt x="1696" y="1015"/>
                        <a:pt x="1696" y="1015"/>
                        <a:pt x="1696" y="1015"/>
                      </a:cubicBezTo>
                      <a:cubicBezTo>
                        <a:pt x="1696" y="1014"/>
                        <a:pt x="1696" y="1013"/>
                        <a:pt x="1695" y="1012"/>
                      </a:cubicBezTo>
                      <a:cubicBezTo>
                        <a:pt x="1696" y="1012"/>
                        <a:pt x="1696" y="1012"/>
                        <a:pt x="1696" y="1012"/>
                      </a:cubicBezTo>
                      <a:lnTo>
                        <a:pt x="1696" y="962"/>
                      </a:lnTo>
                      <a:close/>
                      <a:moveTo>
                        <a:pt x="1696" y="1074"/>
                      </a:moveTo>
                      <a:cubicBezTo>
                        <a:pt x="1684" y="1080"/>
                        <a:pt x="1669" y="1085"/>
                        <a:pt x="1651" y="1090"/>
                      </a:cubicBezTo>
                      <a:cubicBezTo>
                        <a:pt x="1634" y="1094"/>
                        <a:pt x="1616" y="1097"/>
                        <a:pt x="1595" y="1099"/>
                      </a:cubicBezTo>
                      <a:cubicBezTo>
                        <a:pt x="1595" y="1165"/>
                        <a:pt x="1595" y="1165"/>
                        <a:pt x="1595" y="1165"/>
                      </a:cubicBezTo>
                      <a:cubicBezTo>
                        <a:pt x="1654" y="1158"/>
                        <a:pt x="1695" y="1143"/>
                        <a:pt x="1696" y="1126"/>
                      </a:cubicBezTo>
                      <a:cubicBezTo>
                        <a:pt x="1696" y="1125"/>
                        <a:pt x="1696" y="1124"/>
                        <a:pt x="1695" y="1124"/>
                      </a:cubicBezTo>
                      <a:cubicBezTo>
                        <a:pt x="1696" y="1124"/>
                        <a:pt x="1696" y="1124"/>
                        <a:pt x="1696" y="1124"/>
                      </a:cubicBezTo>
                      <a:lnTo>
                        <a:pt x="1696" y="1074"/>
                      </a:lnTo>
                      <a:close/>
                      <a:moveTo>
                        <a:pt x="1319" y="565"/>
                      </a:moveTo>
                      <a:cubicBezTo>
                        <a:pt x="1319" y="565"/>
                        <a:pt x="1319" y="566"/>
                        <a:pt x="1319" y="566"/>
                      </a:cubicBezTo>
                      <a:cubicBezTo>
                        <a:pt x="1319" y="566"/>
                        <a:pt x="1319" y="566"/>
                        <a:pt x="1319" y="566"/>
                      </a:cubicBezTo>
                      <a:cubicBezTo>
                        <a:pt x="1319" y="592"/>
                        <a:pt x="1403" y="612"/>
                        <a:pt x="1507" y="612"/>
                      </a:cubicBezTo>
                      <a:cubicBezTo>
                        <a:pt x="1611" y="612"/>
                        <a:pt x="1696" y="592"/>
                        <a:pt x="1696" y="566"/>
                      </a:cubicBezTo>
                      <a:cubicBezTo>
                        <a:pt x="1696" y="566"/>
                        <a:pt x="1696" y="566"/>
                        <a:pt x="1696" y="566"/>
                      </a:cubicBezTo>
                      <a:cubicBezTo>
                        <a:pt x="1696" y="566"/>
                        <a:pt x="1696" y="565"/>
                        <a:pt x="1696" y="565"/>
                      </a:cubicBezTo>
                      <a:cubicBezTo>
                        <a:pt x="1696" y="564"/>
                        <a:pt x="1695" y="564"/>
                        <a:pt x="1695" y="563"/>
                      </a:cubicBezTo>
                      <a:cubicBezTo>
                        <a:pt x="1689" y="539"/>
                        <a:pt x="1607" y="520"/>
                        <a:pt x="1507" y="520"/>
                      </a:cubicBezTo>
                      <a:cubicBezTo>
                        <a:pt x="1407" y="520"/>
                        <a:pt x="1325" y="539"/>
                        <a:pt x="1319" y="563"/>
                      </a:cubicBezTo>
                      <a:cubicBezTo>
                        <a:pt x="1319" y="564"/>
                        <a:pt x="1319" y="564"/>
                        <a:pt x="1319" y="565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grpSp>
        <p:nvGrpSpPr>
          <p:cNvPr id="8" name="Group 7"/>
          <p:cNvGrpSpPr/>
          <p:nvPr/>
        </p:nvGrpSpPr>
        <p:grpSpPr>
          <a:xfrm>
            <a:off x="8942641" y="2076118"/>
            <a:ext cx="1237728" cy="1237728"/>
            <a:chOff x="9223532" y="2076118"/>
            <a:chExt cx="1237728" cy="1237728"/>
          </a:xfrm>
        </p:grpSpPr>
        <p:sp>
          <p:nvSpPr>
            <p:cNvPr id="69" name="Oval 68"/>
            <p:cNvSpPr/>
            <p:nvPr/>
          </p:nvSpPr>
          <p:spPr>
            <a:xfrm>
              <a:off x="9223532" y="2076118"/>
              <a:ext cx="1237728" cy="1237728"/>
            </a:xfrm>
            <a:prstGeom prst="ellipse">
              <a:avLst/>
            </a:prstGeom>
            <a:solidFill>
              <a:srgbClr val="FFFFFF"/>
            </a:solidFill>
            <a:ln w="3810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kern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32" name="Group 31"/>
            <p:cNvGrpSpPr>
              <a:grpSpLocks noChangeAspect="1"/>
            </p:cNvGrpSpPr>
            <p:nvPr/>
          </p:nvGrpSpPr>
          <p:grpSpPr>
            <a:xfrm>
              <a:off x="9385195" y="2237782"/>
              <a:ext cx="914400" cy="914400"/>
              <a:chOff x="5273675" y="2606675"/>
              <a:chExt cx="1644650" cy="1644650"/>
            </a:xfrm>
          </p:grpSpPr>
          <p:sp>
            <p:nvSpPr>
              <p:cNvPr id="34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4650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36" name="Group 35"/>
              <p:cNvGrpSpPr/>
              <p:nvPr/>
            </p:nvGrpSpPr>
            <p:grpSpPr>
              <a:xfrm>
                <a:off x="5648325" y="2890838"/>
                <a:ext cx="896938" cy="1190625"/>
                <a:chOff x="5648325" y="2890838"/>
                <a:chExt cx="896938" cy="1190625"/>
              </a:xfrm>
            </p:grpSpPr>
            <p:sp>
              <p:nvSpPr>
                <p:cNvPr id="37" name="Freeform 36"/>
                <p:cNvSpPr>
                  <a:spLocks/>
                </p:cNvSpPr>
                <p:nvPr/>
              </p:nvSpPr>
              <p:spPr bwMode="auto">
                <a:xfrm>
                  <a:off x="5648325" y="2890838"/>
                  <a:ext cx="896938" cy="1190625"/>
                </a:xfrm>
                <a:custGeom>
                  <a:avLst/>
                  <a:gdLst>
                    <a:gd name="connsiteX0" fmla="*/ 30163 w 896938"/>
                    <a:gd name="connsiteY0" fmla="*/ 30162 h 1190625"/>
                    <a:gd name="connsiteX1" fmla="*/ 30163 w 896938"/>
                    <a:gd name="connsiteY1" fmla="*/ 1160462 h 1190625"/>
                    <a:gd name="connsiteX2" fmla="*/ 866776 w 896938"/>
                    <a:gd name="connsiteY2" fmla="*/ 1160462 h 1190625"/>
                    <a:gd name="connsiteX3" fmla="*/ 866776 w 896938"/>
                    <a:gd name="connsiteY3" fmla="*/ 30162 h 1190625"/>
                    <a:gd name="connsiteX4" fmla="*/ 15686 w 896938"/>
                    <a:gd name="connsiteY4" fmla="*/ 0 h 1190625"/>
                    <a:gd name="connsiteX5" fmla="*/ 881252 w 896938"/>
                    <a:gd name="connsiteY5" fmla="*/ 0 h 1190625"/>
                    <a:gd name="connsiteX6" fmla="*/ 896938 w 896938"/>
                    <a:gd name="connsiteY6" fmla="*/ 15685 h 1190625"/>
                    <a:gd name="connsiteX7" fmla="*/ 896938 w 896938"/>
                    <a:gd name="connsiteY7" fmla="*/ 1174940 h 1190625"/>
                    <a:gd name="connsiteX8" fmla="*/ 881252 w 896938"/>
                    <a:gd name="connsiteY8" fmla="*/ 1190625 h 1190625"/>
                    <a:gd name="connsiteX9" fmla="*/ 15686 w 896938"/>
                    <a:gd name="connsiteY9" fmla="*/ 1190625 h 1190625"/>
                    <a:gd name="connsiteX10" fmla="*/ 0 w 896938"/>
                    <a:gd name="connsiteY10" fmla="*/ 1174940 h 1190625"/>
                    <a:gd name="connsiteX11" fmla="*/ 0 w 896938"/>
                    <a:gd name="connsiteY11" fmla="*/ 15685 h 1190625"/>
                    <a:gd name="connsiteX12" fmla="*/ 15686 w 896938"/>
                    <a:gd name="connsiteY12" fmla="*/ 0 h 11906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896938" h="1190625">
                      <a:moveTo>
                        <a:pt x="30163" y="30162"/>
                      </a:moveTo>
                      <a:lnTo>
                        <a:pt x="30163" y="1160462"/>
                      </a:lnTo>
                      <a:lnTo>
                        <a:pt x="866776" y="1160462"/>
                      </a:lnTo>
                      <a:lnTo>
                        <a:pt x="866776" y="30162"/>
                      </a:lnTo>
                      <a:close/>
                      <a:moveTo>
                        <a:pt x="15686" y="0"/>
                      </a:moveTo>
                      <a:cubicBezTo>
                        <a:pt x="15686" y="0"/>
                        <a:pt x="15686" y="0"/>
                        <a:pt x="881252" y="0"/>
                      </a:cubicBezTo>
                      <a:cubicBezTo>
                        <a:pt x="890521" y="0"/>
                        <a:pt x="896938" y="7130"/>
                        <a:pt x="896938" y="15685"/>
                      </a:cubicBezTo>
                      <a:cubicBezTo>
                        <a:pt x="896938" y="15685"/>
                        <a:pt x="896938" y="15685"/>
                        <a:pt x="896938" y="1174940"/>
                      </a:cubicBezTo>
                      <a:cubicBezTo>
                        <a:pt x="896938" y="1184209"/>
                        <a:pt x="890521" y="1190625"/>
                        <a:pt x="881252" y="1190625"/>
                      </a:cubicBezTo>
                      <a:cubicBezTo>
                        <a:pt x="881252" y="1190625"/>
                        <a:pt x="881252" y="1190625"/>
                        <a:pt x="15686" y="1190625"/>
                      </a:cubicBezTo>
                      <a:cubicBezTo>
                        <a:pt x="6417" y="1190625"/>
                        <a:pt x="0" y="1184209"/>
                        <a:pt x="0" y="1174940"/>
                      </a:cubicBezTo>
                      <a:cubicBezTo>
                        <a:pt x="0" y="1174940"/>
                        <a:pt x="0" y="1174940"/>
                        <a:pt x="0" y="15685"/>
                      </a:cubicBezTo>
                      <a:cubicBezTo>
                        <a:pt x="0" y="7130"/>
                        <a:pt x="6417" y="0"/>
                        <a:pt x="15686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38" name="Freeform 37"/>
                <p:cNvSpPr>
                  <a:spLocks/>
                </p:cNvSpPr>
                <p:nvPr/>
              </p:nvSpPr>
              <p:spPr bwMode="auto">
                <a:xfrm>
                  <a:off x="5808663" y="3076575"/>
                  <a:ext cx="576263" cy="820738"/>
                </a:xfrm>
                <a:custGeom>
                  <a:avLst/>
                  <a:gdLst>
                    <a:gd name="connsiteX0" fmla="*/ 19995 w 576263"/>
                    <a:gd name="connsiteY0" fmla="*/ 779463 h 820738"/>
                    <a:gd name="connsiteX1" fmla="*/ 555555 w 576263"/>
                    <a:gd name="connsiteY1" fmla="*/ 779463 h 820738"/>
                    <a:gd name="connsiteX2" fmla="*/ 574835 w 576263"/>
                    <a:gd name="connsiteY2" fmla="*/ 795678 h 820738"/>
                    <a:gd name="connsiteX3" fmla="*/ 576263 w 576263"/>
                    <a:gd name="connsiteY3" fmla="*/ 801575 h 820738"/>
                    <a:gd name="connsiteX4" fmla="*/ 556269 w 576263"/>
                    <a:gd name="connsiteY4" fmla="*/ 820738 h 820738"/>
                    <a:gd name="connsiteX5" fmla="*/ 19995 w 576263"/>
                    <a:gd name="connsiteY5" fmla="*/ 820738 h 820738"/>
                    <a:gd name="connsiteX6" fmla="*/ 1428 w 576263"/>
                    <a:gd name="connsiteY6" fmla="*/ 807471 h 820738"/>
                    <a:gd name="connsiteX7" fmla="*/ 0 w 576263"/>
                    <a:gd name="connsiteY7" fmla="*/ 799364 h 820738"/>
                    <a:gd name="connsiteX8" fmla="*/ 19995 w 576263"/>
                    <a:gd name="connsiteY8" fmla="*/ 779463 h 820738"/>
                    <a:gd name="connsiteX9" fmla="*/ 19995 w 576263"/>
                    <a:gd name="connsiteY9" fmla="*/ 650875 h 820738"/>
                    <a:gd name="connsiteX10" fmla="*/ 555555 w 576263"/>
                    <a:gd name="connsiteY10" fmla="*/ 650875 h 820738"/>
                    <a:gd name="connsiteX11" fmla="*/ 573407 w 576263"/>
                    <a:gd name="connsiteY11" fmla="*/ 661319 h 820738"/>
                    <a:gd name="connsiteX12" fmla="*/ 576263 w 576263"/>
                    <a:gd name="connsiteY12" fmla="*/ 671067 h 820738"/>
                    <a:gd name="connsiteX13" fmla="*/ 556269 w 576263"/>
                    <a:gd name="connsiteY13" fmla="*/ 690563 h 820738"/>
                    <a:gd name="connsiteX14" fmla="*/ 19995 w 576263"/>
                    <a:gd name="connsiteY14" fmla="*/ 690563 h 820738"/>
                    <a:gd name="connsiteX15" fmla="*/ 4999 w 576263"/>
                    <a:gd name="connsiteY15" fmla="*/ 682904 h 820738"/>
                    <a:gd name="connsiteX16" fmla="*/ 0 w 576263"/>
                    <a:gd name="connsiteY16" fmla="*/ 670371 h 820738"/>
                    <a:gd name="connsiteX17" fmla="*/ 19995 w 576263"/>
                    <a:gd name="connsiteY17" fmla="*/ 650875 h 820738"/>
                    <a:gd name="connsiteX18" fmla="*/ 20019 w 576263"/>
                    <a:gd name="connsiteY18" fmla="*/ 520700 h 820738"/>
                    <a:gd name="connsiteX19" fmla="*/ 556244 w 576263"/>
                    <a:gd name="connsiteY19" fmla="*/ 520700 h 820738"/>
                    <a:gd name="connsiteX20" fmla="*/ 576263 w 576263"/>
                    <a:gd name="connsiteY20" fmla="*/ 540183 h 820738"/>
                    <a:gd name="connsiteX21" fmla="*/ 556244 w 576263"/>
                    <a:gd name="connsiteY21" fmla="*/ 560388 h 820738"/>
                    <a:gd name="connsiteX22" fmla="*/ 20019 w 576263"/>
                    <a:gd name="connsiteY22" fmla="*/ 560388 h 820738"/>
                    <a:gd name="connsiteX23" fmla="*/ 0 w 576263"/>
                    <a:gd name="connsiteY23" fmla="*/ 540183 h 820738"/>
                    <a:gd name="connsiteX24" fmla="*/ 20019 w 576263"/>
                    <a:gd name="connsiteY24" fmla="*/ 520700 h 820738"/>
                    <a:gd name="connsiteX25" fmla="*/ 20019 w 576263"/>
                    <a:gd name="connsiteY25" fmla="*/ 390525 h 820738"/>
                    <a:gd name="connsiteX26" fmla="*/ 556244 w 576263"/>
                    <a:gd name="connsiteY26" fmla="*/ 390525 h 820738"/>
                    <a:gd name="connsiteX27" fmla="*/ 576263 w 576263"/>
                    <a:gd name="connsiteY27" fmla="*/ 409216 h 820738"/>
                    <a:gd name="connsiteX28" fmla="*/ 556244 w 576263"/>
                    <a:gd name="connsiteY28" fmla="*/ 428625 h 820738"/>
                    <a:gd name="connsiteX29" fmla="*/ 20019 w 576263"/>
                    <a:gd name="connsiteY29" fmla="*/ 428625 h 820738"/>
                    <a:gd name="connsiteX30" fmla="*/ 0 w 576263"/>
                    <a:gd name="connsiteY30" fmla="*/ 409216 h 820738"/>
                    <a:gd name="connsiteX31" fmla="*/ 20019 w 576263"/>
                    <a:gd name="connsiteY31" fmla="*/ 390525 h 820738"/>
                    <a:gd name="connsiteX32" fmla="*/ 322512 w 576263"/>
                    <a:gd name="connsiteY32" fmla="*/ 260350 h 820738"/>
                    <a:gd name="connsiteX33" fmla="*/ 556248 w 576263"/>
                    <a:gd name="connsiteY33" fmla="*/ 260350 h 820738"/>
                    <a:gd name="connsiteX34" fmla="*/ 576262 w 576263"/>
                    <a:gd name="connsiteY34" fmla="*/ 279746 h 820738"/>
                    <a:gd name="connsiteX35" fmla="*/ 556248 w 576263"/>
                    <a:gd name="connsiteY35" fmla="*/ 298450 h 820738"/>
                    <a:gd name="connsiteX36" fmla="*/ 322512 w 576263"/>
                    <a:gd name="connsiteY36" fmla="*/ 298450 h 820738"/>
                    <a:gd name="connsiteX37" fmla="*/ 303212 w 576263"/>
                    <a:gd name="connsiteY37" fmla="*/ 279746 h 820738"/>
                    <a:gd name="connsiteX38" fmla="*/ 322512 w 576263"/>
                    <a:gd name="connsiteY38" fmla="*/ 260350 h 820738"/>
                    <a:gd name="connsiteX39" fmla="*/ 322512 w 576263"/>
                    <a:gd name="connsiteY39" fmla="*/ 130175 h 820738"/>
                    <a:gd name="connsiteX40" fmla="*/ 556248 w 576263"/>
                    <a:gd name="connsiteY40" fmla="*/ 130175 h 820738"/>
                    <a:gd name="connsiteX41" fmla="*/ 576262 w 576263"/>
                    <a:gd name="connsiteY41" fmla="*/ 149658 h 820738"/>
                    <a:gd name="connsiteX42" fmla="*/ 556248 w 576263"/>
                    <a:gd name="connsiteY42" fmla="*/ 169863 h 820738"/>
                    <a:gd name="connsiteX43" fmla="*/ 322512 w 576263"/>
                    <a:gd name="connsiteY43" fmla="*/ 169863 h 820738"/>
                    <a:gd name="connsiteX44" fmla="*/ 303212 w 576263"/>
                    <a:gd name="connsiteY44" fmla="*/ 149658 h 820738"/>
                    <a:gd name="connsiteX45" fmla="*/ 322512 w 576263"/>
                    <a:gd name="connsiteY45" fmla="*/ 130175 h 820738"/>
                    <a:gd name="connsiteX46" fmla="*/ 95128 w 576263"/>
                    <a:gd name="connsiteY46" fmla="*/ 19050 h 820738"/>
                    <a:gd name="connsiteX47" fmla="*/ 165222 w 576263"/>
                    <a:gd name="connsiteY47" fmla="*/ 19050 h 820738"/>
                    <a:gd name="connsiteX48" fmla="*/ 180243 w 576263"/>
                    <a:gd name="connsiteY48" fmla="*/ 34786 h 820738"/>
                    <a:gd name="connsiteX49" fmla="*/ 180243 w 576263"/>
                    <a:gd name="connsiteY49" fmla="*/ 99158 h 820738"/>
                    <a:gd name="connsiteX50" fmla="*/ 244615 w 576263"/>
                    <a:gd name="connsiteY50" fmla="*/ 99158 h 820738"/>
                    <a:gd name="connsiteX51" fmla="*/ 260350 w 576263"/>
                    <a:gd name="connsiteY51" fmla="*/ 114178 h 820738"/>
                    <a:gd name="connsiteX52" fmla="*/ 260350 w 576263"/>
                    <a:gd name="connsiteY52" fmla="*/ 184272 h 820738"/>
                    <a:gd name="connsiteX53" fmla="*/ 244615 w 576263"/>
                    <a:gd name="connsiteY53" fmla="*/ 200008 h 820738"/>
                    <a:gd name="connsiteX54" fmla="*/ 180243 w 576263"/>
                    <a:gd name="connsiteY54" fmla="*/ 200008 h 820738"/>
                    <a:gd name="connsiteX55" fmla="*/ 180243 w 576263"/>
                    <a:gd name="connsiteY55" fmla="*/ 263665 h 820738"/>
                    <a:gd name="connsiteX56" fmla="*/ 165222 w 576263"/>
                    <a:gd name="connsiteY56" fmla="*/ 279400 h 820738"/>
                    <a:gd name="connsiteX57" fmla="*/ 95128 w 576263"/>
                    <a:gd name="connsiteY57" fmla="*/ 279400 h 820738"/>
                    <a:gd name="connsiteX58" fmla="*/ 79393 w 576263"/>
                    <a:gd name="connsiteY58" fmla="*/ 263665 h 820738"/>
                    <a:gd name="connsiteX59" fmla="*/ 79393 w 576263"/>
                    <a:gd name="connsiteY59" fmla="*/ 200008 h 820738"/>
                    <a:gd name="connsiteX60" fmla="*/ 15020 w 576263"/>
                    <a:gd name="connsiteY60" fmla="*/ 200008 h 820738"/>
                    <a:gd name="connsiteX61" fmla="*/ 0 w 576263"/>
                    <a:gd name="connsiteY61" fmla="*/ 184272 h 820738"/>
                    <a:gd name="connsiteX62" fmla="*/ 0 w 576263"/>
                    <a:gd name="connsiteY62" fmla="*/ 114178 h 820738"/>
                    <a:gd name="connsiteX63" fmla="*/ 15020 w 576263"/>
                    <a:gd name="connsiteY63" fmla="*/ 99158 h 820738"/>
                    <a:gd name="connsiteX64" fmla="*/ 79393 w 576263"/>
                    <a:gd name="connsiteY64" fmla="*/ 99158 h 820738"/>
                    <a:gd name="connsiteX65" fmla="*/ 79393 w 576263"/>
                    <a:gd name="connsiteY65" fmla="*/ 34786 h 820738"/>
                    <a:gd name="connsiteX66" fmla="*/ 95128 w 576263"/>
                    <a:gd name="connsiteY66" fmla="*/ 19050 h 820738"/>
                    <a:gd name="connsiteX67" fmla="*/ 322512 w 576263"/>
                    <a:gd name="connsiteY67" fmla="*/ 0 h 820738"/>
                    <a:gd name="connsiteX68" fmla="*/ 556248 w 576263"/>
                    <a:gd name="connsiteY68" fmla="*/ 0 h 820738"/>
                    <a:gd name="connsiteX69" fmla="*/ 576262 w 576263"/>
                    <a:gd name="connsiteY69" fmla="*/ 20205 h 820738"/>
                    <a:gd name="connsiteX70" fmla="*/ 556248 w 576263"/>
                    <a:gd name="connsiteY70" fmla="*/ 39688 h 820738"/>
                    <a:gd name="connsiteX71" fmla="*/ 322512 w 576263"/>
                    <a:gd name="connsiteY71" fmla="*/ 39688 h 820738"/>
                    <a:gd name="connsiteX72" fmla="*/ 303212 w 576263"/>
                    <a:gd name="connsiteY72" fmla="*/ 20205 h 820738"/>
                    <a:gd name="connsiteX73" fmla="*/ 322512 w 576263"/>
                    <a:gd name="connsiteY73" fmla="*/ 0 h 8207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</a:cxnLst>
                  <a:rect l="l" t="t" r="r" b="b"/>
                  <a:pathLst>
                    <a:path w="576263" h="820738">
                      <a:moveTo>
                        <a:pt x="19995" y="779463"/>
                      </a:moveTo>
                      <a:cubicBezTo>
                        <a:pt x="555555" y="779463"/>
                        <a:pt x="555555" y="779463"/>
                        <a:pt x="555555" y="779463"/>
                      </a:cubicBezTo>
                      <a:cubicBezTo>
                        <a:pt x="565552" y="779463"/>
                        <a:pt x="573407" y="786097"/>
                        <a:pt x="574835" y="795678"/>
                      </a:cubicBezTo>
                      <a:cubicBezTo>
                        <a:pt x="575549" y="797152"/>
                        <a:pt x="576263" y="799364"/>
                        <a:pt x="576263" y="801575"/>
                      </a:cubicBezTo>
                      <a:cubicBezTo>
                        <a:pt x="576263" y="811893"/>
                        <a:pt x="567694" y="820738"/>
                        <a:pt x="556269" y="820738"/>
                      </a:cubicBezTo>
                      <a:cubicBezTo>
                        <a:pt x="19995" y="820738"/>
                        <a:pt x="19995" y="820738"/>
                        <a:pt x="19995" y="820738"/>
                      </a:cubicBezTo>
                      <a:cubicBezTo>
                        <a:pt x="11426" y="820738"/>
                        <a:pt x="4285" y="814842"/>
                        <a:pt x="1428" y="807471"/>
                      </a:cubicBezTo>
                      <a:cubicBezTo>
                        <a:pt x="714" y="804523"/>
                        <a:pt x="0" y="802312"/>
                        <a:pt x="0" y="799364"/>
                      </a:cubicBezTo>
                      <a:cubicBezTo>
                        <a:pt x="0" y="788308"/>
                        <a:pt x="9283" y="779463"/>
                        <a:pt x="19995" y="779463"/>
                      </a:cubicBezTo>
                      <a:close/>
                      <a:moveTo>
                        <a:pt x="19995" y="650875"/>
                      </a:moveTo>
                      <a:cubicBezTo>
                        <a:pt x="555555" y="650875"/>
                        <a:pt x="555555" y="650875"/>
                        <a:pt x="555555" y="650875"/>
                      </a:cubicBezTo>
                      <a:cubicBezTo>
                        <a:pt x="564124" y="650875"/>
                        <a:pt x="569836" y="655053"/>
                        <a:pt x="573407" y="661319"/>
                      </a:cubicBezTo>
                      <a:cubicBezTo>
                        <a:pt x="574835" y="664104"/>
                        <a:pt x="576263" y="667586"/>
                        <a:pt x="576263" y="671067"/>
                      </a:cubicBezTo>
                      <a:cubicBezTo>
                        <a:pt x="576263" y="681511"/>
                        <a:pt x="567694" y="690563"/>
                        <a:pt x="556269" y="690563"/>
                      </a:cubicBezTo>
                      <a:cubicBezTo>
                        <a:pt x="19995" y="690563"/>
                        <a:pt x="19995" y="690563"/>
                        <a:pt x="19995" y="690563"/>
                      </a:cubicBezTo>
                      <a:cubicBezTo>
                        <a:pt x="14282" y="690563"/>
                        <a:pt x="8569" y="687778"/>
                        <a:pt x="4999" y="682904"/>
                      </a:cubicBezTo>
                      <a:cubicBezTo>
                        <a:pt x="2142" y="679423"/>
                        <a:pt x="0" y="675245"/>
                        <a:pt x="0" y="670371"/>
                      </a:cubicBezTo>
                      <a:cubicBezTo>
                        <a:pt x="0" y="659927"/>
                        <a:pt x="9283" y="650875"/>
                        <a:pt x="19995" y="650875"/>
                      </a:cubicBezTo>
                      <a:close/>
                      <a:moveTo>
                        <a:pt x="20019" y="520700"/>
                      </a:moveTo>
                      <a:cubicBezTo>
                        <a:pt x="556244" y="520700"/>
                        <a:pt x="556244" y="520700"/>
                        <a:pt x="556244" y="520700"/>
                      </a:cubicBezTo>
                      <a:cubicBezTo>
                        <a:pt x="568399" y="520700"/>
                        <a:pt x="576263" y="529359"/>
                        <a:pt x="576263" y="540183"/>
                      </a:cubicBezTo>
                      <a:cubicBezTo>
                        <a:pt x="576263" y="551007"/>
                        <a:pt x="568399" y="560388"/>
                        <a:pt x="556244" y="560388"/>
                      </a:cubicBezTo>
                      <a:cubicBezTo>
                        <a:pt x="20019" y="560388"/>
                        <a:pt x="20019" y="560388"/>
                        <a:pt x="20019" y="560388"/>
                      </a:cubicBezTo>
                      <a:cubicBezTo>
                        <a:pt x="9295" y="560388"/>
                        <a:pt x="0" y="551007"/>
                        <a:pt x="0" y="540183"/>
                      </a:cubicBezTo>
                      <a:cubicBezTo>
                        <a:pt x="0" y="529359"/>
                        <a:pt x="9295" y="520700"/>
                        <a:pt x="20019" y="520700"/>
                      </a:cubicBezTo>
                      <a:close/>
                      <a:moveTo>
                        <a:pt x="20019" y="390525"/>
                      </a:moveTo>
                      <a:cubicBezTo>
                        <a:pt x="556244" y="390525"/>
                        <a:pt x="556244" y="390525"/>
                        <a:pt x="556244" y="390525"/>
                      </a:cubicBezTo>
                      <a:cubicBezTo>
                        <a:pt x="568399" y="390525"/>
                        <a:pt x="576263" y="399152"/>
                        <a:pt x="576263" y="409216"/>
                      </a:cubicBezTo>
                      <a:cubicBezTo>
                        <a:pt x="576263" y="419999"/>
                        <a:pt x="568399" y="428625"/>
                        <a:pt x="556244" y="428625"/>
                      </a:cubicBezTo>
                      <a:cubicBezTo>
                        <a:pt x="20019" y="428625"/>
                        <a:pt x="20019" y="428625"/>
                        <a:pt x="20019" y="428625"/>
                      </a:cubicBezTo>
                      <a:cubicBezTo>
                        <a:pt x="9295" y="428625"/>
                        <a:pt x="0" y="419999"/>
                        <a:pt x="0" y="409216"/>
                      </a:cubicBezTo>
                      <a:cubicBezTo>
                        <a:pt x="0" y="399152"/>
                        <a:pt x="9295" y="390525"/>
                        <a:pt x="20019" y="390525"/>
                      </a:cubicBezTo>
                      <a:close/>
                      <a:moveTo>
                        <a:pt x="322512" y="260350"/>
                      </a:moveTo>
                      <a:cubicBezTo>
                        <a:pt x="468329" y="260350"/>
                        <a:pt x="556248" y="260350"/>
                        <a:pt x="556248" y="260350"/>
                      </a:cubicBezTo>
                      <a:cubicBezTo>
                        <a:pt x="568400" y="260350"/>
                        <a:pt x="576262" y="269356"/>
                        <a:pt x="576262" y="279746"/>
                      </a:cubicBezTo>
                      <a:cubicBezTo>
                        <a:pt x="576262" y="290137"/>
                        <a:pt x="568400" y="298450"/>
                        <a:pt x="556248" y="298450"/>
                      </a:cubicBezTo>
                      <a:cubicBezTo>
                        <a:pt x="333948" y="298450"/>
                        <a:pt x="322512" y="298450"/>
                        <a:pt x="322512" y="298450"/>
                      </a:cubicBezTo>
                      <a:cubicBezTo>
                        <a:pt x="312505" y="298450"/>
                        <a:pt x="303212" y="290137"/>
                        <a:pt x="303212" y="279746"/>
                      </a:cubicBezTo>
                      <a:cubicBezTo>
                        <a:pt x="303212" y="269356"/>
                        <a:pt x="312505" y="260350"/>
                        <a:pt x="322512" y="260350"/>
                      </a:cubicBezTo>
                      <a:close/>
                      <a:moveTo>
                        <a:pt x="322512" y="130175"/>
                      </a:moveTo>
                      <a:cubicBezTo>
                        <a:pt x="511931" y="130175"/>
                        <a:pt x="556248" y="130175"/>
                        <a:pt x="556248" y="130175"/>
                      </a:cubicBezTo>
                      <a:cubicBezTo>
                        <a:pt x="568400" y="130175"/>
                        <a:pt x="576262" y="138834"/>
                        <a:pt x="576262" y="149658"/>
                      </a:cubicBezTo>
                      <a:cubicBezTo>
                        <a:pt x="576262" y="160482"/>
                        <a:pt x="568400" y="169863"/>
                        <a:pt x="556248" y="169863"/>
                      </a:cubicBezTo>
                      <a:cubicBezTo>
                        <a:pt x="328945" y="169863"/>
                        <a:pt x="322512" y="169863"/>
                        <a:pt x="322512" y="169863"/>
                      </a:cubicBezTo>
                      <a:cubicBezTo>
                        <a:pt x="312505" y="169863"/>
                        <a:pt x="303212" y="160482"/>
                        <a:pt x="303212" y="149658"/>
                      </a:cubicBezTo>
                      <a:cubicBezTo>
                        <a:pt x="303212" y="138834"/>
                        <a:pt x="312505" y="130175"/>
                        <a:pt x="322512" y="130175"/>
                      </a:cubicBezTo>
                      <a:close/>
                      <a:moveTo>
                        <a:pt x="95128" y="19050"/>
                      </a:moveTo>
                      <a:cubicBezTo>
                        <a:pt x="165222" y="19050"/>
                        <a:pt x="165222" y="19050"/>
                        <a:pt x="165222" y="19050"/>
                      </a:cubicBezTo>
                      <a:cubicBezTo>
                        <a:pt x="173090" y="19050"/>
                        <a:pt x="180243" y="26203"/>
                        <a:pt x="180243" y="34786"/>
                      </a:cubicBezTo>
                      <a:cubicBezTo>
                        <a:pt x="180243" y="99158"/>
                        <a:pt x="180243" y="99158"/>
                        <a:pt x="180243" y="99158"/>
                      </a:cubicBezTo>
                      <a:cubicBezTo>
                        <a:pt x="244615" y="99158"/>
                        <a:pt x="244615" y="99158"/>
                        <a:pt x="244615" y="99158"/>
                      </a:cubicBezTo>
                      <a:cubicBezTo>
                        <a:pt x="253198" y="99158"/>
                        <a:pt x="260350" y="106310"/>
                        <a:pt x="260350" y="114178"/>
                      </a:cubicBezTo>
                      <a:cubicBezTo>
                        <a:pt x="260350" y="184272"/>
                        <a:pt x="260350" y="184272"/>
                        <a:pt x="260350" y="184272"/>
                      </a:cubicBezTo>
                      <a:cubicBezTo>
                        <a:pt x="260350" y="192855"/>
                        <a:pt x="253198" y="200008"/>
                        <a:pt x="244615" y="200008"/>
                      </a:cubicBezTo>
                      <a:cubicBezTo>
                        <a:pt x="180243" y="200008"/>
                        <a:pt x="180243" y="200008"/>
                        <a:pt x="180243" y="200008"/>
                      </a:cubicBezTo>
                      <a:cubicBezTo>
                        <a:pt x="180243" y="263665"/>
                        <a:pt x="180243" y="263665"/>
                        <a:pt x="180243" y="263665"/>
                      </a:cubicBezTo>
                      <a:cubicBezTo>
                        <a:pt x="180243" y="272248"/>
                        <a:pt x="173090" y="279400"/>
                        <a:pt x="165222" y="279400"/>
                      </a:cubicBezTo>
                      <a:cubicBezTo>
                        <a:pt x="95128" y="279400"/>
                        <a:pt x="95128" y="279400"/>
                        <a:pt x="95128" y="279400"/>
                      </a:cubicBezTo>
                      <a:cubicBezTo>
                        <a:pt x="86545" y="279400"/>
                        <a:pt x="79393" y="272248"/>
                        <a:pt x="79393" y="263665"/>
                      </a:cubicBezTo>
                      <a:cubicBezTo>
                        <a:pt x="79393" y="200008"/>
                        <a:pt x="79393" y="200008"/>
                        <a:pt x="79393" y="200008"/>
                      </a:cubicBezTo>
                      <a:cubicBezTo>
                        <a:pt x="15020" y="200008"/>
                        <a:pt x="15020" y="200008"/>
                        <a:pt x="15020" y="200008"/>
                      </a:cubicBezTo>
                      <a:cubicBezTo>
                        <a:pt x="7153" y="200008"/>
                        <a:pt x="0" y="192855"/>
                        <a:pt x="0" y="184272"/>
                      </a:cubicBezTo>
                      <a:cubicBezTo>
                        <a:pt x="0" y="114178"/>
                        <a:pt x="0" y="114178"/>
                        <a:pt x="0" y="114178"/>
                      </a:cubicBezTo>
                      <a:cubicBezTo>
                        <a:pt x="0" y="106310"/>
                        <a:pt x="7153" y="99158"/>
                        <a:pt x="15020" y="99158"/>
                      </a:cubicBezTo>
                      <a:cubicBezTo>
                        <a:pt x="79393" y="99158"/>
                        <a:pt x="79393" y="99158"/>
                        <a:pt x="79393" y="99158"/>
                      </a:cubicBezTo>
                      <a:cubicBezTo>
                        <a:pt x="79393" y="34786"/>
                        <a:pt x="79393" y="34786"/>
                        <a:pt x="79393" y="34786"/>
                      </a:cubicBezTo>
                      <a:cubicBezTo>
                        <a:pt x="79393" y="26203"/>
                        <a:pt x="86545" y="19050"/>
                        <a:pt x="95128" y="19050"/>
                      </a:cubicBezTo>
                      <a:close/>
                      <a:moveTo>
                        <a:pt x="322512" y="0"/>
                      </a:moveTo>
                      <a:cubicBezTo>
                        <a:pt x="486199" y="0"/>
                        <a:pt x="556248" y="0"/>
                        <a:pt x="556248" y="0"/>
                      </a:cubicBezTo>
                      <a:cubicBezTo>
                        <a:pt x="568400" y="0"/>
                        <a:pt x="576262" y="7937"/>
                        <a:pt x="576262" y="20205"/>
                      </a:cubicBezTo>
                      <a:cubicBezTo>
                        <a:pt x="576262" y="31029"/>
                        <a:pt x="568400" y="39688"/>
                        <a:pt x="556248" y="39688"/>
                      </a:cubicBezTo>
                      <a:cubicBezTo>
                        <a:pt x="326800" y="39688"/>
                        <a:pt x="322512" y="39688"/>
                        <a:pt x="322512" y="39688"/>
                      </a:cubicBezTo>
                      <a:cubicBezTo>
                        <a:pt x="312505" y="39688"/>
                        <a:pt x="303212" y="31029"/>
                        <a:pt x="303212" y="20205"/>
                      </a:cubicBezTo>
                      <a:cubicBezTo>
                        <a:pt x="303212" y="7937"/>
                        <a:pt x="312505" y="0"/>
                        <a:pt x="322512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</p:grpSp>
        </p:grpSp>
      </p:grpSp>
      <p:grpSp>
        <p:nvGrpSpPr>
          <p:cNvPr id="9" name="Group 8"/>
          <p:cNvGrpSpPr/>
          <p:nvPr/>
        </p:nvGrpSpPr>
        <p:grpSpPr>
          <a:xfrm>
            <a:off x="3400881" y="2076118"/>
            <a:ext cx="1237728" cy="1237728"/>
            <a:chOff x="3432431" y="2076118"/>
            <a:chExt cx="1237728" cy="1237728"/>
          </a:xfrm>
        </p:grpSpPr>
        <p:sp>
          <p:nvSpPr>
            <p:cNvPr id="82" name="Oval 81"/>
            <p:cNvSpPr/>
            <p:nvPr/>
          </p:nvSpPr>
          <p:spPr>
            <a:xfrm>
              <a:off x="3432431" y="2076118"/>
              <a:ext cx="1237728" cy="1237728"/>
            </a:xfrm>
            <a:prstGeom prst="ellipse">
              <a:avLst/>
            </a:prstGeom>
            <a:solidFill>
              <a:srgbClr val="FFFFFF"/>
            </a:solidFill>
            <a:ln w="3810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kern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87" name="Group 86"/>
            <p:cNvGrpSpPr>
              <a:grpSpLocks noChangeAspect="1"/>
            </p:cNvGrpSpPr>
            <p:nvPr/>
          </p:nvGrpSpPr>
          <p:grpSpPr>
            <a:xfrm>
              <a:off x="3625785" y="2269077"/>
              <a:ext cx="851020" cy="851810"/>
              <a:chOff x="5273803" y="2606040"/>
              <a:chExt cx="1644396" cy="1645920"/>
            </a:xfrm>
          </p:grpSpPr>
          <p:sp>
            <p:nvSpPr>
              <p:cNvPr id="88" name="AutoShape 18">
                <a:extLst>
                  <a:ext uri="{FF2B5EF4-FFF2-40B4-BE49-F238E27FC236}">
                    <a16:creationId xmlns="" xmlns:a16="http://schemas.microsoft.com/office/drawing/2014/main" id="{575286B9-FCC8-4EFB-9834-BD5493C559C3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803" y="2606040"/>
                <a:ext cx="1644396" cy="1645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89" name="Group 88"/>
              <p:cNvGrpSpPr/>
              <p:nvPr/>
            </p:nvGrpSpPr>
            <p:grpSpPr>
              <a:xfrm>
                <a:off x="5336668" y="2770251"/>
                <a:ext cx="1515999" cy="1311783"/>
                <a:chOff x="5336668" y="2770251"/>
                <a:chExt cx="1515999" cy="1311783"/>
              </a:xfrm>
            </p:grpSpPr>
            <p:sp>
              <p:nvSpPr>
                <p:cNvPr id="90" name="Freeform 20">
                  <a:extLst>
                    <a:ext uri="{FF2B5EF4-FFF2-40B4-BE49-F238E27FC236}">
                      <a16:creationId xmlns="" xmlns:a16="http://schemas.microsoft.com/office/drawing/2014/main" id="{CEF9E0BC-00B7-4B29-B377-3473BD5B2EB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336668" y="2770251"/>
                  <a:ext cx="1515999" cy="1311783"/>
                </a:xfrm>
                <a:custGeom>
                  <a:avLst/>
                  <a:gdLst>
                    <a:gd name="T0" fmla="*/ 227 w 2124"/>
                    <a:gd name="T1" fmla="*/ 496 h 1836"/>
                    <a:gd name="T2" fmla="*/ 528 w 2124"/>
                    <a:gd name="T3" fmla="*/ 467 h 1836"/>
                    <a:gd name="T4" fmla="*/ 996 w 2124"/>
                    <a:gd name="T5" fmla="*/ 467 h 1836"/>
                    <a:gd name="T6" fmla="*/ 695 w 2124"/>
                    <a:gd name="T7" fmla="*/ 496 h 1836"/>
                    <a:gd name="T8" fmla="*/ 994 w 2124"/>
                    <a:gd name="T9" fmla="*/ 498 h 1836"/>
                    <a:gd name="T10" fmla="*/ 1130 w 2124"/>
                    <a:gd name="T11" fmla="*/ 467 h 1836"/>
                    <a:gd name="T12" fmla="*/ 1431 w 2124"/>
                    <a:gd name="T13" fmla="*/ 496 h 1836"/>
                    <a:gd name="T14" fmla="*/ 1933 w 2124"/>
                    <a:gd name="T15" fmla="*/ 467 h 1836"/>
                    <a:gd name="T16" fmla="*/ 1631 w 2124"/>
                    <a:gd name="T17" fmla="*/ 496 h 1836"/>
                    <a:gd name="T18" fmla="*/ 1930 w 2124"/>
                    <a:gd name="T19" fmla="*/ 498 h 1836"/>
                    <a:gd name="T20" fmla="*/ 427 w 2124"/>
                    <a:gd name="T21" fmla="*/ 273 h 1836"/>
                    <a:gd name="T22" fmla="*/ 729 w 2124"/>
                    <a:gd name="T23" fmla="*/ 301 h 1836"/>
                    <a:gd name="T24" fmla="*/ 1230 w 2124"/>
                    <a:gd name="T25" fmla="*/ 273 h 1836"/>
                    <a:gd name="T26" fmla="*/ 929 w 2124"/>
                    <a:gd name="T27" fmla="*/ 301 h 1836"/>
                    <a:gd name="T28" fmla="*/ 1228 w 2124"/>
                    <a:gd name="T29" fmla="*/ 304 h 1836"/>
                    <a:gd name="T30" fmla="*/ 1364 w 2124"/>
                    <a:gd name="T31" fmla="*/ 273 h 1836"/>
                    <a:gd name="T32" fmla="*/ 1665 w 2124"/>
                    <a:gd name="T33" fmla="*/ 301 h 1836"/>
                    <a:gd name="T34" fmla="*/ 996 w 2124"/>
                    <a:gd name="T35" fmla="*/ 78 h 1836"/>
                    <a:gd name="T36" fmla="*/ 695 w 2124"/>
                    <a:gd name="T37" fmla="*/ 107 h 1836"/>
                    <a:gd name="T38" fmla="*/ 994 w 2124"/>
                    <a:gd name="T39" fmla="*/ 109 h 1836"/>
                    <a:gd name="T40" fmla="*/ 1130 w 2124"/>
                    <a:gd name="T41" fmla="*/ 78 h 1836"/>
                    <a:gd name="T42" fmla="*/ 1431 w 2124"/>
                    <a:gd name="T43" fmla="*/ 107 h 1836"/>
                    <a:gd name="T44" fmla="*/ 1893 w 2124"/>
                    <a:gd name="T45" fmla="*/ 584 h 1836"/>
                    <a:gd name="T46" fmla="*/ 1893 w 2124"/>
                    <a:gd name="T47" fmla="*/ 628 h 1836"/>
                    <a:gd name="T48" fmla="*/ 2060 w 2124"/>
                    <a:gd name="T49" fmla="*/ 662 h 1836"/>
                    <a:gd name="T50" fmla="*/ 69 w 2124"/>
                    <a:gd name="T51" fmla="*/ 693 h 1836"/>
                    <a:gd name="T52" fmla="*/ 377 w 2124"/>
                    <a:gd name="T53" fmla="*/ 638 h 1836"/>
                    <a:gd name="T54" fmla="*/ 1533 w 2124"/>
                    <a:gd name="T55" fmla="*/ 1602 h 1836"/>
                    <a:gd name="T56" fmla="*/ 1155 w 2124"/>
                    <a:gd name="T57" fmla="*/ 1543 h 1836"/>
                    <a:gd name="T58" fmla="*/ 2102 w 2124"/>
                    <a:gd name="T59" fmla="*/ 1836 h 1836"/>
                    <a:gd name="T60" fmla="*/ 1191 w 2124"/>
                    <a:gd name="T61" fmla="*/ 1811 h 1836"/>
                    <a:gd name="T62" fmla="*/ 787 w 2124"/>
                    <a:gd name="T63" fmla="*/ 1449 h 1836"/>
                    <a:gd name="T64" fmla="*/ 404 w 2124"/>
                    <a:gd name="T65" fmla="*/ 1449 h 1836"/>
                    <a:gd name="T66" fmla="*/ 0 w 2124"/>
                    <a:gd name="T67" fmla="*/ 1814 h 1836"/>
                    <a:gd name="T68" fmla="*/ 1191 w 2124"/>
                    <a:gd name="T69" fmla="*/ 1811 h 1836"/>
                    <a:gd name="T70" fmla="*/ 896 w 2124"/>
                    <a:gd name="T71" fmla="*/ 662 h 1836"/>
                    <a:gd name="T72" fmla="*/ 1197 w 2124"/>
                    <a:gd name="T73" fmla="*/ 690 h 1836"/>
                    <a:gd name="T74" fmla="*/ 1356 w 2124"/>
                    <a:gd name="T75" fmla="*/ 1362 h 1836"/>
                    <a:gd name="T76" fmla="*/ 1407 w 2124"/>
                    <a:gd name="T77" fmla="*/ 1450 h 1836"/>
                    <a:gd name="T78" fmla="*/ 1649 w 2124"/>
                    <a:gd name="T79" fmla="*/ 1450 h 1836"/>
                    <a:gd name="T80" fmla="*/ 1701 w 2124"/>
                    <a:gd name="T81" fmla="*/ 1362 h 1836"/>
                    <a:gd name="T82" fmla="*/ 1796 w 2124"/>
                    <a:gd name="T83" fmla="*/ 1101 h 1836"/>
                    <a:gd name="T84" fmla="*/ 1528 w 2124"/>
                    <a:gd name="T85" fmla="*/ 1401 h 1836"/>
                    <a:gd name="T86" fmla="*/ 1261 w 2124"/>
                    <a:gd name="T87" fmla="*/ 1101 h 1836"/>
                    <a:gd name="T88" fmla="*/ 322 w 2124"/>
                    <a:gd name="T89" fmla="*/ 1157 h 1836"/>
                    <a:gd name="T90" fmla="*/ 440 w 2124"/>
                    <a:gd name="T91" fmla="*/ 1423 h 1836"/>
                    <a:gd name="T92" fmla="*/ 717 w 2124"/>
                    <a:gd name="T93" fmla="*/ 1399 h 1836"/>
                    <a:gd name="T94" fmla="*/ 761 w 2124"/>
                    <a:gd name="T95" fmla="*/ 1367 h 1836"/>
                    <a:gd name="T96" fmla="*/ 916 w 2124"/>
                    <a:gd name="T97" fmla="*/ 1076 h 1836"/>
                    <a:gd name="T98" fmla="*/ 738 w 2124"/>
                    <a:gd name="T99" fmla="*/ 1329 h 1836"/>
                    <a:gd name="T100" fmla="*/ 350 w 2124"/>
                    <a:gd name="T101" fmla="*/ 1122 h 1836"/>
                    <a:gd name="T102" fmla="*/ 322 w 2124"/>
                    <a:gd name="T103" fmla="*/ 1157 h 18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124" h="1836">
                      <a:moveTo>
                        <a:pt x="512" y="503"/>
                      </a:moveTo>
                      <a:cubicBezTo>
                        <a:pt x="505" y="503"/>
                        <a:pt x="499" y="501"/>
                        <a:pt x="495" y="496"/>
                      </a:cubicBezTo>
                      <a:cubicBezTo>
                        <a:pt x="461" y="456"/>
                        <a:pt x="413" y="433"/>
                        <a:pt x="361" y="433"/>
                      </a:cubicBezTo>
                      <a:cubicBezTo>
                        <a:pt x="309" y="433"/>
                        <a:pt x="260" y="456"/>
                        <a:pt x="227" y="496"/>
                      </a:cubicBezTo>
                      <a:cubicBezTo>
                        <a:pt x="219" y="505"/>
                        <a:pt x="205" y="506"/>
                        <a:pt x="196" y="498"/>
                      </a:cubicBezTo>
                      <a:cubicBezTo>
                        <a:pt x="187" y="491"/>
                        <a:pt x="186" y="477"/>
                        <a:pt x="193" y="467"/>
                      </a:cubicBezTo>
                      <a:cubicBezTo>
                        <a:pt x="235" y="418"/>
                        <a:pt x="296" y="389"/>
                        <a:pt x="361" y="389"/>
                      </a:cubicBezTo>
                      <a:cubicBezTo>
                        <a:pt x="426" y="389"/>
                        <a:pt x="487" y="418"/>
                        <a:pt x="528" y="467"/>
                      </a:cubicBezTo>
                      <a:cubicBezTo>
                        <a:pt x="536" y="477"/>
                        <a:pt x="535" y="491"/>
                        <a:pt x="526" y="498"/>
                      </a:cubicBezTo>
                      <a:cubicBezTo>
                        <a:pt x="522" y="502"/>
                        <a:pt x="516" y="503"/>
                        <a:pt x="512" y="503"/>
                      </a:cubicBezTo>
                      <a:close/>
                      <a:moveTo>
                        <a:pt x="994" y="498"/>
                      </a:moveTo>
                      <a:cubicBezTo>
                        <a:pt x="1003" y="491"/>
                        <a:pt x="1004" y="477"/>
                        <a:pt x="996" y="467"/>
                      </a:cubicBezTo>
                      <a:cubicBezTo>
                        <a:pt x="955" y="418"/>
                        <a:pt x="894" y="389"/>
                        <a:pt x="829" y="389"/>
                      </a:cubicBezTo>
                      <a:cubicBezTo>
                        <a:pt x="764" y="389"/>
                        <a:pt x="703" y="418"/>
                        <a:pt x="661" y="467"/>
                      </a:cubicBezTo>
                      <a:cubicBezTo>
                        <a:pt x="654" y="477"/>
                        <a:pt x="655" y="491"/>
                        <a:pt x="664" y="498"/>
                      </a:cubicBezTo>
                      <a:cubicBezTo>
                        <a:pt x="673" y="506"/>
                        <a:pt x="687" y="505"/>
                        <a:pt x="695" y="496"/>
                      </a:cubicBezTo>
                      <a:cubicBezTo>
                        <a:pt x="728" y="456"/>
                        <a:pt x="777" y="433"/>
                        <a:pt x="829" y="433"/>
                      </a:cubicBezTo>
                      <a:cubicBezTo>
                        <a:pt x="881" y="433"/>
                        <a:pt x="929" y="456"/>
                        <a:pt x="963" y="496"/>
                      </a:cubicBezTo>
                      <a:cubicBezTo>
                        <a:pt x="967" y="501"/>
                        <a:pt x="973" y="503"/>
                        <a:pt x="980" y="503"/>
                      </a:cubicBezTo>
                      <a:cubicBezTo>
                        <a:pt x="985" y="503"/>
                        <a:pt x="990" y="502"/>
                        <a:pt x="994" y="498"/>
                      </a:cubicBezTo>
                      <a:close/>
                      <a:moveTo>
                        <a:pt x="1462" y="498"/>
                      </a:moveTo>
                      <a:cubicBezTo>
                        <a:pt x="1471" y="491"/>
                        <a:pt x="1472" y="477"/>
                        <a:pt x="1465" y="467"/>
                      </a:cubicBezTo>
                      <a:cubicBezTo>
                        <a:pt x="1423" y="418"/>
                        <a:pt x="1362" y="389"/>
                        <a:pt x="1297" y="389"/>
                      </a:cubicBezTo>
                      <a:cubicBezTo>
                        <a:pt x="1232" y="389"/>
                        <a:pt x="1171" y="418"/>
                        <a:pt x="1130" y="467"/>
                      </a:cubicBezTo>
                      <a:cubicBezTo>
                        <a:pt x="1122" y="477"/>
                        <a:pt x="1123" y="491"/>
                        <a:pt x="1132" y="498"/>
                      </a:cubicBezTo>
                      <a:cubicBezTo>
                        <a:pt x="1142" y="506"/>
                        <a:pt x="1155" y="505"/>
                        <a:pt x="1163" y="496"/>
                      </a:cubicBezTo>
                      <a:cubicBezTo>
                        <a:pt x="1197" y="456"/>
                        <a:pt x="1245" y="433"/>
                        <a:pt x="1297" y="433"/>
                      </a:cubicBezTo>
                      <a:cubicBezTo>
                        <a:pt x="1349" y="433"/>
                        <a:pt x="1398" y="456"/>
                        <a:pt x="1431" y="496"/>
                      </a:cubicBezTo>
                      <a:cubicBezTo>
                        <a:pt x="1435" y="501"/>
                        <a:pt x="1441" y="503"/>
                        <a:pt x="1448" y="503"/>
                      </a:cubicBezTo>
                      <a:cubicBezTo>
                        <a:pt x="1453" y="503"/>
                        <a:pt x="1458" y="502"/>
                        <a:pt x="1462" y="498"/>
                      </a:cubicBezTo>
                      <a:close/>
                      <a:moveTo>
                        <a:pt x="1930" y="498"/>
                      </a:moveTo>
                      <a:cubicBezTo>
                        <a:pt x="1939" y="491"/>
                        <a:pt x="1940" y="477"/>
                        <a:pt x="1933" y="467"/>
                      </a:cubicBezTo>
                      <a:cubicBezTo>
                        <a:pt x="1891" y="418"/>
                        <a:pt x="1830" y="389"/>
                        <a:pt x="1765" y="389"/>
                      </a:cubicBezTo>
                      <a:cubicBezTo>
                        <a:pt x="1700" y="389"/>
                        <a:pt x="1639" y="418"/>
                        <a:pt x="1598" y="467"/>
                      </a:cubicBezTo>
                      <a:cubicBezTo>
                        <a:pt x="1590" y="477"/>
                        <a:pt x="1591" y="491"/>
                        <a:pt x="1600" y="498"/>
                      </a:cubicBezTo>
                      <a:cubicBezTo>
                        <a:pt x="1610" y="506"/>
                        <a:pt x="1624" y="505"/>
                        <a:pt x="1631" y="496"/>
                      </a:cubicBezTo>
                      <a:cubicBezTo>
                        <a:pt x="1665" y="456"/>
                        <a:pt x="1713" y="433"/>
                        <a:pt x="1765" y="433"/>
                      </a:cubicBezTo>
                      <a:cubicBezTo>
                        <a:pt x="1817" y="433"/>
                        <a:pt x="1866" y="456"/>
                        <a:pt x="1899" y="496"/>
                      </a:cubicBezTo>
                      <a:cubicBezTo>
                        <a:pt x="1903" y="501"/>
                        <a:pt x="1910" y="503"/>
                        <a:pt x="1916" y="503"/>
                      </a:cubicBezTo>
                      <a:cubicBezTo>
                        <a:pt x="1921" y="503"/>
                        <a:pt x="1926" y="502"/>
                        <a:pt x="1930" y="498"/>
                      </a:cubicBezTo>
                      <a:close/>
                      <a:moveTo>
                        <a:pt x="760" y="304"/>
                      </a:moveTo>
                      <a:cubicBezTo>
                        <a:pt x="769" y="296"/>
                        <a:pt x="770" y="282"/>
                        <a:pt x="762" y="273"/>
                      </a:cubicBezTo>
                      <a:cubicBezTo>
                        <a:pt x="721" y="223"/>
                        <a:pt x="660" y="195"/>
                        <a:pt x="595" y="195"/>
                      </a:cubicBezTo>
                      <a:cubicBezTo>
                        <a:pt x="530" y="195"/>
                        <a:pt x="469" y="223"/>
                        <a:pt x="427" y="273"/>
                      </a:cubicBezTo>
                      <a:cubicBezTo>
                        <a:pt x="420" y="282"/>
                        <a:pt x="421" y="296"/>
                        <a:pt x="430" y="304"/>
                      </a:cubicBezTo>
                      <a:cubicBezTo>
                        <a:pt x="439" y="312"/>
                        <a:pt x="453" y="310"/>
                        <a:pt x="461" y="301"/>
                      </a:cubicBezTo>
                      <a:cubicBezTo>
                        <a:pt x="494" y="262"/>
                        <a:pt x="543" y="239"/>
                        <a:pt x="595" y="239"/>
                      </a:cubicBezTo>
                      <a:cubicBezTo>
                        <a:pt x="647" y="239"/>
                        <a:pt x="695" y="262"/>
                        <a:pt x="729" y="301"/>
                      </a:cubicBezTo>
                      <a:cubicBezTo>
                        <a:pt x="733" y="306"/>
                        <a:pt x="739" y="309"/>
                        <a:pt x="746" y="309"/>
                      </a:cubicBezTo>
                      <a:cubicBezTo>
                        <a:pt x="751" y="309"/>
                        <a:pt x="756" y="307"/>
                        <a:pt x="760" y="304"/>
                      </a:cubicBezTo>
                      <a:close/>
                      <a:moveTo>
                        <a:pt x="1228" y="304"/>
                      </a:moveTo>
                      <a:cubicBezTo>
                        <a:pt x="1237" y="296"/>
                        <a:pt x="1238" y="282"/>
                        <a:pt x="1230" y="273"/>
                      </a:cubicBezTo>
                      <a:cubicBezTo>
                        <a:pt x="1189" y="223"/>
                        <a:pt x="1128" y="195"/>
                        <a:pt x="1063" y="195"/>
                      </a:cubicBezTo>
                      <a:cubicBezTo>
                        <a:pt x="998" y="195"/>
                        <a:pt x="937" y="223"/>
                        <a:pt x="896" y="273"/>
                      </a:cubicBezTo>
                      <a:cubicBezTo>
                        <a:pt x="888" y="282"/>
                        <a:pt x="889" y="296"/>
                        <a:pt x="898" y="304"/>
                      </a:cubicBezTo>
                      <a:cubicBezTo>
                        <a:pt x="908" y="312"/>
                        <a:pt x="921" y="310"/>
                        <a:pt x="929" y="301"/>
                      </a:cubicBezTo>
                      <a:cubicBezTo>
                        <a:pt x="963" y="262"/>
                        <a:pt x="1011" y="239"/>
                        <a:pt x="1063" y="239"/>
                      </a:cubicBezTo>
                      <a:cubicBezTo>
                        <a:pt x="1115" y="239"/>
                        <a:pt x="1163" y="262"/>
                        <a:pt x="1197" y="301"/>
                      </a:cubicBezTo>
                      <a:cubicBezTo>
                        <a:pt x="1201" y="306"/>
                        <a:pt x="1207" y="309"/>
                        <a:pt x="1214" y="309"/>
                      </a:cubicBezTo>
                      <a:cubicBezTo>
                        <a:pt x="1219" y="309"/>
                        <a:pt x="1224" y="307"/>
                        <a:pt x="1228" y="304"/>
                      </a:cubicBezTo>
                      <a:close/>
                      <a:moveTo>
                        <a:pt x="1696" y="304"/>
                      </a:moveTo>
                      <a:cubicBezTo>
                        <a:pt x="1705" y="296"/>
                        <a:pt x="1706" y="282"/>
                        <a:pt x="1699" y="273"/>
                      </a:cubicBezTo>
                      <a:cubicBezTo>
                        <a:pt x="1657" y="223"/>
                        <a:pt x="1596" y="195"/>
                        <a:pt x="1531" y="195"/>
                      </a:cubicBezTo>
                      <a:cubicBezTo>
                        <a:pt x="1466" y="195"/>
                        <a:pt x="1405" y="223"/>
                        <a:pt x="1364" y="273"/>
                      </a:cubicBezTo>
                      <a:cubicBezTo>
                        <a:pt x="1356" y="282"/>
                        <a:pt x="1357" y="296"/>
                        <a:pt x="1366" y="304"/>
                      </a:cubicBezTo>
                      <a:cubicBezTo>
                        <a:pt x="1376" y="312"/>
                        <a:pt x="1389" y="310"/>
                        <a:pt x="1397" y="301"/>
                      </a:cubicBezTo>
                      <a:cubicBezTo>
                        <a:pt x="1431" y="262"/>
                        <a:pt x="1479" y="239"/>
                        <a:pt x="1531" y="239"/>
                      </a:cubicBezTo>
                      <a:cubicBezTo>
                        <a:pt x="1583" y="239"/>
                        <a:pt x="1632" y="262"/>
                        <a:pt x="1665" y="301"/>
                      </a:cubicBezTo>
                      <a:cubicBezTo>
                        <a:pt x="1669" y="306"/>
                        <a:pt x="1675" y="309"/>
                        <a:pt x="1682" y="309"/>
                      </a:cubicBezTo>
                      <a:cubicBezTo>
                        <a:pt x="1687" y="309"/>
                        <a:pt x="1692" y="307"/>
                        <a:pt x="1696" y="304"/>
                      </a:cubicBezTo>
                      <a:close/>
                      <a:moveTo>
                        <a:pt x="994" y="109"/>
                      </a:moveTo>
                      <a:cubicBezTo>
                        <a:pt x="1003" y="101"/>
                        <a:pt x="1004" y="88"/>
                        <a:pt x="996" y="78"/>
                      </a:cubicBezTo>
                      <a:cubicBezTo>
                        <a:pt x="955" y="29"/>
                        <a:pt x="894" y="0"/>
                        <a:pt x="829" y="0"/>
                      </a:cubicBezTo>
                      <a:cubicBezTo>
                        <a:pt x="764" y="0"/>
                        <a:pt x="703" y="29"/>
                        <a:pt x="661" y="78"/>
                      </a:cubicBezTo>
                      <a:cubicBezTo>
                        <a:pt x="654" y="88"/>
                        <a:pt x="655" y="101"/>
                        <a:pt x="664" y="109"/>
                      </a:cubicBezTo>
                      <a:cubicBezTo>
                        <a:pt x="673" y="117"/>
                        <a:pt x="687" y="116"/>
                        <a:pt x="695" y="107"/>
                      </a:cubicBezTo>
                      <a:cubicBezTo>
                        <a:pt x="728" y="67"/>
                        <a:pt x="777" y="44"/>
                        <a:pt x="829" y="44"/>
                      </a:cubicBezTo>
                      <a:cubicBezTo>
                        <a:pt x="881" y="44"/>
                        <a:pt x="929" y="67"/>
                        <a:pt x="963" y="107"/>
                      </a:cubicBezTo>
                      <a:cubicBezTo>
                        <a:pt x="967" y="112"/>
                        <a:pt x="973" y="114"/>
                        <a:pt x="980" y="114"/>
                      </a:cubicBezTo>
                      <a:cubicBezTo>
                        <a:pt x="985" y="114"/>
                        <a:pt x="990" y="113"/>
                        <a:pt x="994" y="109"/>
                      </a:cubicBezTo>
                      <a:close/>
                      <a:moveTo>
                        <a:pt x="1462" y="109"/>
                      </a:moveTo>
                      <a:cubicBezTo>
                        <a:pt x="1471" y="101"/>
                        <a:pt x="1472" y="88"/>
                        <a:pt x="1465" y="78"/>
                      </a:cubicBezTo>
                      <a:cubicBezTo>
                        <a:pt x="1423" y="29"/>
                        <a:pt x="1362" y="0"/>
                        <a:pt x="1297" y="0"/>
                      </a:cubicBezTo>
                      <a:cubicBezTo>
                        <a:pt x="1232" y="0"/>
                        <a:pt x="1171" y="29"/>
                        <a:pt x="1130" y="78"/>
                      </a:cubicBezTo>
                      <a:cubicBezTo>
                        <a:pt x="1122" y="88"/>
                        <a:pt x="1123" y="101"/>
                        <a:pt x="1132" y="109"/>
                      </a:cubicBezTo>
                      <a:cubicBezTo>
                        <a:pt x="1142" y="117"/>
                        <a:pt x="1155" y="116"/>
                        <a:pt x="1163" y="107"/>
                      </a:cubicBezTo>
                      <a:cubicBezTo>
                        <a:pt x="1197" y="67"/>
                        <a:pt x="1245" y="44"/>
                        <a:pt x="1297" y="44"/>
                      </a:cubicBezTo>
                      <a:cubicBezTo>
                        <a:pt x="1349" y="44"/>
                        <a:pt x="1398" y="67"/>
                        <a:pt x="1431" y="107"/>
                      </a:cubicBezTo>
                      <a:cubicBezTo>
                        <a:pt x="1435" y="112"/>
                        <a:pt x="1441" y="114"/>
                        <a:pt x="1448" y="114"/>
                      </a:cubicBezTo>
                      <a:cubicBezTo>
                        <a:pt x="1453" y="114"/>
                        <a:pt x="1458" y="113"/>
                        <a:pt x="1462" y="109"/>
                      </a:cubicBezTo>
                      <a:close/>
                      <a:moveTo>
                        <a:pt x="2060" y="662"/>
                      </a:moveTo>
                      <a:cubicBezTo>
                        <a:pt x="2018" y="612"/>
                        <a:pt x="1957" y="584"/>
                        <a:pt x="1893" y="584"/>
                      </a:cubicBezTo>
                      <a:cubicBezTo>
                        <a:pt x="1839" y="584"/>
                        <a:pt x="1788" y="603"/>
                        <a:pt x="1749" y="638"/>
                      </a:cubicBezTo>
                      <a:cubicBezTo>
                        <a:pt x="1760" y="647"/>
                        <a:pt x="1771" y="657"/>
                        <a:pt x="1781" y="667"/>
                      </a:cubicBezTo>
                      <a:cubicBezTo>
                        <a:pt x="1781" y="667"/>
                        <a:pt x="1781" y="668"/>
                        <a:pt x="1781" y="668"/>
                      </a:cubicBezTo>
                      <a:cubicBezTo>
                        <a:pt x="1813" y="642"/>
                        <a:pt x="1852" y="628"/>
                        <a:pt x="1893" y="628"/>
                      </a:cubicBezTo>
                      <a:cubicBezTo>
                        <a:pt x="1944" y="628"/>
                        <a:pt x="1993" y="651"/>
                        <a:pt x="2026" y="690"/>
                      </a:cubicBezTo>
                      <a:cubicBezTo>
                        <a:pt x="2031" y="695"/>
                        <a:pt x="2037" y="698"/>
                        <a:pt x="2043" y="698"/>
                      </a:cubicBezTo>
                      <a:cubicBezTo>
                        <a:pt x="2048" y="698"/>
                        <a:pt x="2053" y="696"/>
                        <a:pt x="2057" y="693"/>
                      </a:cubicBezTo>
                      <a:cubicBezTo>
                        <a:pt x="2067" y="685"/>
                        <a:pt x="2068" y="671"/>
                        <a:pt x="2060" y="662"/>
                      </a:cubicBezTo>
                      <a:close/>
                      <a:moveTo>
                        <a:pt x="377" y="638"/>
                      </a:moveTo>
                      <a:cubicBezTo>
                        <a:pt x="338" y="603"/>
                        <a:pt x="287" y="584"/>
                        <a:pt x="233" y="584"/>
                      </a:cubicBezTo>
                      <a:cubicBezTo>
                        <a:pt x="169" y="584"/>
                        <a:pt x="108" y="612"/>
                        <a:pt x="66" y="662"/>
                      </a:cubicBezTo>
                      <a:cubicBezTo>
                        <a:pt x="58" y="671"/>
                        <a:pt x="59" y="685"/>
                        <a:pt x="69" y="693"/>
                      </a:cubicBezTo>
                      <a:cubicBezTo>
                        <a:pt x="78" y="701"/>
                        <a:pt x="92" y="699"/>
                        <a:pt x="100" y="690"/>
                      </a:cubicBezTo>
                      <a:cubicBezTo>
                        <a:pt x="133" y="651"/>
                        <a:pt x="182" y="628"/>
                        <a:pt x="233" y="628"/>
                      </a:cubicBezTo>
                      <a:cubicBezTo>
                        <a:pt x="274" y="628"/>
                        <a:pt x="313" y="642"/>
                        <a:pt x="344" y="667"/>
                      </a:cubicBezTo>
                      <a:cubicBezTo>
                        <a:pt x="355" y="657"/>
                        <a:pt x="366" y="647"/>
                        <a:pt x="377" y="638"/>
                      </a:cubicBezTo>
                      <a:close/>
                      <a:moveTo>
                        <a:pt x="2052" y="1567"/>
                      </a:moveTo>
                      <a:cubicBezTo>
                        <a:pt x="2030" y="1534"/>
                        <a:pt x="2004" y="1506"/>
                        <a:pt x="1974" y="1492"/>
                      </a:cubicBezTo>
                      <a:cubicBezTo>
                        <a:pt x="1885" y="1451"/>
                        <a:pt x="1720" y="1449"/>
                        <a:pt x="1720" y="1449"/>
                      </a:cubicBezTo>
                      <a:cubicBezTo>
                        <a:pt x="1720" y="1449"/>
                        <a:pt x="1614" y="1537"/>
                        <a:pt x="1533" y="1602"/>
                      </a:cubicBezTo>
                      <a:cubicBezTo>
                        <a:pt x="1530" y="1604"/>
                        <a:pt x="1527" y="1604"/>
                        <a:pt x="1524" y="1602"/>
                      </a:cubicBezTo>
                      <a:cubicBezTo>
                        <a:pt x="1464" y="1555"/>
                        <a:pt x="1337" y="1449"/>
                        <a:pt x="1337" y="1449"/>
                      </a:cubicBezTo>
                      <a:cubicBezTo>
                        <a:pt x="1337" y="1449"/>
                        <a:pt x="1197" y="1451"/>
                        <a:pt x="1105" y="1483"/>
                      </a:cubicBezTo>
                      <a:cubicBezTo>
                        <a:pt x="1123" y="1499"/>
                        <a:pt x="1139" y="1519"/>
                        <a:pt x="1155" y="1543"/>
                      </a:cubicBezTo>
                      <a:cubicBezTo>
                        <a:pt x="1208" y="1621"/>
                        <a:pt x="1235" y="1714"/>
                        <a:pt x="1235" y="1811"/>
                      </a:cubicBezTo>
                      <a:cubicBezTo>
                        <a:pt x="1235" y="1814"/>
                        <a:pt x="1235" y="1814"/>
                        <a:pt x="1235" y="1814"/>
                      </a:cubicBezTo>
                      <a:cubicBezTo>
                        <a:pt x="1235" y="1821"/>
                        <a:pt x="1234" y="1829"/>
                        <a:pt x="1231" y="1836"/>
                      </a:cubicBezTo>
                      <a:cubicBezTo>
                        <a:pt x="2102" y="1836"/>
                        <a:pt x="2102" y="1836"/>
                        <a:pt x="2102" y="1836"/>
                      </a:cubicBezTo>
                      <a:cubicBezTo>
                        <a:pt x="2114" y="1836"/>
                        <a:pt x="2124" y="1826"/>
                        <a:pt x="2124" y="1814"/>
                      </a:cubicBezTo>
                      <a:cubicBezTo>
                        <a:pt x="2124" y="1811"/>
                        <a:pt x="2124" y="1811"/>
                        <a:pt x="2124" y="1811"/>
                      </a:cubicBezTo>
                      <a:cubicBezTo>
                        <a:pt x="2124" y="1724"/>
                        <a:pt x="2100" y="1639"/>
                        <a:pt x="2052" y="1567"/>
                      </a:cubicBezTo>
                      <a:close/>
                      <a:moveTo>
                        <a:pt x="1191" y="1811"/>
                      </a:moveTo>
                      <a:cubicBezTo>
                        <a:pt x="1191" y="1724"/>
                        <a:pt x="1167" y="1639"/>
                        <a:pt x="1119" y="1567"/>
                      </a:cubicBezTo>
                      <a:cubicBezTo>
                        <a:pt x="1097" y="1534"/>
                        <a:pt x="1071" y="1506"/>
                        <a:pt x="1042" y="1492"/>
                      </a:cubicBezTo>
                      <a:cubicBezTo>
                        <a:pt x="952" y="1451"/>
                        <a:pt x="787" y="1449"/>
                        <a:pt x="787" y="1449"/>
                      </a:cubicBezTo>
                      <a:cubicBezTo>
                        <a:pt x="787" y="1449"/>
                        <a:pt x="787" y="1449"/>
                        <a:pt x="787" y="1449"/>
                      </a:cubicBezTo>
                      <a:cubicBezTo>
                        <a:pt x="787" y="1449"/>
                        <a:pt x="722" y="1541"/>
                        <a:pt x="592" y="1541"/>
                      </a:cubicBezTo>
                      <a:cubicBezTo>
                        <a:pt x="599" y="1541"/>
                        <a:pt x="599" y="1541"/>
                        <a:pt x="599" y="1541"/>
                      </a:cubicBezTo>
                      <a:cubicBezTo>
                        <a:pt x="469" y="1541"/>
                        <a:pt x="404" y="1449"/>
                        <a:pt x="404" y="1449"/>
                      </a:cubicBezTo>
                      <a:cubicBezTo>
                        <a:pt x="404" y="1449"/>
                        <a:pt x="404" y="1449"/>
                        <a:pt x="404" y="1449"/>
                      </a:cubicBezTo>
                      <a:cubicBezTo>
                        <a:pt x="404" y="1449"/>
                        <a:pt x="239" y="1451"/>
                        <a:pt x="150" y="1492"/>
                      </a:cubicBezTo>
                      <a:cubicBezTo>
                        <a:pt x="120" y="1506"/>
                        <a:pt x="94" y="1534"/>
                        <a:pt x="72" y="1567"/>
                      </a:cubicBezTo>
                      <a:cubicBezTo>
                        <a:pt x="24" y="1639"/>
                        <a:pt x="0" y="1724"/>
                        <a:pt x="0" y="1811"/>
                      </a:cubicBezTo>
                      <a:cubicBezTo>
                        <a:pt x="0" y="1814"/>
                        <a:pt x="0" y="1814"/>
                        <a:pt x="0" y="1814"/>
                      </a:cubicBezTo>
                      <a:cubicBezTo>
                        <a:pt x="0" y="1826"/>
                        <a:pt x="10" y="1836"/>
                        <a:pt x="22" y="1836"/>
                      </a:cubicBezTo>
                      <a:cubicBezTo>
                        <a:pt x="1169" y="1836"/>
                        <a:pt x="1169" y="1836"/>
                        <a:pt x="1169" y="1836"/>
                      </a:cubicBezTo>
                      <a:cubicBezTo>
                        <a:pt x="1181" y="1836"/>
                        <a:pt x="1191" y="1826"/>
                        <a:pt x="1191" y="1814"/>
                      </a:cubicBezTo>
                      <a:lnTo>
                        <a:pt x="1191" y="1811"/>
                      </a:lnTo>
                      <a:close/>
                      <a:moveTo>
                        <a:pt x="1228" y="693"/>
                      </a:moveTo>
                      <a:cubicBezTo>
                        <a:pt x="1237" y="685"/>
                        <a:pt x="1238" y="671"/>
                        <a:pt x="1230" y="662"/>
                      </a:cubicBezTo>
                      <a:cubicBezTo>
                        <a:pt x="1189" y="612"/>
                        <a:pt x="1128" y="584"/>
                        <a:pt x="1063" y="584"/>
                      </a:cubicBezTo>
                      <a:cubicBezTo>
                        <a:pt x="998" y="584"/>
                        <a:pt x="937" y="612"/>
                        <a:pt x="896" y="662"/>
                      </a:cubicBezTo>
                      <a:cubicBezTo>
                        <a:pt x="888" y="671"/>
                        <a:pt x="889" y="685"/>
                        <a:pt x="898" y="693"/>
                      </a:cubicBezTo>
                      <a:cubicBezTo>
                        <a:pt x="908" y="701"/>
                        <a:pt x="921" y="699"/>
                        <a:pt x="929" y="690"/>
                      </a:cubicBezTo>
                      <a:cubicBezTo>
                        <a:pt x="963" y="651"/>
                        <a:pt x="1011" y="628"/>
                        <a:pt x="1063" y="628"/>
                      </a:cubicBezTo>
                      <a:cubicBezTo>
                        <a:pt x="1115" y="628"/>
                        <a:pt x="1163" y="651"/>
                        <a:pt x="1197" y="690"/>
                      </a:cubicBezTo>
                      <a:cubicBezTo>
                        <a:pt x="1201" y="695"/>
                        <a:pt x="1207" y="698"/>
                        <a:pt x="1214" y="698"/>
                      </a:cubicBezTo>
                      <a:cubicBezTo>
                        <a:pt x="1219" y="698"/>
                        <a:pt x="1224" y="696"/>
                        <a:pt x="1228" y="693"/>
                      </a:cubicBezTo>
                      <a:close/>
                      <a:moveTo>
                        <a:pt x="1255" y="1157"/>
                      </a:moveTo>
                      <a:cubicBezTo>
                        <a:pt x="1275" y="1207"/>
                        <a:pt x="1328" y="1336"/>
                        <a:pt x="1356" y="1362"/>
                      </a:cubicBezTo>
                      <a:cubicBezTo>
                        <a:pt x="1358" y="1363"/>
                        <a:pt x="1361" y="1365"/>
                        <a:pt x="1363" y="1367"/>
                      </a:cubicBezTo>
                      <a:cubicBezTo>
                        <a:pt x="1363" y="1414"/>
                        <a:pt x="1363" y="1414"/>
                        <a:pt x="1363" y="1414"/>
                      </a:cubicBezTo>
                      <a:cubicBezTo>
                        <a:pt x="1365" y="1415"/>
                        <a:pt x="1365" y="1415"/>
                        <a:pt x="1365" y="1415"/>
                      </a:cubicBezTo>
                      <a:cubicBezTo>
                        <a:pt x="1365" y="1416"/>
                        <a:pt x="1383" y="1430"/>
                        <a:pt x="1407" y="1450"/>
                      </a:cubicBezTo>
                      <a:cubicBezTo>
                        <a:pt x="1407" y="1399"/>
                        <a:pt x="1407" y="1399"/>
                        <a:pt x="1407" y="1399"/>
                      </a:cubicBezTo>
                      <a:cubicBezTo>
                        <a:pt x="1444" y="1422"/>
                        <a:pt x="1492" y="1445"/>
                        <a:pt x="1528" y="1445"/>
                      </a:cubicBezTo>
                      <a:cubicBezTo>
                        <a:pt x="1565" y="1445"/>
                        <a:pt x="1613" y="1422"/>
                        <a:pt x="1649" y="1399"/>
                      </a:cubicBezTo>
                      <a:cubicBezTo>
                        <a:pt x="1649" y="1450"/>
                        <a:pt x="1649" y="1450"/>
                        <a:pt x="1649" y="1450"/>
                      </a:cubicBezTo>
                      <a:cubicBezTo>
                        <a:pt x="1675" y="1430"/>
                        <a:pt x="1692" y="1415"/>
                        <a:pt x="1692" y="1415"/>
                      </a:cubicBezTo>
                      <a:cubicBezTo>
                        <a:pt x="1693" y="1414"/>
                        <a:pt x="1693" y="1414"/>
                        <a:pt x="1693" y="1414"/>
                      </a:cubicBezTo>
                      <a:cubicBezTo>
                        <a:pt x="1693" y="1368"/>
                        <a:pt x="1693" y="1368"/>
                        <a:pt x="1693" y="1368"/>
                      </a:cubicBezTo>
                      <a:cubicBezTo>
                        <a:pt x="1696" y="1365"/>
                        <a:pt x="1699" y="1363"/>
                        <a:pt x="1701" y="1362"/>
                      </a:cubicBezTo>
                      <a:cubicBezTo>
                        <a:pt x="1729" y="1336"/>
                        <a:pt x="1782" y="1207"/>
                        <a:pt x="1802" y="1157"/>
                      </a:cubicBezTo>
                      <a:cubicBezTo>
                        <a:pt x="1837" y="1135"/>
                        <a:pt x="1846" y="1097"/>
                        <a:pt x="1849" y="1081"/>
                      </a:cubicBezTo>
                      <a:cubicBezTo>
                        <a:pt x="1849" y="1079"/>
                        <a:pt x="1849" y="1078"/>
                        <a:pt x="1849" y="1076"/>
                      </a:cubicBezTo>
                      <a:cubicBezTo>
                        <a:pt x="1796" y="1101"/>
                        <a:pt x="1796" y="1101"/>
                        <a:pt x="1796" y="1101"/>
                      </a:cubicBezTo>
                      <a:cubicBezTo>
                        <a:pt x="1791" y="1109"/>
                        <a:pt x="1784" y="1117"/>
                        <a:pt x="1774" y="1122"/>
                      </a:cubicBezTo>
                      <a:cubicBezTo>
                        <a:pt x="1769" y="1124"/>
                        <a:pt x="1766" y="1129"/>
                        <a:pt x="1764" y="1134"/>
                      </a:cubicBezTo>
                      <a:cubicBezTo>
                        <a:pt x="1731" y="1217"/>
                        <a:pt x="1687" y="1315"/>
                        <a:pt x="1671" y="1329"/>
                      </a:cubicBezTo>
                      <a:cubicBezTo>
                        <a:pt x="1644" y="1353"/>
                        <a:pt x="1568" y="1401"/>
                        <a:pt x="1528" y="1401"/>
                      </a:cubicBezTo>
                      <a:cubicBezTo>
                        <a:pt x="1489" y="1401"/>
                        <a:pt x="1413" y="1353"/>
                        <a:pt x="1385" y="1329"/>
                      </a:cubicBezTo>
                      <a:cubicBezTo>
                        <a:pt x="1370" y="1315"/>
                        <a:pt x="1326" y="1217"/>
                        <a:pt x="1293" y="1134"/>
                      </a:cubicBezTo>
                      <a:cubicBezTo>
                        <a:pt x="1291" y="1129"/>
                        <a:pt x="1287" y="1124"/>
                        <a:pt x="1283" y="1122"/>
                      </a:cubicBezTo>
                      <a:cubicBezTo>
                        <a:pt x="1273" y="1117"/>
                        <a:pt x="1266" y="1109"/>
                        <a:pt x="1261" y="1101"/>
                      </a:cubicBezTo>
                      <a:cubicBezTo>
                        <a:pt x="1208" y="1076"/>
                        <a:pt x="1208" y="1076"/>
                        <a:pt x="1208" y="1076"/>
                      </a:cubicBezTo>
                      <a:cubicBezTo>
                        <a:pt x="1208" y="1078"/>
                        <a:pt x="1208" y="1080"/>
                        <a:pt x="1208" y="1083"/>
                      </a:cubicBezTo>
                      <a:cubicBezTo>
                        <a:pt x="1212" y="1102"/>
                        <a:pt x="1222" y="1136"/>
                        <a:pt x="1255" y="1157"/>
                      </a:cubicBezTo>
                      <a:close/>
                      <a:moveTo>
                        <a:pt x="322" y="1157"/>
                      </a:moveTo>
                      <a:cubicBezTo>
                        <a:pt x="342" y="1207"/>
                        <a:pt x="395" y="1336"/>
                        <a:pt x="423" y="1362"/>
                      </a:cubicBezTo>
                      <a:cubicBezTo>
                        <a:pt x="425" y="1363"/>
                        <a:pt x="428" y="1365"/>
                        <a:pt x="431" y="1368"/>
                      </a:cubicBezTo>
                      <a:cubicBezTo>
                        <a:pt x="431" y="1411"/>
                        <a:pt x="431" y="1411"/>
                        <a:pt x="431" y="1411"/>
                      </a:cubicBezTo>
                      <a:cubicBezTo>
                        <a:pt x="440" y="1423"/>
                        <a:pt x="440" y="1423"/>
                        <a:pt x="440" y="1423"/>
                      </a:cubicBezTo>
                      <a:cubicBezTo>
                        <a:pt x="441" y="1425"/>
                        <a:pt x="452" y="1440"/>
                        <a:pt x="475" y="1457"/>
                      </a:cubicBezTo>
                      <a:cubicBezTo>
                        <a:pt x="475" y="1399"/>
                        <a:pt x="475" y="1399"/>
                        <a:pt x="475" y="1399"/>
                      </a:cubicBezTo>
                      <a:cubicBezTo>
                        <a:pt x="511" y="1422"/>
                        <a:pt x="559" y="1445"/>
                        <a:pt x="595" y="1445"/>
                      </a:cubicBezTo>
                      <a:cubicBezTo>
                        <a:pt x="632" y="1445"/>
                        <a:pt x="680" y="1422"/>
                        <a:pt x="717" y="1399"/>
                      </a:cubicBezTo>
                      <a:cubicBezTo>
                        <a:pt x="717" y="1457"/>
                        <a:pt x="717" y="1457"/>
                        <a:pt x="717" y="1457"/>
                      </a:cubicBezTo>
                      <a:cubicBezTo>
                        <a:pt x="740" y="1440"/>
                        <a:pt x="751" y="1424"/>
                        <a:pt x="751" y="1423"/>
                      </a:cubicBezTo>
                      <a:cubicBezTo>
                        <a:pt x="761" y="1411"/>
                        <a:pt x="761" y="1411"/>
                        <a:pt x="761" y="1411"/>
                      </a:cubicBezTo>
                      <a:cubicBezTo>
                        <a:pt x="761" y="1367"/>
                        <a:pt x="761" y="1367"/>
                        <a:pt x="761" y="1367"/>
                      </a:cubicBezTo>
                      <a:cubicBezTo>
                        <a:pt x="763" y="1365"/>
                        <a:pt x="766" y="1363"/>
                        <a:pt x="768" y="1362"/>
                      </a:cubicBezTo>
                      <a:cubicBezTo>
                        <a:pt x="796" y="1336"/>
                        <a:pt x="849" y="1207"/>
                        <a:pt x="869" y="1157"/>
                      </a:cubicBezTo>
                      <a:cubicBezTo>
                        <a:pt x="904" y="1135"/>
                        <a:pt x="913" y="1097"/>
                        <a:pt x="916" y="1081"/>
                      </a:cubicBezTo>
                      <a:cubicBezTo>
                        <a:pt x="916" y="1079"/>
                        <a:pt x="916" y="1078"/>
                        <a:pt x="916" y="1076"/>
                      </a:cubicBezTo>
                      <a:cubicBezTo>
                        <a:pt x="863" y="1101"/>
                        <a:pt x="863" y="1101"/>
                        <a:pt x="863" y="1101"/>
                      </a:cubicBezTo>
                      <a:cubicBezTo>
                        <a:pt x="858" y="1109"/>
                        <a:pt x="851" y="1117"/>
                        <a:pt x="841" y="1122"/>
                      </a:cubicBezTo>
                      <a:cubicBezTo>
                        <a:pt x="836" y="1124"/>
                        <a:pt x="833" y="1129"/>
                        <a:pt x="831" y="1134"/>
                      </a:cubicBezTo>
                      <a:cubicBezTo>
                        <a:pt x="798" y="1217"/>
                        <a:pt x="754" y="1315"/>
                        <a:pt x="738" y="1329"/>
                      </a:cubicBezTo>
                      <a:cubicBezTo>
                        <a:pt x="711" y="1353"/>
                        <a:pt x="635" y="1401"/>
                        <a:pt x="595" y="1401"/>
                      </a:cubicBezTo>
                      <a:cubicBezTo>
                        <a:pt x="556" y="1401"/>
                        <a:pt x="480" y="1353"/>
                        <a:pt x="452" y="1329"/>
                      </a:cubicBezTo>
                      <a:cubicBezTo>
                        <a:pt x="437" y="1315"/>
                        <a:pt x="393" y="1217"/>
                        <a:pt x="360" y="1134"/>
                      </a:cubicBezTo>
                      <a:cubicBezTo>
                        <a:pt x="358" y="1129"/>
                        <a:pt x="354" y="1124"/>
                        <a:pt x="350" y="1122"/>
                      </a:cubicBezTo>
                      <a:cubicBezTo>
                        <a:pt x="339" y="1117"/>
                        <a:pt x="333" y="1109"/>
                        <a:pt x="328" y="1101"/>
                      </a:cubicBezTo>
                      <a:cubicBezTo>
                        <a:pt x="275" y="1076"/>
                        <a:pt x="275" y="1076"/>
                        <a:pt x="275" y="1076"/>
                      </a:cubicBezTo>
                      <a:cubicBezTo>
                        <a:pt x="275" y="1078"/>
                        <a:pt x="275" y="1080"/>
                        <a:pt x="275" y="1083"/>
                      </a:cubicBezTo>
                      <a:cubicBezTo>
                        <a:pt x="279" y="1102"/>
                        <a:pt x="289" y="1136"/>
                        <a:pt x="322" y="1157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91" name="Freeform 21">
                  <a:extLst>
                    <a:ext uri="{FF2B5EF4-FFF2-40B4-BE49-F238E27FC236}">
                      <a16:creationId xmlns="" xmlns:a16="http://schemas.microsoft.com/office/drawing/2014/main" id="{9A32768F-1F7B-41E4-AD1E-05F5E20985B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540884" y="3203448"/>
                  <a:ext cx="1150239" cy="575691"/>
                </a:xfrm>
                <a:custGeom>
                  <a:avLst/>
                  <a:gdLst>
                    <a:gd name="T0" fmla="*/ 1542 w 1612"/>
                    <a:gd name="T1" fmla="*/ 422 h 806"/>
                    <a:gd name="T2" fmla="*/ 1542 w 1612"/>
                    <a:gd name="T3" fmla="*/ 421 h 806"/>
                    <a:gd name="T4" fmla="*/ 1508 w 1612"/>
                    <a:gd name="T5" fmla="*/ 469 h 806"/>
                    <a:gd name="T6" fmla="*/ 1505 w 1612"/>
                    <a:gd name="T7" fmla="*/ 470 h 806"/>
                    <a:gd name="T8" fmla="*/ 1485 w 1612"/>
                    <a:gd name="T9" fmla="*/ 470 h 806"/>
                    <a:gd name="T10" fmla="*/ 1483 w 1612"/>
                    <a:gd name="T11" fmla="*/ 470 h 806"/>
                    <a:gd name="T12" fmla="*/ 1074 w 1612"/>
                    <a:gd name="T13" fmla="*/ 253 h 806"/>
                    <a:gd name="T14" fmla="*/ 1070 w 1612"/>
                    <a:gd name="T15" fmla="*/ 253 h 806"/>
                    <a:gd name="T16" fmla="*/ 949 w 1612"/>
                    <a:gd name="T17" fmla="*/ 445 h 806"/>
                    <a:gd name="T18" fmla="*/ 949 w 1612"/>
                    <a:gd name="T19" fmla="*/ 444 h 806"/>
                    <a:gd name="T20" fmla="*/ 932 w 1612"/>
                    <a:gd name="T21" fmla="*/ 315 h 806"/>
                    <a:gd name="T22" fmla="*/ 1242 w 1612"/>
                    <a:gd name="T23" fmla="*/ 0 h 806"/>
                    <a:gd name="T24" fmla="*/ 1553 w 1612"/>
                    <a:gd name="T25" fmla="*/ 315 h 806"/>
                    <a:gd name="T26" fmla="*/ 1542 w 1612"/>
                    <a:gd name="T27" fmla="*/ 422 h 806"/>
                    <a:gd name="T28" fmla="*/ 619 w 1612"/>
                    <a:gd name="T29" fmla="*/ 317 h 806"/>
                    <a:gd name="T30" fmla="*/ 310 w 1612"/>
                    <a:gd name="T31" fmla="*/ 0 h 806"/>
                    <a:gd name="T32" fmla="*/ 0 w 1612"/>
                    <a:gd name="T33" fmla="*/ 317 h 806"/>
                    <a:gd name="T34" fmla="*/ 12 w 1612"/>
                    <a:gd name="T35" fmla="*/ 427 h 806"/>
                    <a:gd name="T36" fmla="*/ 12 w 1612"/>
                    <a:gd name="T37" fmla="*/ 428 h 806"/>
                    <a:gd name="T38" fmla="*/ 43 w 1612"/>
                    <a:gd name="T39" fmla="*/ 467 h 806"/>
                    <a:gd name="T40" fmla="*/ 64 w 1612"/>
                    <a:gd name="T41" fmla="*/ 469 h 806"/>
                    <a:gd name="T42" fmla="*/ 140 w 1612"/>
                    <a:gd name="T43" fmla="*/ 254 h 806"/>
                    <a:gd name="T44" fmla="*/ 547 w 1612"/>
                    <a:gd name="T45" fmla="*/ 240 h 806"/>
                    <a:gd name="T46" fmla="*/ 550 w 1612"/>
                    <a:gd name="T47" fmla="*/ 473 h 806"/>
                    <a:gd name="T48" fmla="*/ 573 w 1612"/>
                    <a:gd name="T49" fmla="*/ 473 h 806"/>
                    <a:gd name="T50" fmla="*/ 608 w 1612"/>
                    <a:gd name="T51" fmla="*/ 424 h 806"/>
                    <a:gd name="T52" fmla="*/ 608 w 1612"/>
                    <a:gd name="T53" fmla="*/ 424 h 806"/>
                    <a:gd name="T54" fmla="*/ 619 w 1612"/>
                    <a:gd name="T55" fmla="*/ 317 h 806"/>
                    <a:gd name="T56" fmla="*/ 1033 w 1612"/>
                    <a:gd name="T57" fmla="*/ 780 h 806"/>
                    <a:gd name="T58" fmla="*/ 946 w 1612"/>
                    <a:gd name="T59" fmla="*/ 612 h 806"/>
                    <a:gd name="T60" fmla="*/ 872 w 1612"/>
                    <a:gd name="T61" fmla="*/ 756 h 806"/>
                    <a:gd name="T62" fmla="*/ 949 w 1612"/>
                    <a:gd name="T63" fmla="*/ 806 h 806"/>
                    <a:gd name="T64" fmla="*/ 1033 w 1612"/>
                    <a:gd name="T65" fmla="*/ 799 h 806"/>
                    <a:gd name="T66" fmla="*/ 1033 w 1612"/>
                    <a:gd name="T67" fmla="*/ 780 h 806"/>
                    <a:gd name="T68" fmla="*/ 1538 w 1612"/>
                    <a:gd name="T69" fmla="*/ 613 h 806"/>
                    <a:gd name="T70" fmla="*/ 1451 w 1612"/>
                    <a:gd name="T71" fmla="*/ 781 h 806"/>
                    <a:gd name="T72" fmla="*/ 1451 w 1612"/>
                    <a:gd name="T73" fmla="*/ 799 h 806"/>
                    <a:gd name="T74" fmla="*/ 1536 w 1612"/>
                    <a:gd name="T75" fmla="*/ 806 h 806"/>
                    <a:gd name="T76" fmla="*/ 1612 w 1612"/>
                    <a:gd name="T77" fmla="*/ 756 h 806"/>
                    <a:gd name="T78" fmla="*/ 1538 w 1612"/>
                    <a:gd name="T79" fmla="*/ 613 h 8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1612" h="806">
                      <a:moveTo>
                        <a:pt x="1542" y="422"/>
                      </a:moveTo>
                      <a:cubicBezTo>
                        <a:pt x="1542" y="422"/>
                        <a:pt x="1542" y="421"/>
                        <a:pt x="1542" y="421"/>
                      </a:cubicBezTo>
                      <a:cubicBezTo>
                        <a:pt x="1541" y="422"/>
                        <a:pt x="1536" y="437"/>
                        <a:pt x="1508" y="469"/>
                      </a:cubicBezTo>
                      <a:cubicBezTo>
                        <a:pt x="1507" y="470"/>
                        <a:pt x="1506" y="470"/>
                        <a:pt x="1505" y="470"/>
                      </a:cubicBezTo>
                      <a:cubicBezTo>
                        <a:pt x="1485" y="470"/>
                        <a:pt x="1485" y="470"/>
                        <a:pt x="1485" y="470"/>
                      </a:cubicBezTo>
                      <a:cubicBezTo>
                        <a:pt x="1484" y="470"/>
                        <a:pt x="1484" y="470"/>
                        <a:pt x="1483" y="470"/>
                      </a:cubicBezTo>
                      <a:cubicBezTo>
                        <a:pt x="1074" y="253"/>
                        <a:pt x="1074" y="253"/>
                        <a:pt x="1074" y="253"/>
                      </a:cubicBezTo>
                      <a:cubicBezTo>
                        <a:pt x="1073" y="253"/>
                        <a:pt x="1071" y="253"/>
                        <a:pt x="1070" y="253"/>
                      </a:cubicBezTo>
                      <a:cubicBezTo>
                        <a:pt x="979" y="283"/>
                        <a:pt x="980" y="472"/>
                        <a:pt x="949" y="445"/>
                      </a:cubicBezTo>
                      <a:cubicBezTo>
                        <a:pt x="949" y="444"/>
                        <a:pt x="949" y="444"/>
                        <a:pt x="949" y="444"/>
                      </a:cubicBezTo>
                      <a:cubicBezTo>
                        <a:pt x="936" y="410"/>
                        <a:pt x="932" y="354"/>
                        <a:pt x="932" y="315"/>
                      </a:cubicBezTo>
                      <a:cubicBezTo>
                        <a:pt x="932" y="141"/>
                        <a:pt x="1067" y="0"/>
                        <a:pt x="1242" y="0"/>
                      </a:cubicBezTo>
                      <a:cubicBezTo>
                        <a:pt x="1418" y="0"/>
                        <a:pt x="1553" y="141"/>
                        <a:pt x="1553" y="315"/>
                      </a:cubicBezTo>
                      <a:cubicBezTo>
                        <a:pt x="1553" y="353"/>
                        <a:pt x="1554" y="389"/>
                        <a:pt x="1542" y="422"/>
                      </a:cubicBezTo>
                      <a:close/>
                      <a:moveTo>
                        <a:pt x="619" y="317"/>
                      </a:moveTo>
                      <a:cubicBezTo>
                        <a:pt x="619" y="142"/>
                        <a:pt x="485" y="0"/>
                        <a:pt x="310" y="0"/>
                      </a:cubicBezTo>
                      <a:cubicBezTo>
                        <a:pt x="134" y="0"/>
                        <a:pt x="0" y="142"/>
                        <a:pt x="0" y="317"/>
                      </a:cubicBezTo>
                      <a:cubicBezTo>
                        <a:pt x="0" y="356"/>
                        <a:pt x="0" y="393"/>
                        <a:pt x="12" y="427"/>
                      </a:cubicBezTo>
                      <a:cubicBezTo>
                        <a:pt x="12" y="428"/>
                        <a:pt x="12" y="428"/>
                        <a:pt x="12" y="428"/>
                      </a:cubicBezTo>
                      <a:cubicBezTo>
                        <a:pt x="43" y="456"/>
                        <a:pt x="43" y="467"/>
                        <a:pt x="43" y="467"/>
                      </a:cubicBezTo>
                      <a:cubicBezTo>
                        <a:pt x="64" y="469"/>
                        <a:pt x="64" y="469"/>
                        <a:pt x="64" y="469"/>
                      </a:cubicBezTo>
                      <a:cubicBezTo>
                        <a:pt x="64" y="469"/>
                        <a:pt x="47" y="283"/>
                        <a:pt x="140" y="254"/>
                      </a:cubicBezTo>
                      <a:cubicBezTo>
                        <a:pt x="140" y="254"/>
                        <a:pt x="512" y="418"/>
                        <a:pt x="547" y="240"/>
                      </a:cubicBezTo>
                      <a:cubicBezTo>
                        <a:pt x="550" y="462"/>
                        <a:pt x="550" y="473"/>
                        <a:pt x="550" y="473"/>
                      </a:cubicBezTo>
                      <a:cubicBezTo>
                        <a:pt x="573" y="473"/>
                        <a:pt x="573" y="473"/>
                        <a:pt x="573" y="473"/>
                      </a:cubicBezTo>
                      <a:cubicBezTo>
                        <a:pt x="602" y="440"/>
                        <a:pt x="607" y="424"/>
                        <a:pt x="608" y="424"/>
                      </a:cubicBezTo>
                      <a:cubicBezTo>
                        <a:pt x="608" y="424"/>
                        <a:pt x="608" y="424"/>
                        <a:pt x="608" y="424"/>
                      </a:cubicBezTo>
                      <a:cubicBezTo>
                        <a:pt x="620" y="391"/>
                        <a:pt x="619" y="355"/>
                        <a:pt x="619" y="317"/>
                      </a:cubicBezTo>
                      <a:close/>
                      <a:moveTo>
                        <a:pt x="1033" y="780"/>
                      </a:moveTo>
                      <a:cubicBezTo>
                        <a:pt x="1011" y="755"/>
                        <a:pt x="982" y="699"/>
                        <a:pt x="946" y="612"/>
                      </a:cubicBezTo>
                      <a:cubicBezTo>
                        <a:pt x="943" y="671"/>
                        <a:pt x="933" y="750"/>
                        <a:pt x="872" y="756"/>
                      </a:cubicBezTo>
                      <a:cubicBezTo>
                        <a:pt x="899" y="783"/>
                        <a:pt x="925" y="798"/>
                        <a:pt x="949" y="806"/>
                      </a:cubicBezTo>
                      <a:cubicBezTo>
                        <a:pt x="984" y="802"/>
                        <a:pt x="1015" y="800"/>
                        <a:pt x="1033" y="799"/>
                      </a:cubicBezTo>
                      <a:lnTo>
                        <a:pt x="1033" y="780"/>
                      </a:lnTo>
                      <a:close/>
                      <a:moveTo>
                        <a:pt x="1538" y="613"/>
                      </a:moveTo>
                      <a:cubicBezTo>
                        <a:pt x="1502" y="699"/>
                        <a:pt x="1473" y="755"/>
                        <a:pt x="1451" y="781"/>
                      </a:cubicBezTo>
                      <a:cubicBezTo>
                        <a:pt x="1451" y="799"/>
                        <a:pt x="1451" y="799"/>
                        <a:pt x="1451" y="799"/>
                      </a:cubicBezTo>
                      <a:cubicBezTo>
                        <a:pt x="1469" y="800"/>
                        <a:pt x="1501" y="802"/>
                        <a:pt x="1536" y="806"/>
                      </a:cubicBezTo>
                      <a:cubicBezTo>
                        <a:pt x="1560" y="798"/>
                        <a:pt x="1586" y="783"/>
                        <a:pt x="1612" y="756"/>
                      </a:cubicBezTo>
                      <a:cubicBezTo>
                        <a:pt x="1552" y="750"/>
                        <a:pt x="1542" y="672"/>
                        <a:pt x="1538" y="613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sp>
        <p:nvSpPr>
          <p:cNvPr id="43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NavigationText"/>
          <p:cNvSpPr/>
          <p:nvPr/>
        </p:nvSpPr>
        <p:spPr>
          <a:xfrm>
            <a:off x="10049263" y="256093"/>
            <a:ext cx="1321797" cy="2580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9144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000" smtClean="0">
                <a:solidFill>
                  <a:srgbClr val="6F6F6F">
                    <a:lumMod val="10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fe and Health Sciences</a:t>
            </a:r>
            <a:endParaRPr lang="en-US" sz="1000" dirty="0" err="1" smtClean="0">
              <a:solidFill>
                <a:srgbClr val="6F6F6F">
                  <a:lumMod val="10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NavigationIcon"/>
          <p:cNvSpPr>
            <a:spLocks noChangeAspect="1"/>
          </p:cNvSpPr>
          <p:nvPr/>
        </p:nvSpPr>
        <p:spPr bwMode="auto">
          <a:xfrm>
            <a:off x="11644824" y="150750"/>
            <a:ext cx="457200" cy="330013"/>
          </a:xfrm>
          <a:custGeom>
            <a:avLst/>
            <a:gdLst>
              <a:gd name="connsiteX0" fmla="*/ 1209676 w 1506538"/>
              <a:gd name="connsiteY0" fmla="*/ 627063 h 1087438"/>
              <a:gd name="connsiteX1" fmla="*/ 1212851 w 1506538"/>
              <a:gd name="connsiteY1" fmla="*/ 628651 h 1087438"/>
              <a:gd name="connsiteX2" fmla="*/ 1217614 w 1506538"/>
              <a:gd name="connsiteY2" fmla="*/ 628651 h 1087438"/>
              <a:gd name="connsiteX3" fmla="*/ 1220789 w 1506538"/>
              <a:gd name="connsiteY3" fmla="*/ 631826 h 1087438"/>
              <a:gd name="connsiteX4" fmla="*/ 1222376 w 1506538"/>
              <a:gd name="connsiteY4" fmla="*/ 635001 h 1087438"/>
              <a:gd name="connsiteX5" fmla="*/ 1225551 w 1506538"/>
              <a:gd name="connsiteY5" fmla="*/ 638176 h 1087438"/>
              <a:gd name="connsiteX6" fmla="*/ 1225551 w 1506538"/>
              <a:gd name="connsiteY6" fmla="*/ 641351 h 1087438"/>
              <a:gd name="connsiteX7" fmla="*/ 1225551 w 1506538"/>
              <a:gd name="connsiteY7" fmla="*/ 644526 h 1087438"/>
              <a:gd name="connsiteX8" fmla="*/ 1225551 w 1506538"/>
              <a:gd name="connsiteY8" fmla="*/ 647701 h 1087438"/>
              <a:gd name="connsiteX9" fmla="*/ 1223964 w 1506538"/>
              <a:gd name="connsiteY9" fmla="*/ 650876 h 1087438"/>
              <a:gd name="connsiteX10" fmla="*/ 1222376 w 1506538"/>
              <a:gd name="connsiteY10" fmla="*/ 654051 h 1087438"/>
              <a:gd name="connsiteX11" fmla="*/ 1220789 w 1506538"/>
              <a:gd name="connsiteY11" fmla="*/ 655638 h 1087438"/>
              <a:gd name="connsiteX12" fmla="*/ 1217614 w 1506538"/>
              <a:gd name="connsiteY12" fmla="*/ 657226 h 1087438"/>
              <a:gd name="connsiteX13" fmla="*/ 1038226 w 1506538"/>
              <a:gd name="connsiteY13" fmla="*/ 760413 h 1087438"/>
              <a:gd name="connsiteX14" fmla="*/ 1035051 w 1506538"/>
              <a:gd name="connsiteY14" fmla="*/ 762001 h 1087438"/>
              <a:gd name="connsiteX15" fmla="*/ 1033463 w 1506538"/>
              <a:gd name="connsiteY15" fmla="*/ 763588 h 1087438"/>
              <a:gd name="connsiteX16" fmla="*/ 1028701 w 1506538"/>
              <a:gd name="connsiteY16" fmla="*/ 763588 h 1087438"/>
              <a:gd name="connsiteX17" fmla="*/ 1027113 w 1506538"/>
              <a:gd name="connsiteY17" fmla="*/ 762001 h 1087438"/>
              <a:gd name="connsiteX18" fmla="*/ 1022351 w 1506538"/>
              <a:gd name="connsiteY18" fmla="*/ 762001 h 1087438"/>
              <a:gd name="connsiteX19" fmla="*/ 1020763 w 1506538"/>
              <a:gd name="connsiteY19" fmla="*/ 758826 h 1087438"/>
              <a:gd name="connsiteX20" fmla="*/ 1019176 w 1506538"/>
              <a:gd name="connsiteY20" fmla="*/ 757238 h 1087438"/>
              <a:gd name="connsiteX21" fmla="*/ 1016001 w 1506538"/>
              <a:gd name="connsiteY21" fmla="*/ 754063 h 1087438"/>
              <a:gd name="connsiteX22" fmla="*/ 1014413 w 1506538"/>
              <a:gd name="connsiteY22" fmla="*/ 750888 h 1087438"/>
              <a:gd name="connsiteX23" fmla="*/ 1014413 w 1506538"/>
              <a:gd name="connsiteY23" fmla="*/ 749301 h 1087438"/>
              <a:gd name="connsiteX24" fmla="*/ 1014413 w 1506538"/>
              <a:gd name="connsiteY24" fmla="*/ 746126 h 1087438"/>
              <a:gd name="connsiteX25" fmla="*/ 1014413 w 1506538"/>
              <a:gd name="connsiteY25" fmla="*/ 741363 h 1087438"/>
              <a:gd name="connsiteX26" fmla="*/ 1014413 w 1506538"/>
              <a:gd name="connsiteY26" fmla="*/ 739776 h 1087438"/>
              <a:gd name="connsiteX27" fmla="*/ 1017588 w 1506538"/>
              <a:gd name="connsiteY27" fmla="*/ 736601 h 1087438"/>
              <a:gd name="connsiteX28" fmla="*/ 1019176 w 1506538"/>
              <a:gd name="connsiteY28" fmla="*/ 735013 h 1087438"/>
              <a:gd name="connsiteX29" fmla="*/ 1022351 w 1506538"/>
              <a:gd name="connsiteY29" fmla="*/ 731838 h 1087438"/>
              <a:gd name="connsiteX30" fmla="*/ 1200151 w 1506538"/>
              <a:gd name="connsiteY30" fmla="*/ 628651 h 1087438"/>
              <a:gd name="connsiteX31" fmla="*/ 1204914 w 1506538"/>
              <a:gd name="connsiteY31" fmla="*/ 628651 h 1087438"/>
              <a:gd name="connsiteX32" fmla="*/ 650876 w 1506538"/>
              <a:gd name="connsiteY32" fmla="*/ 627063 h 1087438"/>
              <a:gd name="connsiteX33" fmla="*/ 654051 w 1506538"/>
              <a:gd name="connsiteY33" fmla="*/ 628651 h 1087438"/>
              <a:gd name="connsiteX34" fmla="*/ 658814 w 1506538"/>
              <a:gd name="connsiteY34" fmla="*/ 628651 h 1087438"/>
              <a:gd name="connsiteX35" fmla="*/ 661989 w 1506538"/>
              <a:gd name="connsiteY35" fmla="*/ 631826 h 1087438"/>
              <a:gd name="connsiteX36" fmla="*/ 665164 w 1506538"/>
              <a:gd name="connsiteY36" fmla="*/ 635001 h 1087438"/>
              <a:gd name="connsiteX37" fmla="*/ 665164 w 1506538"/>
              <a:gd name="connsiteY37" fmla="*/ 638176 h 1087438"/>
              <a:gd name="connsiteX38" fmla="*/ 666751 w 1506538"/>
              <a:gd name="connsiteY38" fmla="*/ 641351 h 1087438"/>
              <a:gd name="connsiteX39" fmla="*/ 666751 w 1506538"/>
              <a:gd name="connsiteY39" fmla="*/ 644526 h 1087438"/>
              <a:gd name="connsiteX40" fmla="*/ 665164 w 1506538"/>
              <a:gd name="connsiteY40" fmla="*/ 647701 h 1087438"/>
              <a:gd name="connsiteX41" fmla="*/ 665164 w 1506538"/>
              <a:gd name="connsiteY41" fmla="*/ 650876 h 1087438"/>
              <a:gd name="connsiteX42" fmla="*/ 663576 w 1506538"/>
              <a:gd name="connsiteY42" fmla="*/ 654051 h 1087438"/>
              <a:gd name="connsiteX43" fmla="*/ 660401 w 1506538"/>
              <a:gd name="connsiteY43" fmla="*/ 655638 h 1087438"/>
              <a:gd name="connsiteX44" fmla="*/ 658814 w 1506538"/>
              <a:gd name="connsiteY44" fmla="*/ 657226 h 1087438"/>
              <a:gd name="connsiteX45" fmla="*/ 479426 w 1506538"/>
              <a:gd name="connsiteY45" fmla="*/ 760413 h 1087438"/>
              <a:gd name="connsiteX46" fmla="*/ 477838 w 1506538"/>
              <a:gd name="connsiteY46" fmla="*/ 762001 h 1087438"/>
              <a:gd name="connsiteX47" fmla="*/ 474663 w 1506538"/>
              <a:gd name="connsiteY47" fmla="*/ 763588 h 1087438"/>
              <a:gd name="connsiteX48" fmla="*/ 471488 w 1506538"/>
              <a:gd name="connsiteY48" fmla="*/ 763588 h 1087438"/>
              <a:gd name="connsiteX49" fmla="*/ 468313 w 1506538"/>
              <a:gd name="connsiteY49" fmla="*/ 762001 h 1087438"/>
              <a:gd name="connsiteX50" fmla="*/ 465138 w 1506538"/>
              <a:gd name="connsiteY50" fmla="*/ 762001 h 1087438"/>
              <a:gd name="connsiteX51" fmla="*/ 461963 w 1506538"/>
              <a:gd name="connsiteY51" fmla="*/ 758826 h 1087438"/>
              <a:gd name="connsiteX52" fmla="*/ 460376 w 1506538"/>
              <a:gd name="connsiteY52" fmla="*/ 757238 h 1087438"/>
              <a:gd name="connsiteX53" fmla="*/ 457201 w 1506538"/>
              <a:gd name="connsiteY53" fmla="*/ 754063 h 1087438"/>
              <a:gd name="connsiteX54" fmla="*/ 457201 w 1506538"/>
              <a:gd name="connsiteY54" fmla="*/ 750888 h 1087438"/>
              <a:gd name="connsiteX55" fmla="*/ 455613 w 1506538"/>
              <a:gd name="connsiteY55" fmla="*/ 749301 h 1087438"/>
              <a:gd name="connsiteX56" fmla="*/ 455613 w 1506538"/>
              <a:gd name="connsiteY56" fmla="*/ 746126 h 1087438"/>
              <a:gd name="connsiteX57" fmla="*/ 455613 w 1506538"/>
              <a:gd name="connsiteY57" fmla="*/ 741363 h 1087438"/>
              <a:gd name="connsiteX58" fmla="*/ 457201 w 1506538"/>
              <a:gd name="connsiteY58" fmla="*/ 739776 h 1087438"/>
              <a:gd name="connsiteX59" fmla="*/ 458788 w 1506538"/>
              <a:gd name="connsiteY59" fmla="*/ 736601 h 1087438"/>
              <a:gd name="connsiteX60" fmla="*/ 461963 w 1506538"/>
              <a:gd name="connsiteY60" fmla="*/ 735013 h 1087438"/>
              <a:gd name="connsiteX61" fmla="*/ 463551 w 1506538"/>
              <a:gd name="connsiteY61" fmla="*/ 731838 h 1087438"/>
              <a:gd name="connsiteX62" fmla="*/ 642939 w 1506538"/>
              <a:gd name="connsiteY62" fmla="*/ 628651 h 1087438"/>
              <a:gd name="connsiteX63" fmla="*/ 646114 w 1506538"/>
              <a:gd name="connsiteY63" fmla="*/ 628651 h 1087438"/>
              <a:gd name="connsiteX64" fmla="*/ 254000 w 1506538"/>
              <a:gd name="connsiteY64" fmla="*/ 423863 h 1087438"/>
              <a:gd name="connsiteX65" fmla="*/ 257176 w 1506538"/>
              <a:gd name="connsiteY65" fmla="*/ 423863 h 1087438"/>
              <a:gd name="connsiteX66" fmla="*/ 260351 w 1506538"/>
              <a:gd name="connsiteY66" fmla="*/ 423863 h 1087438"/>
              <a:gd name="connsiteX67" fmla="*/ 263526 w 1506538"/>
              <a:gd name="connsiteY67" fmla="*/ 425451 h 1087438"/>
              <a:gd name="connsiteX68" fmla="*/ 266701 w 1506538"/>
              <a:gd name="connsiteY68" fmla="*/ 427038 h 1087438"/>
              <a:gd name="connsiteX69" fmla="*/ 268288 w 1506538"/>
              <a:gd name="connsiteY69" fmla="*/ 428626 h 1087438"/>
              <a:gd name="connsiteX70" fmla="*/ 271463 w 1506538"/>
              <a:gd name="connsiteY70" fmla="*/ 431801 h 1087438"/>
              <a:gd name="connsiteX71" fmla="*/ 271463 w 1506538"/>
              <a:gd name="connsiteY71" fmla="*/ 434976 h 1087438"/>
              <a:gd name="connsiteX72" fmla="*/ 273051 w 1506538"/>
              <a:gd name="connsiteY72" fmla="*/ 436563 h 1087438"/>
              <a:gd name="connsiteX73" fmla="*/ 273051 w 1506538"/>
              <a:gd name="connsiteY73" fmla="*/ 441326 h 1087438"/>
              <a:gd name="connsiteX74" fmla="*/ 273051 w 1506538"/>
              <a:gd name="connsiteY74" fmla="*/ 646114 h 1087438"/>
              <a:gd name="connsiteX75" fmla="*/ 273051 w 1506538"/>
              <a:gd name="connsiteY75" fmla="*/ 650876 h 1087438"/>
              <a:gd name="connsiteX76" fmla="*/ 271463 w 1506538"/>
              <a:gd name="connsiteY76" fmla="*/ 652464 h 1087438"/>
              <a:gd name="connsiteX77" fmla="*/ 269876 w 1506538"/>
              <a:gd name="connsiteY77" fmla="*/ 655639 h 1087438"/>
              <a:gd name="connsiteX78" fmla="*/ 268288 w 1506538"/>
              <a:gd name="connsiteY78" fmla="*/ 658814 h 1087438"/>
              <a:gd name="connsiteX79" fmla="*/ 265113 w 1506538"/>
              <a:gd name="connsiteY79" fmla="*/ 660401 h 1087438"/>
              <a:gd name="connsiteX80" fmla="*/ 263526 w 1506538"/>
              <a:gd name="connsiteY80" fmla="*/ 661989 h 1087438"/>
              <a:gd name="connsiteX81" fmla="*/ 260351 w 1506538"/>
              <a:gd name="connsiteY81" fmla="*/ 663576 h 1087438"/>
              <a:gd name="connsiteX82" fmla="*/ 257176 w 1506538"/>
              <a:gd name="connsiteY82" fmla="*/ 663576 h 1087438"/>
              <a:gd name="connsiteX83" fmla="*/ 252413 w 1506538"/>
              <a:gd name="connsiteY83" fmla="*/ 663576 h 1087438"/>
              <a:gd name="connsiteX84" fmla="*/ 249238 w 1506538"/>
              <a:gd name="connsiteY84" fmla="*/ 661989 h 1087438"/>
              <a:gd name="connsiteX85" fmla="*/ 244475 w 1506538"/>
              <a:gd name="connsiteY85" fmla="*/ 658814 h 1087438"/>
              <a:gd name="connsiteX86" fmla="*/ 242888 w 1506538"/>
              <a:gd name="connsiteY86" fmla="*/ 655639 h 1087438"/>
              <a:gd name="connsiteX87" fmla="*/ 241300 w 1506538"/>
              <a:gd name="connsiteY87" fmla="*/ 650876 h 1087438"/>
              <a:gd name="connsiteX88" fmla="*/ 239713 w 1506538"/>
              <a:gd name="connsiteY88" fmla="*/ 646114 h 1087438"/>
              <a:gd name="connsiteX89" fmla="*/ 241300 w 1506538"/>
              <a:gd name="connsiteY89" fmla="*/ 441326 h 1087438"/>
              <a:gd name="connsiteX90" fmla="*/ 241300 w 1506538"/>
              <a:gd name="connsiteY90" fmla="*/ 436563 h 1087438"/>
              <a:gd name="connsiteX91" fmla="*/ 242888 w 1506538"/>
              <a:gd name="connsiteY91" fmla="*/ 434976 h 1087438"/>
              <a:gd name="connsiteX92" fmla="*/ 242888 w 1506538"/>
              <a:gd name="connsiteY92" fmla="*/ 431801 h 1087438"/>
              <a:gd name="connsiteX93" fmla="*/ 246063 w 1506538"/>
              <a:gd name="connsiteY93" fmla="*/ 428626 h 1087438"/>
              <a:gd name="connsiteX94" fmla="*/ 247650 w 1506538"/>
              <a:gd name="connsiteY94" fmla="*/ 427038 h 1087438"/>
              <a:gd name="connsiteX95" fmla="*/ 250825 w 1506538"/>
              <a:gd name="connsiteY95" fmla="*/ 425451 h 1087438"/>
              <a:gd name="connsiteX96" fmla="*/ 1027113 w 1506538"/>
              <a:gd name="connsiteY96" fmla="*/ 323850 h 1087438"/>
              <a:gd name="connsiteX97" fmla="*/ 1028701 w 1506538"/>
              <a:gd name="connsiteY97" fmla="*/ 323850 h 1087438"/>
              <a:gd name="connsiteX98" fmla="*/ 1033463 w 1506538"/>
              <a:gd name="connsiteY98" fmla="*/ 323850 h 1087438"/>
              <a:gd name="connsiteX99" fmla="*/ 1035051 w 1506538"/>
              <a:gd name="connsiteY99" fmla="*/ 323850 h 1087438"/>
              <a:gd name="connsiteX100" fmla="*/ 1038226 w 1506538"/>
              <a:gd name="connsiteY100" fmla="*/ 325438 h 1087438"/>
              <a:gd name="connsiteX101" fmla="*/ 1217614 w 1506538"/>
              <a:gd name="connsiteY101" fmla="*/ 427038 h 1087438"/>
              <a:gd name="connsiteX102" fmla="*/ 1220789 w 1506538"/>
              <a:gd name="connsiteY102" fmla="*/ 428625 h 1087438"/>
              <a:gd name="connsiteX103" fmla="*/ 1222376 w 1506538"/>
              <a:gd name="connsiteY103" fmla="*/ 431800 h 1087438"/>
              <a:gd name="connsiteX104" fmla="*/ 1223964 w 1506538"/>
              <a:gd name="connsiteY104" fmla="*/ 434975 h 1087438"/>
              <a:gd name="connsiteX105" fmla="*/ 1225551 w 1506538"/>
              <a:gd name="connsiteY105" fmla="*/ 436563 h 1087438"/>
              <a:gd name="connsiteX106" fmla="*/ 1225551 w 1506538"/>
              <a:gd name="connsiteY106" fmla="*/ 441325 h 1087438"/>
              <a:gd name="connsiteX107" fmla="*/ 1225551 w 1506538"/>
              <a:gd name="connsiteY107" fmla="*/ 442913 h 1087438"/>
              <a:gd name="connsiteX108" fmla="*/ 1225551 w 1506538"/>
              <a:gd name="connsiteY108" fmla="*/ 446088 h 1087438"/>
              <a:gd name="connsiteX109" fmla="*/ 1222376 w 1506538"/>
              <a:gd name="connsiteY109" fmla="*/ 450850 h 1087438"/>
              <a:gd name="connsiteX110" fmla="*/ 1220789 w 1506538"/>
              <a:gd name="connsiteY110" fmla="*/ 452438 h 1087438"/>
              <a:gd name="connsiteX111" fmla="*/ 1217614 w 1506538"/>
              <a:gd name="connsiteY111" fmla="*/ 455613 h 1087438"/>
              <a:gd name="connsiteX112" fmla="*/ 1212851 w 1506538"/>
              <a:gd name="connsiteY112" fmla="*/ 457200 h 1087438"/>
              <a:gd name="connsiteX113" fmla="*/ 1209676 w 1506538"/>
              <a:gd name="connsiteY113" fmla="*/ 457200 h 1087438"/>
              <a:gd name="connsiteX114" fmla="*/ 1204914 w 1506538"/>
              <a:gd name="connsiteY114" fmla="*/ 457200 h 1087438"/>
              <a:gd name="connsiteX115" fmla="*/ 1200151 w 1506538"/>
              <a:gd name="connsiteY115" fmla="*/ 455613 h 1087438"/>
              <a:gd name="connsiteX116" fmla="*/ 1022351 w 1506538"/>
              <a:gd name="connsiteY116" fmla="*/ 352425 h 1087438"/>
              <a:gd name="connsiteX117" fmla="*/ 1019176 w 1506538"/>
              <a:gd name="connsiteY117" fmla="*/ 350838 h 1087438"/>
              <a:gd name="connsiteX118" fmla="*/ 1017588 w 1506538"/>
              <a:gd name="connsiteY118" fmla="*/ 349250 h 1087438"/>
              <a:gd name="connsiteX119" fmla="*/ 1014413 w 1506538"/>
              <a:gd name="connsiteY119" fmla="*/ 346075 h 1087438"/>
              <a:gd name="connsiteX120" fmla="*/ 1014413 w 1506538"/>
              <a:gd name="connsiteY120" fmla="*/ 342900 h 1087438"/>
              <a:gd name="connsiteX121" fmla="*/ 1014413 w 1506538"/>
              <a:gd name="connsiteY121" fmla="*/ 341313 h 1087438"/>
              <a:gd name="connsiteX122" fmla="*/ 1014413 w 1506538"/>
              <a:gd name="connsiteY122" fmla="*/ 338138 h 1087438"/>
              <a:gd name="connsiteX123" fmla="*/ 1014413 w 1506538"/>
              <a:gd name="connsiteY123" fmla="*/ 334963 h 1087438"/>
              <a:gd name="connsiteX124" fmla="*/ 1016001 w 1506538"/>
              <a:gd name="connsiteY124" fmla="*/ 330200 h 1087438"/>
              <a:gd name="connsiteX125" fmla="*/ 1019176 w 1506538"/>
              <a:gd name="connsiteY125" fmla="*/ 328613 h 1087438"/>
              <a:gd name="connsiteX126" fmla="*/ 1020763 w 1506538"/>
              <a:gd name="connsiteY126" fmla="*/ 327025 h 1087438"/>
              <a:gd name="connsiteX127" fmla="*/ 1022351 w 1506538"/>
              <a:gd name="connsiteY127" fmla="*/ 325438 h 1087438"/>
              <a:gd name="connsiteX128" fmla="*/ 468313 w 1506538"/>
              <a:gd name="connsiteY128" fmla="*/ 323850 h 1087438"/>
              <a:gd name="connsiteX129" fmla="*/ 471488 w 1506538"/>
              <a:gd name="connsiteY129" fmla="*/ 323850 h 1087438"/>
              <a:gd name="connsiteX130" fmla="*/ 474663 w 1506538"/>
              <a:gd name="connsiteY130" fmla="*/ 323850 h 1087438"/>
              <a:gd name="connsiteX131" fmla="*/ 477838 w 1506538"/>
              <a:gd name="connsiteY131" fmla="*/ 323850 h 1087438"/>
              <a:gd name="connsiteX132" fmla="*/ 479426 w 1506538"/>
              <a:gd name="connsiteY132" fmla="*/ 325438 h 1087438"/>
              <a:gd name="connsiteX133" fmla="*/ 658814 w 1506538"/>
              <a:gd name="connsiteY133" fmla="*/ 427038 h 1087438"/>
              <a:gd name="connsiteX134" fmla="*/ 660401 w 1506538"/>
              <a:gd name="connsiteY134" fmla="*/ 428625 h 1087438"/>
              <a:gd name="connsiteX135" fmla="*/ 663576 w 1506538"/>
              <a:gd name="connsiteY135" fmla="*/ 431800 h 1087438"/>
              <a:gd name="connsiteX136" fmla="*/ 665164 w 1506538"/>
              <a:gd name="connsiteY136" fmla="*/ 434975 h 1087438"/>
              <a:gd name="connsiteX137" fmla="*/ 665164 w 1506538"/>
              <a:gd name="connsiteY137" fmla="*/ 436563 h 1087438"/>
              <a:gd name="connsiteX138" fmla="*/ 666751 w 1506538"/>
              <a:gd name="connsiteY138" fmla="*/ 441325 h 1087438"/>
              <a:gd name="connsiteX139" fmla="*/ 666751 w 1506538"/>
              <a:gd name="connsiteY139" fmla="*/ 442913 h 1087438"/>
              <a:gd name="connsiteX140" fmla="*/ 665164 w 1506538"/>
              <a:gd name="connsiteY140" fmla="*/ 446088 h 1087438"/>
              <a:gd name="connsiteX141" fmla="*/ 665164 w 1506538"/>
              <a:gd name="connsiteY141" fmla="*/ 450850 h 1087438"/>
              <a:gd name="connsiteX142" fmla="*/ 661989 w 1506538"/>
              <a:gd name="connsiteY142" fmla="*/ 452438 h 1087438"/>
              <a:gd name="connsiteX143" fmla="*/ 658814 w 1506538"/>
              <a:gd name="connsiteY143" fmla="*/ 455613 h 1087438"/>
              <a:gd name="connsiteX144" fmla="*/ 654051 w 1506538"/>
              <a:gd name="connsiteY144" fmla="*/ 457200 h 1087438"/>
              <a:gd name="connsiteX145" fmla="*/ 650876 w 1506538"/>
              <a:gd name="connsiteY145" fmla="*/ 457200 h 1087438"/>
              <a:gd name="connsiteX146" fmla="*/ 646114 w 1506538"/>
              <a:gd name="connsiteY146" fmla="*/ 457200 h 1087438"/>
              <a:gd name="connsiteX147" fmla="*/ 642939 w 1506538"/>
              <a:gd name="connsiteY147" fmla="*/ 455613 h 1087438"/>
              <a:gd name="connsiteX148" fmla="*/ 463551 w 1506538"/>
              <a:gd name="connsiteY148" fmla="*/ 352425 h 1087438"/>
              <a:gd name="connsiteX149" fmla="*/ 461963 w 1506538"/>
              <a:gd name="connsiteY149" fmla="*/ 350838 h 1087438"/>
              <a:gd name="connsiteX150" fmla="*/ 458788 w 1506538"/>
              <a:gd name="connsiteY150" fmla="*/ 349250 h 1087438"/>
              <a:gd name="connsiteX151" fmla="*/ 457201 w 1506538"/>
              <a:gd name="connsiteY151" fmla="*/ 346075 h 1087438"/>
              <a:gd name="connsiteX152" fmla="*/ 455613 w 1506538"/>
              <a:gd name="connsiteY152" fmla="*/ 342900 h 1087438"/>
              <a:gd name="connsiteX153" fmla="*/ 455613 w 1506538"/>
              <a:gd name="connsiteY153" fmla="*/ 341313 h 1087438"/>
              <a:gd name="connsiteX154" fmla="*/ 455613 w 1506538"/>
              <a:gd name="connsiteY154" fmla="*/ 338138 h 1087438"/>
              <a:gd name="connsiteX155" fmla="*/ 457201 w 1506538"/>
              <a:gd name="connsiteY155" fmla="*/ 334963 h 1087438"/>
              <a:gd name="connsiteX156" fmla="*/ 457201 w 1506538"/>
              <a:gd name="connsiteY156" fmla="*/ 330200 h 1087438"/>
              <a:gd name="connsiteX157" fmla="*/ 460376 w 1506538"/>
              <a:gd name="connsiteY157" fmla="*/ 328613 h 1087438"/>
              <a:gd name="connsiteX158" fmla="*/ 461963 w 1506538"/>
              <a:gd name="connsiteY158" fmla="*/ 327025 h 1087438"/>
              <a:gd name="connsiteX159" fmla="*/ 465138 w 1506538"/>
              <a:gd name="connsiteY159" fmla="*/ 325438 h 1087438"/>
              <a:gd name="connsiteX160" fmla="*/ 1036638 w 1506538"/>
              <a:gd name="connsiteY160" fmla="*/ 231775 h 1087438"/>
              <a:gd name="connsiteX161" fmla="*/ 904876 w 1506538"/>
              <a:gd name="connsiteY161" fmla="*/ 307975 h 1087438"/>
              <a:gd name="connsiteX162" fmla="*/ 850901 w 1506538"/>
              <a:gd name="connsiteY162" fmla="*/ 341313 h 1087438"/>
              <a:gd name="connsiteX163" fmla="*/ 769938 w 1506538"/>
              <a:gd name="connsiteY163" fmla="*/ 387350 h 1087438"/>
              <a:gd name="connsiteX164" fmla="*/ 769938 w 1506538"/>
              <a:gd name="connsiteY164" fmla="*/ 473075 h 1087438"/>
              <a:gd name="connsiteX165" fmla="*/ 769938 w 1506538"/>
              <a:gd name="connsiteY165" fmla="*/ 614363 h 1087438"/>
              <a:gd name="connsiteX166" fmla="*/ 769938 w 1506538"/>
              <a:gd name="connsiteY166" fmla="*/ 700088 h 1087438"/>
              <a:gd name="connsiteX167" fmla="*/ 814388 w 1506538"/>
              <a:gd name="connsiteY167" fmla="*/ 725488 h 1087438"/>
              <a:gd name="connsiteX168" fmla="*/ 850901 w 1506538"/>
              <a:gd name="connsiteY168" fmla="*/ 747713 h 1087438"/>
              <a:gd name="connsiteX169" fmla="*/ 1036638 w 1506538"/>
              <a:gd name="connsiteY169" fmla="*/ 855663 h 1087438"/>
              <a:gd name="connsiteX170" fmla="*/ 1109663 w 1506538"/>
              <a:gd name="connsiteY170" fmla="*/ 812801 h 1087438"/>
              <a:gd name="connsiteX171" fmla="*/ 1303338 w 1506538"/>
              <a:gd name="connsiteY171" fmla="*/ 700088 h 1087438"/>
              <a:gd name="connsiteX172" fmla="*/ 1303338 w 1506538"/>
              <a:gd name="connsiteY172" fmla="*/ 614363 h 1087438"/>
              <a:gd name="connsiteX173" fmla="*/ 1303338 w 1506538"/>
              <a:gd name="connsiteY173" fmla="*/ 473075 h 1087438"/>
              <a:gd name="connsiteX174" fmla="*/ 1303338 w 1506538"/>
              <a:gd name="connsiteY174" fmla="*/ 387350 h 1087438"/>
              <a:gd name="connsiteX175" fmla="*/ 1109663 w 1506538"/>
              <a:gd name="connsiteY175" fmla="*/ 274638 h 1087438"/>
              <a:gd name="connsiteX176" fmla="*/ 469900 w 1506538"/>
              <a:gd name="connsiteY176" fmla="*/ 231775 h 1087438"/>
              <a:gd name="connsiteX177" fmla="*/ 396875 w 1506538"/>
              <a:gd name="connsiteY177" fmla="*/ 274638 h 1087438"/>
              <a:gd name="connsiteX178" fmla="*/ 203200 w 1506538"/>
              <a:gd name="connsiteY178" fmla="*/ 387350 h 1087438"/>
              <a:gd name="connsiteX179" fmla="*/ 203200 w 1506538"/>
              <a:gd name="connsiteY179" fmla="*/ 473075 h 1087438"/>
              <a:gd name="connsiteX180" fmla="*/ 203200 w 1506538"/>
              <a:gd name="connsiteY180" fmla="*/ 614363 h 1087438"/>
              <a:gd name="connsiteX181" fmla="*/ 203200 w 1506538"/>
              <a:gd name="connsiteY181" fmla="*/ 700088 h 1087438"/>
              <a:gd name="connsiteX182" fmla="*/ 396875 w 1506538"/>
              <a:gd name="connsiteY182" fmla="*/ 812801 h 1087438"/>
              <a:gd name="connsiteX183" fmla="*/ 469900 w 1506538"/>
              <a:gd name="connsiteY183" fmla="*/ 855663 h 1087438"/>
              <a:gd name="connsiteX184" fmla="*/ 601663 w 1506538"/>
              <a:gd name="connsiteY184" fmla="*/ 779463 h 1087438"/>
              <a:gd name="connsiteX185" fmla="*/ 655638 w 1506538"/>
              <a:gd name="connsiteY185" fmla="*/ 746126 h 1087438"/>
              <a:gd name="connsiteX186" fmla="*/ 736600 w 1506538"/>
              <a:gd name="connsiteY186" fmla="*/ 700088 h 1087438"/>
              <a:gd name="connsiteX187" fmla="*/ 736600 w 1506538"/>
              <a:gd name="connsiteY187" fmla="*/ 614363 h 1087438"/>
              <a:gd name="connsiteX188" fmla="*/ 736600 w 1506538"/>
              <a:gd name="connsiteY188" fmla="*/ 473075 h 1087438"/>
              <a:gd name="connsiteX189" fmla="*/ 736600 w 1506538"/>
              <a:gd name="connsiteY189" fmla="*/ 387350 h 1087438"/>
              <a:gd name="connsiteX190" fmla="*/ 655638 w 1506538"/>
              <a:gd name="connsiteY190" fmla="*/ 341313 h 1087438"/>
              <a:gd name="connsiteX191" fmla="*/ 601663 w 1506538"/>
              <a:gd name="connsiteY191" fmla="*/ 307975 h 1087438"/>
              <a:gd name="connsiteX192" fmla="*/ 465138 w 1506538"/>
              <a:gd name="connsiteY192" fmla="*/ 0 h 1087438"/>
              <a:gd name="connsiteX193" fmla="*/ 469900 w 1506538"/>
              <a:gd name="connsiteY193" fmla="*/ 0 h 1087438"/>
              <a:gd name="connsiteX194" fmla="*/ 473075 w 1506538"/>
              <a:gd name="connsiteY194" fmla="*/ 0 h 1087438"/>
              <a:gd name="connsiteX195" fmla="*/ 476250 w 1506538"/>
              <a:gd name="connsiteY195" fmla="*/ 0 h 1087438"/>
              <a:gd name="connsiteX196" fmla="*/ 477838 w 1506538"/>
              <a:gd name="connsiteY196" fmla="*/ 1588 h 1087438"/>
              <a:gd name="connsiteX197" fmla="*/ 479425 w 1506538"/>
              <a:gd name="connsiteY197" fmla="*/ 4763 h 1087438"/>
              <a:gd name="connsiteX198" fmla="*/ 481013 w 1506538"/>
              <a:gd name="connsiteY198" fmla="*/ 6350 h 1087438"/>
              <a:gd name="connsiteX199" fmla="*/ 484188 w 1506538"/>
              <a:gd name="connsiteY199" fmla="*/ 7938 h 1087438"/>
              <a:gd name="connsiteX200" fmla="*/ 484188 w 1506538"/>
              <a:gd name="connsiteY200" fmla="*/ 9525 h 1087438"/>
              <a:gd name="connsiteX201" fmla="*/ 485775 w 1506538"/>
              <a:gd name="connsiteY201" fmla="*/ 12700 h 1087438"/>
              <a:gd name="connsiteX202" fmla="*/ 485775 w 1506538"/>
              <a:gd name="connsiteY202" fmla="*/ 15875 h 1087438"/>
              <a:gd name="connsiteX203" fmla="*/ 485775 w 1506538"/>
              <a:gd name="connsiteY203" fmla="*/ 203200 h 1087438"/>
              <a:gd name="connsiteX204" fmla="*/ 752475 w 1506538"/>
              <a:gd name="connsiteY204" fmla="*/ 358775 h 1087438"/>
              <a:gd name="connsiteX205" fmla="*/ 1020763 w 1506538"/>
              <a:gd name="connsiteY205" fmla="*/ 203200 h 1087438"/>
              <a:gd name="connsiteX206" fmla="*/ 1020763 w 1506538"/>
              <a:gd name="connsiteY206" fmla="*/ 15875 h 1087438"/>
              <a:gd name="connsiteX207" fmla="*/ 1020763 w 1506538"/>
              <a:gd name="connsiteY207" fmla="*/ 12700 h 1087438"/>
              <a:gd name="connsiteX208" fmla="*/ 1022351 w 1506538"/>
              <a:gd name="connsiteY208" fmla="*/ 9525 h 1087438"/>
              <a:gd name="connsiteX209" fmla="*/ 1022351 w 1506538"/>
              <a:gd name="connsiteY209" fmla="*/ 7938 h 1087438"/>
              <a:gd name="connsiteX210" fmla="*/ 1025526 w 1506538"/>
              <a:gd name="connsiteY210" fmla="*/ 6350 h 1087438"/>
              <a:gd name="connsiteX211" fmla="*/ 1027113 w 1506538"/>
              <a:gd name="connsiteY211" fmla="*/ 4763 h 1087438"/>
              <a:gd name="connsiteX212" fmla="*/ 1028701 w 1506538"/>
              <a:gd name="connsiteY212" fmla="*/ 1588 h 1087438"/>
              <a:gd name="connsiteX213" fmla="*/ 1030288 w 1506538"/>
              <a:gd name="connsiteY213" fmla="*/ 0 h 1087438"/>
              <a:gd name="connsiteX214" fmla="*/ 1033463 w 1506538"/>
              <a:gd name="connsiteY214" fmla="*/ 0 h 1087438"/>
              <a:gd name="connsiteX215" fmla="*/ 1036638 w 1506538"/>
              <a:gd name="connsiteY215" fmla="*/ 0 h 1087438"/>
              <a:gd name="connsiteX216" fmla="*/ 1041401 w 1506538"/>
              <a:gd name="connsiteY216" fmla="*/ 0 h 1087438"/>
              <a:gd name="connsiteX217" fmla="*/ 1042988 w 1506538"/>
              <a:gd name="connsiteY217" fmla="*/ 1588 h 1087438"/>
              <a:gd name="connsiteX218" fmla="*/ 1047751 w 1506538"/>
              <a:gd name="connsiteY218" fmla="*/ 4763 h 1087438"/>
              <a:gd name="connsiteX219" fmla="*/ 1049338 w 1506538"/>
              <a:gd name="connsiteY219" fmla="*/ 6350 h 1087438"/>
              <a:gd name="connsiteX220" fmla="*/ 1050926 w 1506538"/>
              <a:gd name="connsiteY220" fmla="*/ 9525 h 1087438"/>
              <a:gd name="connsiteX221" fmla="*/ 1050926 w 1506538"/>
              <a:gd name="connsiteY221" fmla="*/ 12700 h 1087438"/>
              <a:gd name="connsiteX222" fmla="*/ 1052513 w 1506538"/>
              <a:gd name="connsiteY222" fmla="*/ 15875 h 1087438"/>
              <a:gd name="connsiteX223" fmla="*/ 1052513 w 1506538"/>
              <a:gd name="connsiteY223" fmla="*/ 203200 h 1087438"/>
              <a:gd name="connsiteX224" fmla="*/ 1209676 w 1506538"/>
              <a:gd name="connsiteY224" fmla="*/ 295275 h 1087438"/>
              <a:gd name="connsiteX225" fmla="*/ 1320801 w 1506538"/>
              <a:gd name="connsiteY225" fmla="*/ 358775 h 1087438"/>
              <a:gd name="connsiteX226" fmla="*/ 1482726 w 1506538"/>
              <a:gd name="connsiteY226" fmla="*/ 265113 h 1087438"/>
              <a:gd name="connsiteX227" fmla="*/ 1485901 w 1506538"/>
              <a:gd name="connsiteY227" fmla="*/ 263525 h 1087438"/>
              <a:gd name="connsiteX228" fmla="*/ 1490663 w 1506538"/>
              <a:gd name="connsiteY228" fmla="*/ 263525 h 1087438"/>
              <a:gd name="connsiteX229" fmla="*/ 1495426 w 1506538"/>
              <a:gd name="connsiteY229" fmla="*/ 263525 h 1087438"/>
              <a:gd name="connsiteX230" fmla="*/ 1498601 w 1506538"/>
              <a:gd name="connsiteY230" fmla="*/ 265113 h 1087438"/>
              <a:gd name="connsiteX231" fmla="*/ 1501776 w 1506538"/>
              <a:gd name="connsiteY231" fmla="*/ 266700 h 1087438"/>
              <a:gd name="connsiteX232" fmla="*/ 1504951 w 1506538"/>
              <a:gd name="connsiteY232" fmla="*/ 271463 h 1087438"/>
              <a:gd name="connsiteX233" fmla="*/ 1506538 w 1506538"/>
              <a:gd name="connsiteY233" fmla="*/ 274638 h 1087438"/>
              <a:gd name="connsiteX234" fmla="*/ 1506538 w 1506538"/>
              <a:gd name="connsiteY234" fmla="*/ 277813 h 1087438"/>
              <a:gd name="connsiteX235" fmla="*/ 1506538 w 1506538"/>
              <a:gd name="connsiteY235" fmla="*/ 280988 h 1087438"/>
              <a:gd name="connsiteX236" fmla="*/ 1506538 w 1506538"/>
              <a:gd name="connsiteY236" fmla="*/ 284163 h 1087438"/>
              <a:gd name="connsiteX237" fmla="*/ 1504951 w 1506538"/>
              <a:gd name="connsiteY237" fmla="*/ 285750 h 1087438"/>
              <a:gd name="connsiteX238" fmla="*/ 1504951 w 1506538"/>
              <a:gd name="connsiteY238" fmla="*/ 288925 h 1087438"/>
              <a:gd name="connsiteX239" fmla="*/ 1501776 w 1506538"/>
              <a:gd name="connsiteY239" fmla="*/ 292100 h 1087438"/>
              <a:gd name="connsiteX240" fmla="*/ 1498601 w 1506538"/>
              <a:gd name="connsiteY240" fmla="*/ 293688 h 1087438"/>
              <a:gd name="connsiteX241" fmla="*/ 1338263 w 1506538"/>
              <a:gd name="connsiteY241" fmla="*/ 387350 h 1087438"/>
              <a:gd name="connsiteX242" fmla="*/ 1338263 w 1506538"/>
              <a:gd name="connsiteY242" fmla="*/ 471488 h 1087438"/>
              <a:gd name="connsiteX243" fmla="*/ 1338263 w 1506538"/>
              <a:gd name="connsiteY243" fmla="*/ 615950 h 1087438"/>
              <a:gd name="connsiteX244" fmla="*/ 1338263 w 1506538"/>
              <a:gd name="connsiteY244" fmla="*/ 700088 h 1087438"/>
              <a:gd name="connsiteX245" fmla="*/ 1498601 w 1506538"/>
              <a:gd name="connsiteY245" fmla="*/ 793751 h 1087438"/>
              <a:gd name="connsiteX246" fmla="*/ 1501776 w 1506538"/>
              <a:gd name="connsiteY246" fmla="*/ 795338 h 1087438"/>
              <a:gd name="connsiteX247" fmla="*/ 1504951 w 1506538"/>
              <a:gd name="connsiteY247" fmla="*/ 798513 h 1087438"/>
              <a:gd name="connsiteX248" fmla="*/ 1504951 w 1506538"/>
              <a:gd name="connsiteY248" fmla="*/ 801688 h 1087438"/>
              <a:gd name="connsiteX249" fmla="*/ 1506538 w 1506538"/>
              <a:gd name="connsiteY249" fmla="*/ 803276 h 1087438"/>
              <a:gd name="connsiteX250" fmla="*/ 1506538 w 1506538"/>
              <a:gd name="connsiteY250" fmla="*/ 806451 h 1087438"/>
              <a:gd name="connsiteX251" fmla="*/ 1506538 w 1506538"/>
              <a:gd name="connsiteY251" fmla="*/ 809626 h 1087438"/>
              <a:gd name="connsiteX252" fmla="*/ 1506538 w 1506538"/>
              <a:gd name="connsiteY252" fmla="*/ 812801 h 1087438"/>
              <a:gd name="connsiteX253" fmla="*/ 1504951 w 1506538"/>
              <a:gd name="connsiteY253" fmla="*/ 815976 h 1087438"/>
              <a:gd name="connsiteX254" fmla="*/ 1501776 w 1506538"/>
              <a:gd name="connsiteY254" fmla="*/ 819151 h 1087438"/>
              <a:gd name="connsiteX255" fmla="*/ 1498601 w 1506538"/>
              <a:gd name="connsiteY255" fmla="*/ 822326 h 1087438"/>
              <a:gd name="connsiteX256" fmla="*/ 1495426 w 1506538"/>
              <a:gd name="connsiteY256" fmla="*/ 823913 h 1087438"/>
              <a:gd name="connsiteX257" fmla="*/ 1490663 w 1506538"/>
              <a:gd name="connsiteY257" fmla="*/ 823913 h 1087438"/>
              <a:gd name="connsiteX258" fmla="*/ 1485901 w 1506538"/>
              <a:gd name="connsiteY258" fmla="*/ 823913 h 1087438"/>
              <a:gd name="connsiteX259" fmla="*/ 1482726 w 1506538"/>
              <a:gd name="connsiteY259" fmla="*/ 822326 h 1087438"/>
              <a:gd name="connsiteX260" fmla="*/ 1320801 w 1506538"/>
              <a:gd name="connsiteY260" fmla="*/ 728663 h 1087438"/>
              <a:gd name="connsiteX261" fmla="*/ 1209676 w 1506538"/>
              <a:gd name="connsiteY261" fmla="*/ 792163 h 1087438"/>
              <a:gd name="connsiteX262" fmla="*/ 1052513 w 1506538"/>
              <a:gd name="connsiteY262" fmla="*/ 884238 h 1087438"/>
              <a:gd name="connsiteX263" fmla="*/ 1052513 w 1506538"/>
              <a:gd name="connsiteY263" fmla="*/ 1071563 h 1087438"/>
              <a:gd name="connsiteX264" fmla="*/ 1050926 w 1506538"/>
              <a:gd name="connsiteY264" fmla="*/ 1074738 h 1087438"/>
              <a:gd name="connsiteX265" fmla="*/ 1050926 w 1506538"/>
              <a:gd name="connsiteY265" fmla="*/ 1077913 h 1087438"/>
              <a:gd name="connsiteX266" fmla="*/ 1049338 w 1506538"/>
              <a:gd name="connsiteY266" fmla="*/ 1081088 h 1087438"/>
              <a:gd name="connsiteX267" fmla="*/ 1047751 w 1506538"/>
              <a:gd name="connsiteY267" fmla="*/ 1082676 h 1087438"/>
              <a:gd name="connsiteX268" fmla="*/ 1042988 w 1506538"/>
              <a:gd name="connsiteY268" fmla="*/ 1085851 h 1087438"/>
              <a:gd name="connsiteX269" fmla="*/ 1041401 w 1506538"/>
              <a:gd name="connsiteY269" fmla="*/ 1087438 h 1087438"/>
              <a:gd name="connsiteX270" fmla="*/ 1036638 w 1506538"/>
              <a:gd name="connsiteY270" fmla="*/ 1087438 h 1087438"/>
              <a:gd name="connsiteX271" fmla="*/ 1033463 w 1506538"/>
              <a:gd name="connsiteY271" fmla="*/ 1087438 h 1087438"/>
              <a:gd name="connsiteX272" fmla="*/ 1030288 w 1506538"/>
              <a:gd name="connsiteY272" fmla="*/ 1087438 h 1087438"/>
              <a:gd name="connsiteX273" fmla="*/ 1028701 w 1506538"/>
              <a:gd name="connsiteY273" fmla="*/ 1085851 h 1087438"/>
              <a:gd name="connsiteX274" fmla="*/ 1027113 w 1506538"/>
              <a:gd name="connsiteY274" fmla="*/ 1082676 h 1087438"/>
              <a:gd name="connsiteX275" fmla="*/ 1025526 w 1506538"/>
              <a:gd name="connsiteY275" fmla="*/ 1081088 h 1087438"/>
              <a:gd name="connsiteX276" fmla="*/ 1022351 w 1506538"/>
              <a:gd name="connsiteY276" fmla="*/ 1079501 h 1087438"/>
              <a:gd name="connsiteX277" fmla="*/ 1022351 w 1506538"/>
              <a:gd name="connsiteY277" fmla="*/ 1077913 h 1087438"/>
              <a:gd name="connsiteX278" fmla="*/ 1020763 w 1506538"/>
              <a:gd name="connsiteY278" fmla="*/ 1074738 h 1087438"/>
              <a:gd name="connsiteX279" fmla="*/ 1020763 w 1506538"/>
              <a:gd name="connsiteY279" fmla="*/ 1071563 h 1087438"/>
              <a:gd name="connsiteX280" fmla="*/ 1020763 w 1506538"/>
              <a:gd name="connsiteY280" fmla="*/ 884238 h 1087438"/>
              <a:gd name="connsiteX281" fmla="*/ 752475 w 1506538"/>
              <a:gd name="connsiteY281" fmla="*/ 727075 h 1087438"/>
              <a:gd name="connsiteX282" fmla="*/ 485775 w 1506538"/>
              <a:gd name="connsiteY282" fmla="*/ 884238 h 1087438"/>
              <a:gd name="connsiteX283" fmla="*/ 485775 w 1506538"/>
              <a:gd name="connsiteY283" fmla="*/ 1071563 h 1087438"/>
              <a:gd name="connsiteX284" fmla="*/ 485775 w 1506538"/>
              <a:gd name="connsiteY284" fmla="*/ 1074738 h 1087438"/>
              <a:gd name="connsiteX285" fmla="*/ 484188 w 1506538"/>
              <a:gd name="connsiteY285" fmla="*/ 1077913 h 1087438"/>
              <a:gd name="connsiteX286" fmla="*/ 484188 w 1506538"/>
              <a:gd name="connsiteY286" fmla="*/ 1079501 h 1087438"/>
              <a:gd name="connsiteX287" fmla="*/ 481013 w 1506538"/>
              <a:gd name="connsiteY287" fmla="*/ 1081088 h 1087438"/>
              <a:gd name="connsiteX288" fmla="*/ 479425 w 1506538"/>
              <a:gd name="connsiteY288" fmla="*/ 1082676 h 1087438"/>
              <a:gd name="connsiteX289" fmla="*/ 477838 w 1506538"/>
              <a:gd name="connsiteY289" fmla="*/ 1085851 h 1087438"/>
              <a:gd name="connsiteX290" fmla="*/ 476250 w 1506538"/>
              <a:gd name="connsiteY290" fmla="*/ 1087438 h 1087438"/>
              <a:gd name="connsiteX291" fmla="*/ 473075 w 1506538"/>
              <a:gd name="connsiteY291" fmla="*/ 1087438 h 1087438"/>
              <a:gd name="connsiteX292" fmla="*/ 469900 w 1506538"/>
              <a:gd name="connsiteY292" fmla="*/ 1087438 h 1087438"/>
              <a:gd name="connsiteX293" fmla="*/ 465138 w 1506538"/>
              <a:gd name="connsiteY293" fmla="*/ 1087438 h 1087438"/>
              <a:gd name="connsiteX294" fmla="*/ 461963 w 1506538"/>
              <a:gd name="connsiteY294" fmla="*/ 1085851 h 1087438"/>
              <a:gd name="connsiteX295" fmla="*/ 458788 w 1506538"/>
              <a:gd name="connsiteY295" fmla="*/ 1082676 h 1087438"/>
              <a:gd name="connsiteX296" fmla="*/ 457200 w 1506538"/>
              <a:gd name="connsiteY296" fmla="*/ 1081088 h 1087438"/>
              <a:gd name="connsiteX297" fmla="*/ 455613 w 1506538"/>
              <a:gd name="connsiteY297" fmla="*/ 1077913 h 1087438"/>
              <a:gd name="connsiteX298" fmla="*/ 455613 w 1506538"/>
              <a:gd name="connsiteY298" fmla="*/ 1074738 h 1087438"/>
              <a:gd name="connsiteX299" fmla="*/ 454025 w 1506538"/>
              <a:gd name="connsiteY299" fmla="*/ 1071563 h 1087438"/>
              <a:gd name="connsiteX300" fmla="*/ 454025 w 1506538"/>
              <a:gd name="connsiteY300" fmla="*/ 884238 h 1087438"/>
              <a:gd name="connsiteX301" fmla="*/ 296863 w 1506538"/>
              <a:gd name="connsiteY301" fmla="*/ 792163 h 1087438"/>
              <a:gd name="connsiteX302" fmla="*/ 185738 w 1506538"/>
              <a:gd name="connsiteY302" fmla="*/ 728663 h 1087438"/>
              <a:gd name="connsiteX303" fmla="*/ 23813 w 1506538"/>
              <a:gd name="connsiteY303" fmla="*/ 822326 h 1087438"/>
              <a:gd name="connsiteX304" fmla="*/ 20638 w 1506538"/>
              <a:gd name="connsiteY304" fmla="*/ 823913 h 1087438"/>
              <a:gd name="connsiteX305" fmla="*/ 15875 w 1506538"/>
              <a:gd name="connsiteY305" fmla="*/ 823913 h 1087438"/>
              <a:gd name="connsiteX306" fmla="*/ 11113 w 1506538"/>
              <a:gd name="connsiteY306" fmla="*/ 823913 h 1087438"/>
              <a:gd name="connsiteX307" fmla="*/ 7938 w 1506538"/>
              <a:gd name="connsiteY307" fmla="*/ 822326 h 1087438"/>
              <a:gd name="connsiteX308" fmla="*/ 4763 w 1506538"/>
              <a:gd name="connsiteY308" fmla="*/ 819151 h 1087438"/>
              <a:gd name="connsiteX309" fmla="*/ 1588 w 1506538"/>
              <a:gd name="connsiteY309" fmla="*/ 815976 h 1087438"/>
              <a:gd name="connsiteX310" fmla="*/ 0 w 1506538"/>
              <a:gd name="connsiteY310" fmla="*/ 812801 h 1087438"/>
              <a:gd name="connsiteX311" fmla="*/ 0 w 1506538"/>
              <a:gd name="connsiteY311" fmla="*/ 809626 h 1087438"/>
              <a:gd name="connsiteX312" fmla="*/ 0 w 1506538"/>
              <a:gd name="connsiteY312" fmla="*/ 806451 h 1087438"/>
              <a:gd name="connsiteX313" fmla="*/ 0 w 1506538"/>
              <a:gd name="connsiteY313" fmla="*/ 803276 h 1087438"/>
              <a:gd name="connsiteX314" fmla="*/ 1588 w 1506538"/>
              <a:gd name="connsiteY314" fmla="*/ 801688 h 1087438"/>
              <a:gd name="connsiteX315" fmla="*/ 1588 w 1506538"/>
              <a:gd name="connsiteY315" fmla="*/ 798513 h 1087438"/>
              <a:gd name="connsiteX316" fmla="*/ 4763 w 1506538"/>
              <a:gd name="connsiteY316" fmla="*/ 795338 h 1087438"/>
              <a:gd name="connsiteX317" fmla="*/ 7938 w 1506538"/>
              <a:gd name="connsiteY317" fmla="*/ 793751 h 1087438"/>
              <a:gd name="connsiteX318" fmla="*/ 168275 w 1506538"/>
              <a:gd name="connsiteY318" fmla="*/ 700088 h 1087438"/>
              <a:gd name="connsiteX319" fmla="*/ 168275 w 1506538"/>
              <a:gd name="connsiteY319" fmla="*/ 615950 h 1087438"/>
              <a:gd name="connsiteX320" fmla="*/ 168275 w 1506538"/>
              <a:gd name="connsiteY320" fmla="*/ 471488 h 1087438"/>
              <a:gd name="connsiteX321" fmla="*/ 168275 w 1506538"/>
              <a:gd name="connsiteY321" fmla="*/ 387350 h 1087438"/>
              <a:gd name="connsiteX322" fmla="*/ 7938 w 1506538"/>
              <a:gd name="connsiteY322" fmla="*/ 293688 h 1087438"/>
              <a:gd name="connsiteX323" fmla="*/ 4763 w 1506538"/>
              <a:gd name="connsiteY323" fmla="*/ 292100 h 1087438"/>
              <a:gd name="connsiteX324" fmla="*/ 1588 w 1506538"/>
              <a:gd name="connsiteY324" fmla="*/ 288925 h 1087438"/>
              <a:gd name="connsiteX325" fmla="*/ 1588 w 1506538"/>
              <a:gd name="connsiteY325" fmla="*/ 285750 h 1087438"/>
              <a:gd name="connsiteX326" fmla="*/ 0 w 1506538"/>
              <a:gd name="connsiteY326" fmla="*/ 284163 h 1087438"/>
              <a:gd name="connsiteX327" fmla="*/ 0 w 1506538"/>
              <a:gd name="connsiteY327" fmla="*/ 280988 h 1087438"/>
              <a:gd name="connsiteX328" fmla="*/ 0 w 1506538"/>
              <a:gd name="connsiteY328" fmla="*/ 277813 h 1087438"/>
              <a:gd name="connsiteX329" fmla="*/ 0 w 1506538"/>
              <a:gd name="connsiteY329" fmla="*/ 274638 h 1087438"/>
              <a:gd name="connsiteX330" fmla="*/ 1588 w 1506538"/>
              <a:gd name="connsiteY330" fmla="*/ 271463 h 1087438"/>
              <a:gd name="connsiteX331" fmla="*/ 4763 w 1506538"/>
              <a:gd name="connsiteY331" fmla="*/ 266700 h 1087438"/>
              <a:gd name="connsiteX332" fmla="*/ 7938 w 1506538"/>
              <a:gd name="connsiteY332" fmla="*/ 265113 h 1087438"/>
              <a:gd name="connsiteX333" fmla="*/ 11113 w 1506538"/>
              <a:gd name="connsiteY333" fmla="*/ 263525 h 1087438"/>
              <a:gd name="connsiteX334" fmla="*/ 15875 w 1506538"/>
              <a:gd name="connsiteY334" fmla="*/ 263525 h 1087438"/>
              <a:gd name="connsiteX335" fmla="*/ 20638 w 1506538"/>
              <a:gd name="connsiteY335" fmla="*/ 263525 h 1087438"/>
              <a:gd name="connsiteX336" fmla="*/ 23813 w 1506538"/>
              <a:gd name="connsiteY336" fmla="*/ 265113 h 1087438"/>
              <a:gd name="connsiteX337" fmla="*/ 185738 w 1506538"/>
              <a:gd name="connsiteY337" fmla="*/ 358775 h 1087438"/>
              <a:gd name="connsiteX338" fmla="*/ 296863 w 1506538"/>
              <a:gd name="connsiteY338" fmla="*/ 295275 h 1087438"/>
              <a:gd name="connsiteX339" fmla="*/ 454025 w 1506538"/>
              <a:gd name="connsiteY339" fmla="*/ 203200 h 1087438"/>
              <a:gd name="connsiteX340" fmla="*/ 454025 w 1506538"/>
              <a:gd name="connsiteY340" fmla="*/ 15875 h 1087438"/>
              <a:gd name="connsiteX341" fmla="*/ 455613 w 1506538"/>
              <a:gd name="connsiteY341" fmla="*/ 12700 h 1087438"/>
              <a:gd name="connsiteX342" fmla="*/ 455613 w 1506538"/>
              <a:gd name="connsiteY342" fmla="*/ 9525 h 1087438"/>
              <a:gd name="connsiteX343" fmla="*/ 457200 w 1506538"/>
              <a:gd name="connsiteY343" fmla="*/ 6350 h 1087438"/>
              <a:gd name="connsiteX344" fmla="*/ 458788 w 1506538"/>
              <a:gd name="connsiteY344" fmla="*/ 4763 h 1087438"/>
              <a:gd name="connsiteX345" fmla="*/ 461963 w 1506538"/>
              <a:gd name="connsiteY345" fmla="*/ 1588 h 1087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</a:cxnLst>
            <a:rect l="l" t="t" r="r" b="b"/>
            <a:pathLst>
              <a:path w="1506538" h="1087438">
                <a:moveTo>
                  <a:pt x="1209676" y="627063"/>
                </a:moveTo>
                <a:lnTo>
                  <a:pt x="1212851" y="628651"/>
                </a:lnTo>
                <a:lnTo>
                  <a:pt x="1217614" y="628651"/>
                </a:lnTo>
                <a:lnTo>
                  <a:pt x="1220789" y="631826"/>
                </a:lnTo>
                <a:lnTo>
                  <a:pt x="1222376" y="635001"/>
                </a:lnTo>
                <a:lnTo>
                  <a:pt x="1225551" y="638176"/>
                </a:lnTo>
                <a:lnTo>
                  <a:pt x="1225551" y="641351"/>
                </a:lnTo>
                <a:lnTo>
                  <a:pt x="1225551" y="644526"/>
                </a:lnTo>
                <a:lnTo>
                  <a:pt x="1225551" y="647701"/>
                </a:lnTo>
                <a:lnTo>
                  <a:pt x="1223964" y="650876"/>
                </a:lnTo>
                <a:lnTo>
                  <a:pt x="1222376" y="654051"/>
                </a:lnTo>
                <a:lnTo>
                  <a:pt x="1220789" y="655638"/>
                </a:lnTo>
                <a:lnTo>
                  <a:pt x="1217614" y="657226"/>
                </a:lnTo>
                <a:lnTo>
                  <a:pt x="1038226" y="760413"/>
                </a:lnTo>
                <a:lnTo>
                  <a:pt x="1035051" y="762001"/>
                </a:lnTo>
                <a:lnTo>
                  <a:pt x="1033463" y="763588"/>
                </a:lnTo>
                <a:lnTo>
                  <a:pt x="1028701" y="763588"/>
                </a:lnTo>
                <a:lnTo>
                  <a:pt x="1027113" y="762001"/>
                </a:lnTo>
                <a:lnTo>
                  <a:pt x="1022351" y="762001"/>
                </a:lnTo>
                <a:lnTo>
                  <a:pt x="1020763" y="758826"/>
                </a:lnTo>
                <a:lnTo>
                  <a:pt x="1019176" y="757238"/>
                </a:lnTo>
                <a:lnTo>
                  <a:pt x="1016001" y="754063"/>
                </a:lnTo>
                <a:lnTo>
                  <a:pt x="1014413" y="750888"/>
                </a:lnTo>
                <a:lnTo>
                  <a:pt x="1014413" y="749301"/>
                </a:lnTo>
                <a:lnTo>
                  <a:pt x="1014413" y="746126"/>
                </a:lnTo>
                <a:lnTo>
                  <a:pt x="1014413" y="741363"/>
                </a:lnTo>
                <a:lnTo>
                  <a:pt x="1014413" y="739776"/>
                </a:lnTo>
                <a:lnTo>
                  <a:pt x="1017588" y="736601"/>
                </a:lnTo>
                <a:lnTo>
                  <a:pt x="1019176" y="735013"/>
                </a:lnTo>
                <a:lnTo>
                  <a:pt x="1022351" y="731838"/>
                </a:lnTo>
                <a:lnTo>
                  <a:pt x="1200151" y="628651"/>
                </a:lnTo>
                <a:lnTo>
                  <a:pt x="1204914" y="628651"/>
                </a:lnTo>
                <a:close/>
                <a:moveTo>
                  <a:pt x="650876" y="627063"/>
                </a:moveTo>
                <a:lnTo>
                  <a:pt x="654051" y="628651"/>
                </a:lnTo>
                <a:lnTo>
                  <a:pt x="658814" y="628651"/>
                </a:lnTo>
                <a:lnTo>
                  <a:pt x="661989" y="631826"/>
                </a:lnTo>
                <a:lnTo>
                  <a:pt x="665164" y="635001"/>
                </a:lnTo>
                <a:lnTo>
                  <a:pt x="665164" y="638176"/>
                </a:lnTo>
                <a:lnTo>
                  <a:pt x="666751" y="641351"/>
                </a:lnTo>
                <a:lnTo>
                  <a:pt x="666751" y="644526"/>
                </a:lnTo>
                <a:lnTo>
                  <a:pt x="665164" y="647701"/>
                </a:lnTo>
                <a:lnTo>
                  <a:pt x="665164" y="650876"/>
                </a:lnTo>
                <a:lnTo>
                  <a:pt x="663576" y="654051"/>
                </a:lnTo>
                <a:lnTo>
                  <a:pt x="660401" y="655638"/>
                </a:lnTo>
                <a:lnTo>
                  <a:pt x="658814" y="657226"/>
                </a:lnTo>
                <a:lnTo>
                  <a:pt x="479426" y="760413"/>
                </a:lnTo>
                <a:lnTo>
                  <a:pt x="477838" y="762001"/>
                </a:lnTo>
                <a:lnTo>
                  <a:pt x="474663" y="763588"/>
                </a:lnTo>
                <a:lnTo>
                  <a:pt x="471488" y="763588"/>
                </a:lnTo>
                <a:lnTo>
                  <a:pt x="468313" y="762001"/>
                </a:lnTo>
                <a:lnTo>
                  <a:pt x="465138" y="762001"/>
                </a:lnTo>
                <a:lnTo>
                  <a:pt x="461963" y="758826"/>
                </a:lnTo>
                <a:lnTo>
                  <a:pt x="460376" y="757238"/>
                </a:lnTo>
                <a:lnTo>
                  <a:pt x="457201" y="754063"/>
                </a:lnTo>
                <a:lnTo>
                  <a:pt x="457201" y="750888"/>
                </a:lnTo>
                <a:lnTo>
                  <a:pt x="455613" y="749301"/>
                </a:lnTo>
                <a:lnTo>
                  <a:pt x="455613" y="746126"/>
                </a:lnTo>
                <a:lnTo>
                  <a:pt x="455613" y="741363"/>
                </a:lnTo>
                <a:lnTo>
                  <a:pt x="457201" y="739776"/>
                </a:lnTo>
                <a:lnTo>
                  <a:pt x="458788" y="736601"/>
                </a:lnTo>
                <a:lnTo>
                  <a:pt x="461963" y="735013"/>
                </a:lnTo>
                <a:lnTo>
                  <a:pt x="463551" y="731838"/>
                </a:lnTo>
                <a:lnTo>
                  <a:pt x="642939" y="628651"/>
                </a:lnTo>
                <a:lnTo>
                  <a:pt x="646114" y="628651"/>
                </a:lnTo>
                <a:close/>
                <a:moveTo>
                  <a:pt x="254000" y="423863"/>
                </a:moveTo>
                <a:lnTo>
                  <a:pt x="257176" y="423863"/>
                </a:lnTo>
                <a:lnTo>
                  <a:pt x="260351" y="423863"/>
                </a:lnTo>
                <a:lnTo>
                  <a:pt x="263526" y="425451"/>
                </a:lnTo>
                <a:lnTo>
                  <a:pt x="266701" y="427038"/>
                </a:lnTo>
                <a:lnTo>
                  <a:pt x="268288" y="428626"/>
                </a:lnTo>
                <a:lnTo>
                  <a:pt x="271463" y="431801"/>
                </a:lnTo>
                <a:lnTo>
                  <a:pt x="271463" y="434976"/>
                </a:lnTo>
                <a:lnTo>
                  <a:pt x="273051" y="436563"/>
                </a:lnTo>
                <a:lnTo>
                  <a:pt x="273051" y="441326"/>
                </a:lnTo>
                <a:lnTo>
                  <a:pt x="273051" y="646114"/>
                </a:lnTo>
                <a:lnTo>
                  <a:pt x="273051" y="650876"/>
                </a:lnTo>
                <a:lnTo>
                  <a:pt x="271463" y="652464"/>
                </a:lnTo>
                <a:lnTo>
                  <a:pt x="269876" y="655639"/>
                </a:lnTo>
                <a:lnTo>
                  <a:pt x="268288" y="658814"/>
                </a:lnTo>
                <a:lnTo>
                  <a:pt x="265113" y="660401"/>
                </a:lnTo>
                <a:lnTo>
                  <a:pt x="263526" y="661989"/>
                </a:lnTo>
                <a:lnTo>
                  <a:pt x="260351" y="663576"/>
                </a:lnTo>
                <a:lnTo>
                  <a:pt x="257176" y="663576"/>
                </a:lnTo>
                <a:lnTo>
                  <a:pt x="252413" y="663576"/>
                </a:lnTo>
                <a:lnTo>
                  <a:pt x="249238" y="661989"/>
                </a:lnTo>
                <a:lnTo>
                  <a:pt x="244475" y="658814"/>
                </a:lnTo>
                <a:lnTo>
                  <a:pt x="242888" y="655639"/>
                </a:lnTo>
                <a:lnTo>
                  <a:pt x="241300" y="650876"/>
                </a:lnTo>
                <a:lnTo>
                  <a:pt x="239713" y="646114"/>
                </a:lnTo>
                <a:lnTo>
                  <a:pt x="241300" y="441326"/>
                </a:lnTo>
                <a:lnTo>
                  <a:pt x="241300" y="436563"/>
                </a:lnTo>
                <a:lnTo>
                  <a:pt x="242888" y="434976"/>
                </a:lnTo>
                <a:lnTo>
                  <a:pt x="242888" y="431801"/>
                </a:lnTo>
                <a:lnTo>
                  <a:pt x="246063" y="428626"/>
                </a:lnTo>
                <a:lnTo>
                  <a:pt x="247650" y="427038"/>
                </a:lnTo>
                <a:lnTo>
                  <a:pt x="250825" y="425451"/>
                </a:lnTo>
                <a:close/>
                <a:moveTo>
                  <a:pt x="1027113" y="323850"/>
                </a:moveTo>
                <a:lnTo>
                  <a:pt x="1028701" y="323850"/>
                </a:lnTo>
                <a:lnTo>
                  <a:pt x="1033463" y="323850"/>
                </a:lnTo>
                <a:lnTo>
                  <a:pt x="1035051" y="323850"/>
                </a:lnTo>
                <a:lnTo>
                  <a:pt x="1038226" y="325438"/>
                </a:lnTo>
                <a:lnTo>
                  <a:pt x="1217614" y="427038"/>
                </a:lnTo>
                <a:lnTo>
                  <a:pt x="1220789" y="428625"/>
                </a:lnTo>
                <a:lnTo>
                  <a:pt x="1222376" y="431800"/>
                </a:lnTo>
                <a:lnTo>
                  <a:pt x="1223964" y="434975"/>
                </a:lnTo>
                <a:lnTo>
                  <a:pt x="1225551" y="436563"/>
                </a:lnTo>
                <a:lnTo>
                  <a:pt x="1225551" y="441325"/>
                </a:lnTo>
                <a:lnTo>
                  <a:pt x="1225551" y="442913"/>
                </a:lnTo>
                <a:lnTo>
                  <a:pt x="1225551" y="446088"/>
                </a:lnTo>
                <a:lnTo>
                  <a:pt x="1222376" y="450850"/>
                </a:lnTo>
                <a:lnTo>
                  <a:pt x="1220789" y="452438"/>
                </a:lnTo>
                <a:lnTo>
                  <a:pt x="1217614" y="455613"/>
                </a:lnTo>
                <a:lnTo>
                  <a:pt x="1212851" y="457200"/>
                </a:lnTo>
                <a:lnTo>
                  <a:pt x="1209676" y="457200"/>
                </a:lnTo>
                <a:lnTo>
                  <a:pt x="1204914" y="457200"/>
                </a:lnTo>
                <a:lnTo>
                  <a:pt x="1200151" y="455613"/>
                </a:lnTo>
                <a:lnTo>
                  <a:pt x="1022351" y="352425"/>
                </a:lnTo>
                <a:lnTo>
                  <a:pt x="1019176" y="350838"/>
                </a:lnTo>
                <a:lnTo>
                  <a:pt x="1017588" y="349250"/>
                </a:lnTo>
                <a:lnTo>
                  <a:pt x="1014413" y="346075"/>
                </a:lnTo>
                <a:lnTo>
                  <a:pt x="1014413" y="342900"/>
                </a:lnTo>
                <a:lnTo>
                  <a:pt x="1014413" y="341313"/>
                </a:lnTo>
                <a:lnTo>
                  <a:pt x="1014413" y="338138"/>
                </a:lnTo>
                <a:lnTo>
                  <a:pt x="1014413" y="334963"/>
                </a:lnTo>
                <a:lnTo>
                  <a:pt x="1016001" y="330200"/>
                </a:lnTo>
                <a:lnTo>
                  <a:pt x="1019176" y="328613"/>
                </a:lnTo>
                <a:lnTo>
                  <a:pt x="1020763" y="327025"/>
                </a:lnTo>
                <a:lnTo>
                  <a:pt x="1022351" y="325438"/>
                </a:lnTo>
                <a:close/>
                <a:moveTo>
                  <a:pt x="468313" y="323850"/>
                </a:moveTo>
                <a:lnTo>
                  <a:pt x="471488" y="323850"/>
                </a:lnTo>
                <a:lnTo>
                  <a:pt x="474663" y="323850"/>
                </a:lnTo>
                <a:lnTo>
                  <a:pt x="477838" y="323850"/>
                </a:lnTo>
                <a:lnTo>
                  <a:pt x="479426" y="325438"/>
                </a:lnTo>
                <a:lnTo>
                  <a:pt x="658814" y="427038"/>
                </a:lnTo>
                <a:lnTo>
                  <a:pt x="660401" y="428625"/>
                </a:lnTo>
                <a:lnTo>
                  <a:pt x="663576" y="431800"/>
                </a:lnTo>
                <a:lnTo>
                  <a:pt x="665164" y="434975"/>
                </a:lnTo>
                <a:lnTo>
                  <a:pt x="665164" y="436563"/>
                </a:lnTo>
                <a:lnTo>
                  <a:pt x="666751" y="441325"/>
                </a:lnTo>
                <a:lnTo>
                  <a:pt x="666751" y="442913"/>
                </a:lnTo>
                <a:lnTo>
                  <a:pt x="665164" y="446088"/>
                </a:lnTo>
                <a:lnTo>
                  <a:pt x="665164" y="450850"/>
                </a:lnTo>
                <a:lnTo>
                  <a:pt x="661989" y="452438"/>
                </a:lnTo>
                <a:lnTo>
                  <a:pt x="658814" y="455613"/>
                </a:lnTo>
                <a:lnTo>
                  <a:pt x="654051" y="457200"/>
                </a:lnTo>
                <a:lnTo>
                  <a:pt x="650876" y="457200"/>
                </a:lnTo>
                <a:lnTo>
                  <a:pt x="646114" y="457200"/>
                </a:lnTo>
                <a:lnTo>
                  <a:pt x="642939" y="455613"/>
                </a:lnTo>
                <a:lnTo>
                  <a:pt x="463551" y="352425"/>
                </a:lnTo>
                <a:lnTo>
                  <a:pt x="461963" y="350838"/>
                </a:lnTo>
                <a:lnTo>
                  <a:pt x="458788" y="349250"/>
                </a:lnTo>
                <a:lnTo>
                  <a:pt x="457201" y="346075"/>
                </a:lnTo>
                <a:lnTo>
                  <a:pt x="455613" y="342900"/>
                </a:lnTo>
                <a:lnTo>
                  <a:pt x="455613" y="341313"/>
                </a:lnTo>
                <a:lnTo>
                  <a:pt x="455613" y="338138"/>
                </a:lnTo>
                <a:lnTo>
                  <a:pt x="457201" y="334963"/>
                </a:lnTo>
                <a:lnTo>
                  <a:pt x="457201" y="330200"/>
                </a:lnTo>
                <a:lnTo>
                  <a:pt x="460376" y="328613"/>
                </a:lnTo>
                <a:lnTo>
                  <a:pt x="461963" y="327025"/>
                </a:lnTo>
                <a:lnTo>
                  <a:pt x="465138" y="325438"/>
                </a:lnTo>
                <a:close/>
                <a:moveTo>
                  <a:pt x="1036638" y="231775"/>
                </a:moveTo>
                <a:lnTo>
                  <a:pt x="904876" y="307975"/>
                </a:lnTo>
                <a:lnTo>
                  <a:pt x="850901" y="341313"/>
                </a:lnTo>
                <a:lnTo>
                  <a:pt x="769938" y="387350"/>
                </a:lnTo>
                <a:lnTo>
                  <a:pt x="769938" y="473075"/>
                </a:lnTo>
                <a:lnTo>
                  <a:pt x="769938" y="614363"/>
                </a:lnTo>
                <a:lnTo>
                  <a:pt x="769938" y="700088"/>
                </a:lnTo>
                <a:lnTo>
                  <a:pt x="814388" y="725488"/>
                </a:lnTo>
                <a:lnTo>
                  <a:pt x="850901" y="747713"/>
                </a:lnTo>
                <a:lnTo>
                  <a:pt x="1036638" y="855663"/>
                </a:lnTo>
                <a:lnTo>
                  <a:pt x="1109663" y="812801"/>
                </a:lnTo>
                <a:lnTo>
                  <a:pt x="1303338" y="700088"/>
                </a:lnTo>
                <a:lnTo>
                  <a:pt x="1303338" y="614363"/>
                </a:lnTo>
                <a:lnTo>
                  <a:pt x="1303338" y="473075"/>
                </a:lnTo>
                <a:lnTo>
                  <a:pt x="1303338" y="387350"/>
                </a:lnTo>
                <a:lnTo>
                  <a:pt x="1109663" y="274638"/>
                </a:lnTo>
                <a:close/>
                <a:moveTo>
                  <a:pt x="469900" y="231775"/>
                </a:moveTo>
                <a:lnTo>
                  <a:pt x="396875" y="274638"/>
                </a:lnTo>
                <a:lnTo>
                  <a:pt x="203200" y="387350"/>
                </a:lnTo>
                <a:lnTo>
                  <a:pt x="203200" y="473075"/>
                </a:lnTo>
                <a:lnTo>
                  <a:pt x="203200" y="614363"/>
                </a:lnTo>
                <a:lnTo>
                  <a:pt x="203200" y="700088"/>
                </a:lnTo>
                <a:lnTo>
                  <a:pt x="396875" y="812801"/>
                </a:lnTo>
                <a:lnTo>
                  <a:pt x="469900" y="855663"/>
                </a:lnTo>
                <a:lnTo>
                  <a:pt x="601663" y="779463"/>
                </a:lnTo>
                <a:lnTo>
                  <a:pt x="655638" y="746126"/>
                </a:lnTo>
                <a:lnTo>
                  <a:pt x="736600" y="700088"/>
                </a:lnTo>
                <a:lnTo>
                  <a:pt x="736600" y="614363"/>
                </a:lnTo>
                <a:lnTo>
                  <a:pt x="736600" y="473075"/>
                </a:lnTo>
                <a:lnTo>
                  <a:pt x="736600" y="387350"/>
                </a:lnTo>
                <a:lnTo>
                  <a:pt x="655638" y="341313"/>
                </a:lnTo>
                <a:lnTo>
                  <a:pt x="601663" y="307975"/>
                </a:lnTo>
                <a:close/>
                <a:moveTo>
                  <a:pt x="465138" y="0"/>
                </a:moveTo>
                <a:lnTo>
                  <a:pt x="469900" y="0"/>
                </a:lnTo>
                <a:lnTo>
                  <a:pt x="473075" y="0"/>
                </a:lnTo>
                <a:lnTo>
                  <a:pt x="476250" y="0"/>
                </a:lnTo>
                <a:lnTo>
                  <a:pt x="477838" y="1588"/>
                </a:lnTo>
                <a:lnTo>
                  <a:pt x="479425" y="4763"/>
                </a:lnTo>
                <a:lnTo>
                  <a:pt x="481013" y="6350"/>
                </a:lnTo>
                <a:lnTo>
                  <a:pt x="484188" y="7938"/>
                </a:lnTo>
                <a:lnTo>
                  <a:pt x="484188" y="9525"/>
                </a:lnTo>
                <a:lnTo>
                  <a:pt x="485775" y="12700"/>
                </a:lnTo>
                <a:lnTo>
                  <a:pt x="485775" y="15875"/>
                </a:lnTo>
                <a:lnTo>
                  <a:pt x="485775" y="203200"/>
                </a:lnTo>
                <a:lnTo>
                  <a:pt x="752475" y="358775"/>
                </a:lnTo>
                <a:lnTo>
                  <a:pt x="1020763" y="203200"/>
                </a:lnTo>
                <a:lnTo>
                  <a:pt x="1020763" y="15875"/>
                </a:lnTo>
                <a:lnTo>
                  <a:pt x="1020763" y="12700"/>
                </a:lnTo>
                <a:lnTo>
                  <a:pt x="1022351" y="9525"/>
                </a:lnTo>
                <a:lnTo>
                  <a:pt x="1022351" y="7938"/>
                </a:lnTo>
                <a:lnTo>
                  <a:pt x="1025526" y="6350"/>
                </a:lnTo>
                <a:lnTo>
                  <a:pt x="1027113" y="4763"/>
                </a:lnTo>
                <a:lnTo>
                  <a:pt x="1028701" y="1588"/>
                </a:lnTo>
                <a:lnTo>
                  <a:pt x="1030288" y="0"/>
                </a:lnTo>
                <a:lnTo>
                  <a:pt x="1033463" y="0"/>
                </a:lnTo>
                <a:lnTo>
                  <a:pt x="1036638" y="0"/>
                </a:lnTo>
                <a:lnTo>
                  <a:pt x="1041401" y="0"/>
                </a:lnTo>
                <a:lnTo>
                  <a:pt x="1042988" y="1588"/>
                </a:lnTo>
                <a:lnTo>
                  <a:pt x="1047751" y="4763"/>
                </a:lnTo>
                <a:lnTo>
                  <a:pt x="1049338" y="6350"/>
                </a:lnTo>
                <a:lnTo>
                  <a:pt x="1050926" y="9525"/>
                </a:lnTo>
                <a:lnTo>
                  <a:pt x="1050926" y="12700"/>
                </a:lnTo>
                <a:lnTo>
                  <a:pt x="1052513" y="15875"/>
                </a:lnTo>
                <a:lnTo>
                  <a:pt x="1052513" y="203200"/>
                </a:lnTo>
                <a:lnTo>
                  <a:pt x="1209676" y="295275"/>
                </a:lnTo>
                <a:lnTo>
                  <a:pt x="1320801" y="358775"/>
                </a:lnTo>
                <a:lnTo>
                  <a:pt x="1482726" y="265113"/>
                </a:lnTo>
                <a:lnTo>
                  <a:pt x="1485901" y="263525"/>
                </a:lnTo>
                <a:lnTo>
                  <a:pt x="1490663" y="263525"/>
                </a:lnTo>
                <a:lnTo>
                  <a:pt x="1495426" y="263525"/>
                </a:lnTo>
                <a:lnTo>
                  <a:pt x="1498601" y="265113"/>
                </a:lnTo>
                <a:lnTo>
                  <a:pt x="1501776" y="266700"/>
                </a:lnTo>
                <a:lnTo>
                  <a:pt x="1504951" y="271463"/>
                </a:lnTo>
                <a:lnTo>
                  <a:pt x="1506538" y="274638"/>
                </a:lnTo>
                <a:lnTo>
                  <a:pt x="1506538" y="277813"/>
                </a:lnTo>
                <a:lnTo>
                  <a:pt x="1506538" y="280988"/>
                </a:lnTo>
                <a:lnTo>
                  <a:pt x="1506538" y="284163"/>
                </a:lnTo>
                <a:lnTo>
                  <a:pt x="1504951" y="285750"/>
                </a:lnTo>
                <a:lnTo>
                  <a:pt x="1504951" y="288925"/>
                </a:lnTo>
                <a:lnTo>
                  <a:pt x="1501776" y="292100"/>
                </a:lnTo>
                <a:lnTo>
                  <a:pt x="1498601" y="293688"/>
                </a:lnTo>
                <a:lnTo>
                  <a:pt x="1338263" y="387350"/>
                </a:lnTo>
                <a:lnTo>
                  <a:pt x="1338263" y="471488"/>
                </a:lnTo>
                <a:lnTo>
                  <a:pt x="1338263" y="615950"/>
                </a:lnTo>
                <a:lnTo>
                  <a:pt x="1338263" y="700088"/>
                </a:lnTo>
                <a:lnTo>
                  <a:pt x="1498601" y="793751"/>
                </a:lnTo>
                <a:lnTo>
                  <a:pt x="1501776" y="795338"/>
                </a:lnTo>
                <a:lnTo>
                  <a:pt x="1504951" y="798513"/>
                </a:lnTo>
                <a:lnTo>
                  <a:pt x="1504951" y="801688"/>
                </a:lnTo>
                <a:lnTo>
                  <a:pt x="1506538" y="803276"/>
                </a:lnTo>
                <a:lnTo>
                  <a:pt x="1506538" y="806451"/>
                </a:lnTo>
                <a:lnTo>
                  <a:pt x="1506538" y="809626"/>
                </a:lnTo>
                <a:lnTo>
                  <a:pt x="1506538" y="812801"/>
                </a:lnTo>
                <a:lnTo>
                  <a:pt x="1504951" y="815976"/>
                </a:lnTo>
                <a:lnTo>
                  <a:pt x="1501776" y="819151"/>
                </a:lnTo>
                <a:lnTo>
                  <a:pt x="1498601" y="822326"/>
                </a:lnTo>
                <a:lnTo>
                  <a:pt x="1495426" y="823913"/>
                </a:lnTo>
                <a:lnTo>
                  <a:pt x="1490663" y="823913"/>
                </a:lnTo>
                <a:lnTo>
                  <a:pt x="1485901" y="823913"/>
                </a:lnTo>
                <a:lnTo>
                  <a:pt x="1482726" y="822326"/>
                </a:lnTo>
                <a:lnTo>
                  <a:pt x="1320801" y="728663"/>
                </a:lnTo>
                <a:lnTo>
                  <a:pt x="1209676" y="792163"/>
                </a:lnTo>
                <a:lnTo>
                  <a:pt x="1052513" y="884238"/>
                </a:lnTo>
                <a:lnTo>
                  <a:pt x="1052513" y="1071563"/>
                </a:lnTo>
                <a:lnTo>
                  <a:pt x="1050926" y="1074738"/>
                </a:lnTo>
                <a:lnTo>
                  <a:pt x="1050926" y="1077913"/>
                </a:lnTo>
                <a:lnTo>
                  <a:pt x="1049338" y="1081088"/>
                </a:lnTo>
                <a:lnTo>
                  <a:pt x="1047751" y="1082676"/>
                </a:lnTo>
                <a:lnTo>
                  <a:pt x="1042988" y="1085851"/>
                </a:lnTo>
                <a:lnTo>
                  <a:pt x="1041401" y="1087438"/>
                </a:lnTo>
                <a:lnTo>
                  <a:pt x="1036638" y="1087438"/>
                </a:lnTo>
                <a:lnTo>
                  <a:pt x="1033463" y="1087438"/>
                </a:lnTo>
                <a:lnTo>
                  <a:pt x="1030288" y="1087438"/>
                </a:lnTo>
                <a:lnTo>
                  <a:pt x="1028701" y="1085851"/>
                </a:lnTo>
                <a:lnTo>
                  <a:pt x="1027113" y="1082676"/>
                </a:lnTo>
                <a:lnTo>
                  <a:pt x="1025526" y="1081088"/>
                </a:lnTo>
                <a:lnTo>
                  <a:pt x="1022351" y="1079501"/>
                </a:lnTo>
                <a:lnTo>
                  <a:pt x="1022351" y="1077913"/>
                </a:lnTo>
                <a:lnTo>
                  <a:pt x="1020763" y="1074738"/>
                </a:lnTo>
                <a:lnTo>
                  <a:pt x="1020763" y="1071563"/>
                </a:lnTo>
                <a:lnTo>
                  <a:pt x="1020763" y="884238"/>
                </a:lnTo>
                <a:lnTo>
                  <a:pt x="752475" y="727075"/>
                </a:lnTo>
                <a:lnTo>
                  <a:pt x="485775" y="884238"/>
                </a:lnTo>
                <a:lnTo>
                  <a:pt x="485775" y="1071563"/>
                </a:lnTo>
                <a:lnTo>
                  <a:pt x="485775" y="1074738"/>
                </a:lnTo>
                <a:lnTo>
                  <a:pt x="484188" y="1077913"/>
                </a:lnTo>
                <a:lnTo>
                  <a:pt x="484188" y="1079501"/>
                </a:lnTo>
                <a:lnTo>
                  <a:pt x="481013" y="1081088"/>
                </a:lnTo>
                <a:lnTo>
                  <a:pt x="479425" y="1082676"/>
                </a:lnTo>
                <a:lnTo>
                  <a:pt x="477838" y="1085851"/>
                </a:lnTo>
                <a:lnTo>
                  <a:pt x="476250" y="1087438"/>
                </a:lnTo>
                <a:lnTo>
                  <a:pt x="473075" y="1087438"/>
                </a:lnTo>
                <a:lnTo>
                  <a:pt x="469900" y="1087438"/>
                </a:lnTo>
                <a:lnTo>
                  <a:pt x="465138" y="1087438"/>
                </a:lnTo>
                <a:lnTo>
                  <a:pt x="461963" y="1085851"/>
                </a:lnTo>
                <a:lnTo>
                  <a:pt x="458788" y="1082676"/>
                </a:lnTo>
                <a:lnTo>
                  <a:pt x="457200" y="1081088"/>
                </a:lnTo>
                <a:lnTo>
                  <a:pt x="455613" y="1077913"/>
                </a:lnTo>
                <a:lnTo>
                  <a:pt x="455613" y="1074738"/>
                </a:lnTo>
                <a:lnTo>
                  <a:pt x="454025" y="1071563"/>
                </a:lnTo>
                <a:lnTo>
                  <a:pt x="454025" y="884238"/>
                </a:lnTo>
                <a:lnTo>
                  <a:pt x="296863" y="792163"/>
                </a:lnTo>
                <a:lnTo>
                  <a:pt x="185738" y="728663"/>
                </a:lnTo>
                <a:lnTo>
                  <a:pt x="23813" y="822326"/>
                </a:lnTo>
                <a:lnTo>
                  <a:pt x="20638" y="823913"/>
                </a:lnTo>
                <a:lnTo>
                  <a:pt x="15875" y="823913"/>
                </a:lnTo>
                <a:lnTo>
                  <a:pt x="11113" y="823913"/>
                </a:lnTo>
                <a:lnTo>
                  <a:pt x="7938" y="822326"/>
                </a:lnTo>
                <a:lnTo>
                  <a:pt x="4763" y="819151"/>
                </a:lnTo>
                <a:lnTo>
                  <a:pt x="1588" y="815976"/>
                </a:lnTo>
                <a:lnTo>
                  <a:pt x="0" y="812801"/>
                </a:lnTo>
                <a:lnTo>
                  <a:pt x="0" y="809626"/>
                </a:lnTo>
                <a:lnTo>
                  <a:pt x="0" y="806451"/>
                </a:lnTo>
                <a:lnTo>
                  <a:pt x="0" y="803276"/>
                </a:lnTo>
                <a:lnTo>
                  <a:pt x="1588" y="801688"/>
                </a:lnTo>
                <a:lnTo>
                  <a:pt x="1588" y="798513"/>
                </a:lnTo>
                <a:lnTo>
                  <a:pt x="4763" y="795338"/>
                </a:lnTo>
                <a:lnTo>
                  <a:pt x="7938" y="793751"/>
                </a:lnTo>
                <a:lnTo>
                  <a:pt x="168275" y="700088"/>
                </a:lnTo>
                <a:lnTo>
                  <a:pt x="168275" y="615950"/>
                </a:lnTo>
                <a:lnTo>
                  <a:pt x="168275" y="471488"/>
                </a:lnTo>
                <a:lnTo>
                  <a:pt x="168275" y="387350"/>
                </a:lnTo>
                <a:lnTo>
                  <a:pt x="7938" y="293688"/>
                </a:lnTo>
                <a:lnTo>
                  <a:pt x="4763" y="292100"/>
                </a:lnTo>
                <a:lnTo>
                  <a:pt x="1588" y="288925"/>
                </a:lnTo>
                <a:lnTo>
                  <a:pt x="1588" y="285750"/>
                </a:lnTo>
                <a:lnTo>
                  <a:pt x="0" y="284163"/>
                </a:lnTo>
                <a:lnTo>
                  <a:pt x="0" y="280988"/>
                </a:lnTo>
                <a:lnTo>
                  <a:pt x="0" y="277813"/>
                </a:lnTo>
                <a:lnTo>
                  <a:pt x="0" y="274638"/>
                </a:lnTo>
                <a:lnTo>
                  <a:pt x="1588" y="271463"/>
                </a:lnTo>
                <a:lnTo>
                  <a:pt x="4763" y="266700"/>
                </a:lnTo>
                <a:lnTo>
                  <a:pt x="7938" y="265113"/>
                </a:lnTo>
                <a:lnTo>
                  <a:pt x="11113" y="263525"/>
                </a:lnTo>
                <a:lnTo>
                  <a:pt x="15875" y="263525"/>
                </a:lnTo>
                <a:lnTo>
                  <a:pt x="20638" y="263525"/>
                </a:lnTo>
                <a:lnTo>
                  <a:pt x="23813" y="265113"/>
                </a:lnTo>
                <a:lnTo>
                  <a:pt x="185738" y="358775"/>
                </a:lnTo>
                <a:lnTo>
                  <a:pt x="296863" y="295275"/>
                </a:lnTo>
                <a:lnTo>
                  <a:pt x="454025" y="203200"/>
                </a:lnTo>
                <a:lnTo>
                  <a:pt x="454025" y="15875"/>
                </a:lnTo>
                <a:lnTo>
                  <a:pt x="455613" y="12700"/>
                </a:lnTo>
                <a:lnTo>
                  <a:pt x="455613" y="9525"/>
                </a:lnTo>
                <a:lnTo>
                  <a:pt x="457200" y="6350"/>
                </a:lnTo>
                <a:lnTo>
                  <a:pt x="458788" y="4763"/>
                </a:lnTo>
                <a:lnTo>
                  <a:pt x="461963" y="1588"/>
                </a:ln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600">
              <a:solidFill>
                <a:schemeClr val="tx2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7034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28405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809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 smtClean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>
                <a:solidFill>
                  <a:srgbClr val="1F4174"/>
                </a:solidFill>
              </a:rPr>
              <a:t>…and CHICAGO HAS strong assets to compete</a:t>
            </a:r>
            <a:endParaRPr lang="en-US" sz="2800" dirty="0">
              <a:solidFill>
                <a:srgbClr val="1F4174"/>
              </a:solidFill>
            </a:endParaRPr>
          </a:p>
        </p:txBody>
      </p:sp>
      <p:sp>
        <p:nvSpPr>
          <p:cNvPr id="57" name="Rectangle 56" hidden="1"/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 smtClean="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6" name="ee4pFootnotes"/>
          <p:cNvSpPr>
            <a:spLocks noChangeArrowheads="1"/>
          </p:cNvSpPr>
          <p:nvPr/>
        </p:nvSpPr>
        <p:spPr bwMode="auto">
          <a:xfrm>
            <a:off x="630000" y="6144442"/>
            <a:ext cx="10368200" cy="41549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 smtClean="0">
                <a:solidFill>
                  <a:srgbClr val="000000"/>
                </a:solidFill>
                <a:sym typeface="+mn-lt"/>
              </a:rPr>
              <a:t>1. Includes Fermi National Accelerator Laboratory (</a:t>
            </a:r>
            <a:r>
              <a:rPr lang="en-US" sz="1000" dirty="0" err="1" smtClean="0">
                <a:solidFill>
                  <a:srgbClr val="000000"/>
                </a:solidFill>
                <a:sym typeface="+mn-lt"/>
              </a:rPr>
              <a:t>FermiLab</a:t>
            </a:r>
            <a:r>
              <a:rPr lang="en-US" sz="1000" dirty="0" smtClean="0">
                <a:solidFill>
                  <a:srgbClr val="000000"/>
                </a:solidFill>
                <a:sym typeface="+mn-lt"/>
              </a:rPr>
              <a:t>) in Batavia, IL and Argonne National Laboratory in Argonne, IL.  2. For example, </a:t>
            </a:r>
            <a:r>
              <a:rPr lang="en-US" sz="1000" dirty="0" err="1" smtClean="0">
                <a:solidFill>
                  <a:srgbClr val="000000"/>
                </a:solidFill>
                <a:sym typeface="+mn-lt"/>
              </a:rPr>
              <a:t>UIUC</a:t>
            </a:r>
            <a:r>
              <a:rPr lang="en-US" sz="1000" dirty="0" smtClean="0">
                <a:solidFill>
                  <a:srgbClr val="000000"/>
                </a:solidFill>
                <a:sym typeface="+mn-lt"/>
              </a:rPr>
              <a:t> consistently ranks in the top 5 of Computer Science and Engineering schools</a:t>
            </a:r>
          </a:p>
          <a:p>
            <a:pPr>
              <a:lnSpc>
                <a:spcPct val="90000"/>
              </a:lnSpc>
            </a:pPr>
            <a:r>
              <a:rPr lang="en-US" sz="1000" dirty="0" smtClean="0">
                <a:solidFill>
                  <a:srgbClr val="000000"/>
                </a:solidFill>
                <a:sym typeface="+mn-lt"/>
              </a:rPr>
              <a:t>Source: Expert interviews; Survey data; Matter economic development white paper</a:t>
            </a:r>
            <a:endParaRPr lang="en-US" sz="10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41" name="Oval 40"/>
          <p:cNvSpPr/>
          <p:nvPr/>
        </p:nvSpPr>
        <p:spPr>
          <a:xfrm>
            <a:off x="655399" y="1839051"/>
            <a:ext cx="1237728" cy="1237728"/>
          </a:xfrm>
          <a:prstGeom prst="ellipse">
            <a:avLst/>
          </a:prstGeom>
          <a:solidFill>
            <a:srgbClr val="FFFFFF"/>
          </a:solidFill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2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655399" y="3452555"/>
            <a:ext cx="1843891" cy="43088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b="1" dirty="0" smtClean="0">
                <a:solidFill>
                  <a:srgbClr val="1F4174"/>
                </a:solidFill>
                <a:latin typeface="+mj-lt"/>
                <a:cs typeface="Arial" panose="020B0604020202020204" pitchFamily="34" charset="0"/>
              </a:rPr>
              <a:t>Strong R&amp;D </a:t>
            </a:r>
            <a:br>
              <a:rPr lang="en-US" sz="1400" b="1" dirty="0" smtClean="0">
                <a:solidFill>
                  <a:srgbClr val="1F4174"/>
                </a:solidFill>
                <a:latin typeface="+mj-lt"/>
                <a:cs typeface="Arial" panose="020B0604020202020204" pitchFamily="34" charset="0"/>
              </a:rPr>
            </a:br>
            <a:r>
              <a:rPr lang="en-US" sz="1400" b="1" dirty="0" smtClean="0">
                <a:solidFill>
                  <a:srgbClr val="1F4174"/>
                </a:solidFill>
                <a:latin typeface="+mj-lt"/>
                <a:cs typeface="Arial" panose="020B0604020202020204" pitchFamily="34" charset="0"/>
              </a:rPr>
              <a:t>assets</a:t>
            </a:r>
            <a:endParaRPr lang="en-US" sz="1400" b="1" dirty="0">
              <a:solidFill>
                <a:srgbClr val="1F4174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="" xmlns:a16="http://schemas.microsoft.com/office/drawing/2014/main" id="{B9D67C3A-0B21-4FDD-9A0A-7DDBC12A9373}"/>
              </a:ext>
            </a:extLst>
          </p:cNvPr>
          <p:cNvSpPr/>
          <p:nvPr/>
        </p:nvSpPr>
        <p:spPr>
          <a:xfrm>
            <a:off x="655399" y="4024229"/>
            <a:ext cx="1843891" cy="1508105"/>
          </a:xfrm>
          <a:prstGeom prst="rect">
            <a:avLst/>
          </a:prstGeom>
          <a:noFill/>
          <a:ln w="19050" cap="flat" cmpd="sng" algn="ctr">
            <a:noFill/>
            <a:prstDash val="sysDot"/>
            <a:headEnd type="none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BBEE"/>
                </a:solidFill>
              </a14:hiddenFill>
            </a:ext>
          </a:extLst>
        </p:spPr>
        <p:txBody>
          <a:bodyPr wrap="square" lIns="0" tIns="0" rIns="0" bIns="0" rtlCol="0" anchor="t" anchorCtr="0">
            <a:spAutoFit/>
          </a:bodyPr>
          <a:lstStyle/>
          <a:p>
            <a:pPr defTabSz="914466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sz="1400" dirty="0" smtClean="0">
                <a:solidFill>
                  <a:srgbClr val="000000">
                    <a:lumMod val="100000"/>
                  </a:srgbClr>
                </a:solidFill>
                <a:cs typeface="Arial" panose="020B0604020202020204" pitchFamily="34" charset="0"/>
              </a:rPr>
              <a:t>Two national labs</a:t>
            </a:r>
            <a:r>
              <a:rPr lang="en-US" sz="1400" baseline="30000" dirty="0" smtClean="0">
                <a:solidFill>
                  <a:srgbClr val="000000">
                    <a:lumMod val="100000"/>
                  </a:srgbClr>
                </a:solidFill>
                <a:cs typeface="Arial" panose="020B0604020202020204" pitchFamily="34" charset="0"/>
              </a:rPr>
              <a:t>1</a:t>
            </a:r>
            <a:r>
              <a:rPr lang="en-US" sz="1400" dirty="0" smtClean="0">
                <a:solidFill>
                  <a:srgbClr val="000000">
                    <a:lumMod val="100000"/>
                  </a:srgbClr>
                </a:solidFill>
                <a:cs typeface="Arial" panose="020B0604020202020204" pitchFamily="34" charset="0"/>
              </a:rPr>
              <a:t> and multiple Tier 1 research universities; $1B+ in federal research funding; </a:t>
            </a:r>
            <a:r>
              <a:rPr lang="en-US" sz="1400" dirty="0" smtClean="0">
                <a:solidFill>
                  <a:srgbClr val="000000"/>
                </a:solidFill>
                <a:cs typeface="Arial" panose="020B0604020202020204" pitchFamily="34" charset="0"/>
              </a:rPr>
              <a:t>strong computer science programs</a:t>
            </a:r>
            <a:r>
              <a:rPr lang="en-US" sz="1400" baseline="30000" dirty="0" smtClean="0">
                <a:solidFill>
                  <a:srgbClr val="000000"/>
                </a:solidFill>
                <a:cs typeface="Arial" panose="020B0604020202020204" pitchFamily="34" charset="0"/>
              </a:rPr>
              <a:t>2</a:t>
            </a:r>
            <a:r>
              <a:rPr lang="en-US" sz="1400" dirty="0" smtClean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endParaRPr lang="en-US" sz="14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51" name="Oval 50"/>
          <p:cNvSpPr/>
          <p:nvPr/>
        </p:nvSpPr>
        <p:spPr>
          <a:xfrm>
            <a:off x="5205421" y="1839051"/>
            <a:ext cx="1237728" cy="1237728"/>
          </a:xfrm>
          <a:prstGeom prst="ellipse">
            <a:avLst/>
          </a:prstGeom>
          <a:solidFill>
            <a:srgbClr val="FFFFFF"/>
          </a:solidFill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2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5205421" y="3452553"/>
            <a:ext cx="1843891" cy="43088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b="1" dirty="0" smtClean="0">
                <a:solidFill>
                  <a:srgbClr val="1F4174"/>
                </a:solidFill>
                <a:latin typeface="+mj-lt"/>
                <a:cs typeface="Arial" panose="020B0604020202020204" pitchFamily="34" charset="0"/>
              </a:rPr>
              <a:t>Presence of </a:t>
            </a:r>
            <a:br>
              <a:rPr lang="en-US" sz="1400" b="1" dirty="0" smtClean="0">
                <a:solidFill>
                  <a:srgbClr val="1F4174"/>
                </a:solidFill>
                <a:latin typeface="+mj-lt"/>
                <a:cs typeface="Arial" panose="020B0604020202020204" pitchFamily="34" charset="0"/>
              </a:rPr>
            </a:br>
            <a:r>
              <a:rPr lang="en-US" sz="1400" b="1" dirty="0" smtClean="0">
                <a:solidFill>
                  <a:srgbClr val="1F4174"/>
                </a:solidFill>
                <a:latin typeface="+mj-lt"/>
                <a:cs typeface="Arial" panose="020B0604020202020204" pitchFamily="34" charset="0"/>
              </a:rPr>
              <a:t>industry players</a:t>
            </a:r>
            <a:endParaRPr lang="en-US" sz="1400" b="1" dirty="0">
              <a:solidFill>
                <a:srgbClr val="1F4174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="" xmlns:a16="http://schemas.microsoft.com/office/drawing/2014/main" id="{A90740AF-E30B-4750-916A-E04E0A842EF1}"/>
              </a:ext>
            </a:extLst>
          </p:cNvPr>
          <p:cNvSpPr/>
          <p:nvPr/>
        </p:nvSpPr>
        <p:spPr>
          <a:xfrm>
            <a:off x="5205421" y="4024229"/>
            <a:ext cx="1843891" cy="1508105"/>
          </a:xfrm>
          <a:prstGeom prst="rect">
            <a:avLst/>
          </a:prstGeom>
          <a:noFill/>
          <a:ln w="19050" cap="flat" cmpd="sng" algn="ctr">
            <a:noFill/>
            <a:prstDash val="sysDot"/>
            <a:headEnd type="none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BBEE"/>
                </a:solidFill>
              </a14:hiddenFill>
            </a:ext>
          </a:extLst>
        </p:spPr>
        <p:txBody>
          <a:bodyPr wrap="square" lIns="0" tIns="0" rIns="0" bIns="0" rtlCol="0" anchor="t" anchorCtr="0">
            <a:spAutoFit/>
          </a:bodyPr>
          <a:lstStyle/>
          <a:p>
            <a:pPr defTabSz="914466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sz="1400" dirty="0" smtClean="0">
                <a:solidFill>
                  <a:srgbClr val="000000">
                    <a:lumMod val="100000"/>
                  </a:srgbClr>
                </a:solidFill>
                <a:cs typeface="Arial" panose="020B0604020202020204" pitchFamily="34" charset="0"/>
              </a:rPr>
              <a:t>Presence of strong </a:t>
            </a:r>
            <a:r>
              <a:rPr lang="en-US" sz="1400" dirty="0" err="1" smtClean="0">
                <a:solidFill>
                  <a:srgbClr val="000000">
                    <a:lumMod val="100000"/>
                  </a:srgbClr>
                </a:solidFill>
                <a:cs typeface="Arial" panose="020B0604020202020204" pitchFamily="34" charset="0"/>
              </a:rPr>
              <a:t>biopharmas</a:t>
            </a:r>
            <a:r>
              <a:rPr lang="en-US" sz="1400" dirty="0" smtClean="0">
                <a:solidFill>
                  <a:srgbClr val="000000">
                    <a:lumMod val="100000"/>
                  </a:srgbClr>
                </a:solidFill>
                <a:cs typeface="Arial" panose="020B0604020202020204" pitchFamily="34" charset="0"/>
              </a:rPr>
              <a:t> (Abbott, </a:t>
            </a:r>
            <a:r>
              <a:rPr lang="en-US" sz="1400" dirty="0" err="1">
                <a:solidFill>
                  <a:srgbClr val="000000">
                    <a:lumMod val="100000"/>
                  </a:srgbClr>
                </a:solidFill>
                <a:cs typeface="Arial" panose="020B0604020202020204" pitchFamily="34" charset="0"/>
              </a:rPr>
              <a:t>Abbvie</a:t>
            </a:r>
            <a:r>
              <a:rPr lang="en-US" sz="1400" dirty="0">
                <a:solidFill>
                  <a:srgbClr val="000000">
                    <a:lumMod val="100000"/>
                  </a:srgbClr>
                </a:solidFill>
                <a:cs typeface="Arial" panose="020B0604020202020204" pitchFamily="34" charset="0"/>
              </a:rPr>
              <a:t>, Baxter</a:t>
            </a:r>
            <a:r>
              <a:rPr lang="en-US" sz="1400" dirty="0" smtClean="0">
                <a:solidFill>
                  <a:srgbClr val="000000">
                    <a:lumMod val="100000"/>
                  </a:srgbClr>
                </a:solidFill>
                <a:cs typeface="Arial" panose="020B0604020202020204" pitchFamily="34" charset="0"/>
              </a:rPr>
              <a:t>) and food and ag </a:t>
            </a:r>
            <a:r>
              <a:rPr lang="en-US" sz="1400" dirty="0">
                <a:solidFill>
                  <a:srgbClr val="000000">
                    <a:lumMod val="100000"/>
                  </a:srgbClr>
                </a:solidFill>
                <a:cs typeface="Arial" panose="020B0604020202020204" pitchFamily="34" charset="0"/>
              </a:rPr>
              <a:t>businesses </a:t>
            </a:r>
            <a:r>
              <a:rPr lang="en-US" sz="1400" dirty="0" smtClean="0">
                <a:solidFill>
                  <a:srgbClr val="000000">
                    <a:lumMod val="100000"/>
                  </a:srgbClr>
                </a:solidFill>
                <a:cs typeface="Arial" panose="020B0604020202020204" pitchFamily="34" charset="0"/>
              </a:rPr>
              <a:t>(Ingredion</a:t>
            </a:r>
            <a:r>
              <a:rPr lang="en-US" sz="1400" dirty="0">
                <a:solidFill>
                  <a:srgbClr val="000000">
                    <a:lumMod val="100000"/>
                  </a:srgbClr>
                </a:solidFill>
                <a:cs typeface="Arial" panose="020B0604020202020204" pitchFamily="34" charset="0"/>
              </a:rPr>
              <a:t>, </a:t>
            </a:r>
            <a:r>
              <a:rPr lang="en-US" sz="1400" dirty="0" smtClean="0">
                <a:solidFill>
                  <a:srgbClr val="000000">
                    <a:lumMod val="100000"/>
                  </a:srgbClr>
                </a:solidFill>
                <a:cs typeface="Arial" panose="020B0604020202020204" pitchFamily="34" charset="0"/>
              </a:rPr>
              <a:t>US Foods) in Chicagoland area</a:t>
            </a:r>
            <a:endParaRPr lang="en-US" sz="1400" baseline="30000" dirty="0">
              <a:solidFill>
                <a:srgbClr val="000000">
                  <a:lumMod val="100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78" name="Oval 77"/>
          <p:cNvSpPr/>
          <p:nvPr/>
        </p:nvSpPr>
        <p:spPr>
          <a:xfrm>
            <a:off x="9755443" y="1839051"/>
            <a:ext cx="1237728" cy="1237728"/>
          </a:xfrm>
          <a:prstGeom prst="ellipse">
            <a:avLst/>
          </a:prstGeom>
          <a:solidFill>
            <a:srgbClr val="FFFFFF"/>
          </a:solidFill>
          <a:ln w="38100">
            <a:gradFill flip="none" rotWithShape="1">
              <a:gsLst>
                <a:gs pos="0">
                  <a:schemeClr val="accent2"/>
                </a:gs>
                <a:gs pos="100000">
                  <a:schemeClr val="tx2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9755443" y="3452553"/>
            <a:ext cx="1843891" cy="43088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b="1" dirty="0">
                <a:solidFill>
                  <a:srgbClr val="1F4174"/>
                </a:solidFill>
                <a:latin typeface="+mj-lt"/>
                <a:cs typeface="Arial" panose="020B0604020202020204" pitchFamily="34" charset="0"/>
              </a:rPr>
              <a:t>Focus on research commercialization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="" xmlns:a16="http://schemas.microsoft.com/office/drawing/2014/main" id="{B9D67C3A-0B21-4FDD-9A0A-7DDBC12A9373}"/>
              </a:ext>
            </a:extLst>
          </p:cNvPr>
          <p:cNvSpPr/>
          <p:nvPr/>
        </p:nvSpPr>
        <p:spPr>
          <a:xfrm>
            <a:off x="9755443" y="4024229"/>
            <a:ext cx="1843891" cy="1292662"/>
          </a:xfrm>
          <a:prstGeom prst="rect">
            <a:avLst/>
          </a:prstGeom>
          <a:noFill/>
          <a:ln w="19050" cap="flat" cmpd="sng" algn="ctr">
            <a:noFill/>
            <a:prstDash val="sysDot"/>
            <a:headEnd type="none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BBEE"/>
                </a:solidFill>
              </a14:hiddenFill>
            </a:ext>
          </a:extLst>
        </p:spPr>
        <p:txBody>
          <a:bodyPr wrap="square" lIns="0" tIns="0" rIns="0" bIns="0" rtlCol="0" anchor="t" anchorCtr="0">
            <a:spAutoFit/>
          </a:bodyPr>
          <a:lstStyle/>
          <a:p>
            <a:pPr defTabSz="914466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sz="1400" dirty="0" smtClean="0">
                <a:solidFill>
                  <a:srgbClr val="000000">
                    <a:lumMod val="100000"/>
                  </a:srgbClr>
                </a:solidFill>
                <a:cs typeface="Arial" panose="020B0604020202020204" pitchFamily="34" charset="0"/>
              </a:rPr>
              <a:t>Biomedical, biotech, and healthcare ventures are the largest percentage of Illinois university startups (27%)</a:t>
            </a:r>
            <a:endParaRPr lang="en-US" sz="1400" dirty="0">
              <a:solidFill>
                <a:srgbClr val="000000">
                  <a:lumMod val="100000"/>
                </a:srgbClr>
              </a:solidFill>
              <a:cs typeface="Arial" panose="020B0604020202020204" pitchFamily="34" charset="0"/>
            </a:endParaRPr>
          </a:p>
        </p:txBody>
      </p:sp>
      <p:grpSp>
        <p:nvGrpSpPr>
          <p:cNvPr id="71" name="Group 70"/>
          <p:cNvGrpSpPr/>
          <p:nvPr/>
        </p:nvGrpSpPr>
        <p:grpSpPr>
          <a:xfrm>
            <a:off x="2930410" y="1839051"/>
            <a:ext cx="1843891" cy="3477840"/>
            <a:chOff x="630000" y="2076118"/>
            <a:chExt cx="1843891" cy="3477840"/>
          </a:xfrm>
        </p:grpSpPr>
        <p:grpSp>
          <p:nvGrpSpPr>
            <p:cNvPr id="72" name="Group 71"/>
            <p:cNvGrpSpPr/>
            <p:nvPr/>
          </p:nvGrpSpPr>
          <p:grpSpPr>
            <a:xfrm>
              <a:off x="630000" y="2076118"/>
              <a:ext cx="1237728" cy="1237728"/>
              <a:chOff x="630000" y="2177718"/>
              <a:chExt cx="1237728" cy="1237728"/>
            </a:xfrm>
          </p:grpSpPr>
          <p:sp>
            <p:nvSpPr>
              <p:cNvPr id="75" name="Oval 74"/>
              <p:cNvSpPr/>
              <p:nvPr/>
            </p:nvSpPr>
            <p:spPr>
              <a:xfrm>
                <a:off x="630000" y="2177718"/>
                <a:ext cx="1237728" cy="1237728"/>
              </a:xfrm>
              <a:prstGeom prst="ellipse">
                <a:avLst/>
              </a:prstGeom>
              <a:solidFill>
                <a:srgbClr val="FFFFFF"/>
              </a:solidFill>
              <a:ln w="38100">
                <a:gradFill flip="none" rotWithShape="1">
                  <a:gsLst>
                    <a:gs pos="0">
                      <a:schemeClr val="accent2"/>
                    </a:gs>
                    <a:gs pos="100000">
                      <a:schemeClr val="tx2"/>
                    </a:gs>
                  </a:gsLst>
                  <a:lin ang="2700000" scaled="1"/>
                  <a:tileRect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95000"/>
                  </a:lnSpc>
                </a:pPr>
                <a:endParaRPr lang="en-US" kern="0" dirty="0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  <p:sp>
            <p:nvSpPr>
              <p:cNvPr id="79" name="AutoShape 4"/>
              <p:cNvSpPr>
                <a:spLocks noChangeAspect="1" noChangeArrowheads="1" noTextEdit="1"/>
              </p:cNvSpPr>
              <p:nvPr/>
            </p:nvSpPr>
            <p:spPr bwMode="auto">
              <a:xfrm>
                <a:off x="791664" y="2339382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 dirty="0">
                  <a:solidFill>
                    <a:srgbClr val="575757"/>
                  </a:solidFill>
                </a:endParaRPr>
              </a:p>
            </p:txBody>
          </p:sp>
        </p:grpSp>
        <p:sp>
          <p:nvSpPr>
            <p:cNvPr id="73" name="TextBox 72"/>
            <p:cNvSpPr txBox="1"/>
            <p:nvPr/>
          </p:nvSpPr>
          <p:spPr>
            <a:xfrm>
              <a:off x="630000" y="3689622"/>
              <a:ext cx="1843891" cy="430887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b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400" b="1" dirty="0" smtClean="0">
                  <a:solidFill>
                    <a:srgbClr val="1F4174"/>
                  </a:solidFill>
                  <a:latin typeface="+mj-lt"/>
                  <a:cs typeface="Arial" panose="020B0604020202020204" pitchFamily="34" charset="0"/>
                </a:rPr>
                <a:t>Clinical research capabilities</a:t>
              </a:r>
              <a:endParaRPr lang="en-US" sz="1400" b="1" dirty="0">
                <a:solidFill>
                  <a:srgbClr val="1F4174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74" name="Rectangle 73">
              <a:extLst>
                <a:ext uri="{FF2B5EF4-FFF2-40B4-BE49-F238E27FC236}">
                  <a16:creationId xmlns="" xmlns:a16="http://schemas.microsoft.com/office/drawing/2014/main" id="{B9D67C3A-0B21-4FDD-9A0A-7DDBC12A9373}"/>
                </a:ext>
              </a:extLst>
            </p:cNvPr>
            <p:cNvSpPr/>
            <p:nvPr/>
          </p:nvSpPr>
          <p:spPr>
            <a:xfrm>
              <a:off x="630000" y="4261296"/>
              <a:ext cx="1843891" cy="1292662"/>
            </a:xfrm>
            <a:prstGeom prst="rect">
              <a:avLst/>
            </a:prstGeom>
            <a:noFill/>
            <a:ln w="19050" cap="flat" cmpd="sng" algn="ctr">
              <a:noFill/>
              <a:prstDash val="sysDot"/>
              <a:headEnd type="none" w="med" len="med"/>
              <a:tailEnd type="oval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BBEE"/>
                  </a:solidFill>
                </a14:hiddenFill>
              </a:ext>
            </a:extLst>
          </p:spPr>
          <p:txBody>
            <a:bodyPr wrap="square" lIns="0" tIns="0" rIns="0" bIns="0" rtlCol="0" anchor="t" anchorCtr="0">
              <a:spAutoFit/>
            </a:bodyPr>
            <a:lstStyle/>
            <a:p>
              <a:pPr defTabSz="914466">
                <a:buSzPct val="100000"/>
                <a:buFont typeface="Trebuchet MS" panose="020B0603020202020204" pitchFamily="34" charset="0"/>
                <a:buChar char="​"/>
                <a:defRPr/>
              </a:pPr>
              <a:r>
                <a:rPr lang="en-US" sz="1400" dirty="0">
                  <a:solidFill>
                    <a:srgbClr val="000000">
                      <a:lumMod val="100000"/>
                    </a:srgbClr>
                  </a:solidFill>
                  <a:cs typeface="Arial" panose="020B0604020202020204" pitchFamily="34" charset="0"/>
                </a:rPr>
                <a:t>Leading research hospitals (e.g., </a:t>
              </a:r>
              <a:r>
                <a:rPr lang="en-US" sz="1400" dirty="0" smtClean="0">
                  <a:solidFill>
                    <a:srgbClr val="000000">
                      <a:lumMod val="100000"/>
                    </a:srgbClr>
                  </a:solidFill>
                  <a:cs typeface="Arial" panose="020B0604020202020204" pitchFamily="34" charset="0"/>
                </a:rPr>
                <a:t>Rush, </a:t>
              </a:r>
              <a:r>
                <a:rPr lang="en-US" sz="1400" dirty="0" err="1" smtClean="0">
                  <a:solidFill>
                    <a:srgbClr val="000000">
                      <a:lumMod val="100000"/>
                    </a:srgbClr>
                  </a:solidFill>
                  <a:cs typeface="Arial" panose="020B0604020202020204" pitchFamily="34" charset="0"/>
                </a:rPr>
                <a:t>UChicago</a:t>
              </a:r>
              <a:r>
                <a:rPr lang="en-US" sz="1400" dirty="0" smtClean="0">
                  <a:solidFill>
                    <a:srgbClr val="000000">
                      <a:lumMod val="100000"/>
                    </a:srgbClr>
                  </a:solidFill>
                  <a:cs typeface="Arial" panose="020B0604020202020204" pitchFamily="34" charset="0"/>
                </a:rPr>
                <a:t>, NU); </a:t>
              </a:r>
              <a:r>
                <a:rPr lang="en-US" sz="1400" dirty="0">
                  <a:solidFill>
                    <a:srgbClr val="000000">
                      <a:lumMod val="100000"/>
                    </a:srgbClr>
                  </a:solidFill>
                  <a:cs typeface="Arial" panose="020B0604020202020204" pitchFamily="34" charset="0"/>
                </a:rPr>
                <a:t>significant population for </a:t>
              </a:r>
              <a:r>
                <a:rPr lang="en-US" sz="1400" dirty="0" smtClean="0">
                  <a:solidFill>
                    <a:srgbClr val="000000">
                      <a:lumMod val="100000"/>
                    </a:srgbClr>
                  </a:solidFill>
                  <a:cs typeface="Arial" panose="020B0604020202020204" pitchFamily="34" charset="0"/>
                </a:rPr>
                <a:t>clinical studies </a:t>
              </a:r>
              <a:r>
                <a:rPr lang="en-US" sz="1400" dirty="0">
                  <a:solidFill>
                    <a:srgbClr val="000000">
                      <a:lumMod val="100000"/>
                    </a:srgbClr>
                  </a:solidFill>
                  <a:cs typeface="Arial" panose="020B0604020202020204" pitchFamily="34" charset="0"/>
                </a:rPr>
                <a:t>as third largest city in U.S.</a:t>
              </a: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7480432" y="1839051"/>
            <a:ext cx="1843891" cy="3477840"/>
            <a:chOff x="7272429" y="2076118"/>
            <a:chExt cx="1843891" cy="3477840"/>
          </a:xfrm>
        </p:grpSpPr>
        <p:sp>
          <p:nvSpPr>
            <p:cNvPr id="70" name="Oval 69"/>
            <p:cNvSpPr/>
            <p:nvPr/>
          </p:nvSpPr>
          <p:spPr>
            <a:xfrm>
              <a:off x="7272429" y="2076118"/>
              <a:ext cx="1237728" cy="1237728"/>
            </a:xfrm>
            <a:prstGeom prst="ellipse">
              <a:avLst/>
            </a:prstGeom>
            <a:solidFill>
              <a:srgbClr val="FFFFFF"/>
            </a:solidFill>
            <a:ln w="3810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kern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00" name="TextBox 99"/>
            <p:cNvSpPr txBox="1"/>
            <p:nvPr/>
          </p:nvSpPr>
          <p:spPr>
            <a:xfrm>
              <a:off x="7272429" y="3689620"/>
              <a:ext cx="1843891" cy="430887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b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400" b="1" dirty="0">
                  <a:solidFill>
                    <a:srgbClr val="1F4174"/>
                  </a:solidFill>
                  <a:latin typeface="+mj-lt"/>
                  <a:cs typeface="Arial" panose="020B0604020202020204" pitchFamily="34" charset="0"/>
                </a:rPr>
                <a:t>No. of healthcare associations</a:t>
              </a:r>
            </a:p>
          </p:txBody>
        </p:sp>
        <p:sp>
          <p:nvSpPr>
            <p:cNvPr id="59" name="Rectangle 58">
              <a:extLst>
                <a:ext uri="{FF2B5EF4-FFF2-40B4-BE49-F238E27FC236}">
                  <a16:creationId xmlns="" xmlns:a16="http://schemas.microsoft.com/office/drawing/2014/main" id="{B9D67C3A-0B21-4FDD-9A0A-7DDBC12A9373}"/>
                </a:ext>
              </a:extLst>
            </p:cNvPr>
            <p:cNvSpPr/>
            <p:nvPr/>
          </p:nvSpPr>
          <p:spPr>
            <a:xfrm>
              <a:off x="7272429" y="4261296"/>
              <a:ext cx="1843891" cy="1292662"/>
            </a:xfrm>
            <a:prstGeom prst="rect">
              <a:avLst/>
            </a:prstGeom>
            <a:noFill/>
            <a:ln w="19050" cap="flat" cmpd="sng" algn="ctr">
              <a:noFill/>
              <a:prstDash val="sysDot"/>
              <a:headEnd type="none" w="med" len="med"/>
              <a:tailEnd type="oval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BBEE"/>
                  </a:solidFill>
                </a14:hiddenFill>
              </a:ext>
            </a:extLst>
          </p:spPr>
          <p:txBody>
            <a:bodyPr wrap="square" lIns="0" tIns="0" rIns="0" bIns="0" rtlCol="0" anchor="t" anchorCtr="0">
              <a:spAutoFit/>
            </a:bodyPr>
            <a:lstStyle/>
            <a:p>
              <a:pPr defTabSz="914466">
                <a:buSzPct val="100000"/>
                <a:buFont typeface="Trebuchet MS" panose="020B0603020202020204" pitchFamily="34" charset="0"/>
                <a:buChar char="​"/>
                <a:defRPr/>
              </a:pPr>
              <a:r>
                <a:rPr lang="en-US" sz="1400" dirty="0" smtClean="0">
                  <a:solidFill>
                    <a:srgbClr val="000000">
                      <a:lumMod val="100000"/>
                    </a:srgbClr>
                  </a:solidFill>
                  <a:cs typeface="Arial" panose="020B0604020202020204" pitchFamily="34" charset="0"/>
                </a:rPr>
                <a:t>Chicago has the most professional assoc. supporting healthcare industry (40+) – e.g., </a:t>
              </a:r>
              <a:r>
                <a:rPr lang="en-US" sz="1400" dirty="0" err="1" smtClean="0">
                  <a:solidFill>
                    <a:srgbClr val="000000">
                      <a:lumMod val="100000"/>
                    </a:srgbClr>
                  </a:solidFill>
                  <a:cs typeface="Arial" panose="020B0604020202020204" pitchFamily="34" charset="0"/>
                </a:rPr>
                <a:t>iBio</a:t>
              </a:r>
              <a:r>
                <a:rPr lang="en-US" sz="1400" dirty="0" smtClean="0">
                  <a:solidFill>
                    <a:srgbClr val="000000">
                      <a:lumMod val="100000"/>
                    </a:srgbClr>
                  </a:solidFill>
                  <a:cs typeface="Arial" panose="020B0604020202020204" pitchFamily="34" charset="0"/>
                </a:rPr>
                <a:t>, AMA, HIMSS, MATTER, MDA, etc.</a:t>
              </a:r>
              <a:endParaRPr lang="en-US" sz="1400" dirty="0">
                <a:solidFill>
                  <a:srgbClr val="000000">
                    <a:lumMod val="100000"/>
                  </a:srgbClr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107" name="Group 106"/>
            <p:cNvGrpSpPr>
              <a:grpSpLocks noChangeAspect="1"/>
            </p:cNvGrpSpPr>
            <p:nvPr/>
          </p:nvGrpSpPr>
          <p:grpSpPr>
            <a:xfrm>
              <a:off x="7461759" y="2265448"/>
              <a:ext cx="859068" cy="859068"/>
              <a:chOff x="5292430" y="2613965"/>
              <a:chExt cx="1645920" cy="1645920"/>
            </a:xfrm>
          </p:grpSpPr>
          <p:sp>
            <p:nvSpPr>
              <p:cNvPr id="108" name="Rectangle 107"/>
              <p:cNvSpPr/>
              <p:nvPr/>
            </p:nvSpPr>
            <p:spPr>
              <a:xfrm>
                <a:off x="5292430" y="2613965"/>
                <a:ext cx="1645920" cy="1645920"/>
              </a:xfrm>
              <a:prstGeom prst="rect">
                <a:avLst/>
              </a:prstGeom>
              <a:noFill/>
              <a:ln w="9525" cap="rnd">
                <a:noFill/>
                <a:prstDash val="sysDot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29BA74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</a:pPr>
                <a:endParaRPr lang="en-US" sz="12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109" name="Group 108"/>
              <p:cNvGrpSpPr/>
              <p:nvPr/>
            </p:nvGrpSpPr>
            <p:grpSpPr>
              <a:xfrm>
                <a:off x="5392149" y="2697974"/>
                <a:ext cx="1446482" cy="1477901"/>
                <a:chOff x="5392149" y="2697974"/>
                <a:chExt cx="1446482" cy="1477901"/>
              </a:xfrm>
            </p:grpSpPr>
            <p:sp>
              <p:nvSpPr>
                <p:cNvPr id="110" name="Freeform 10"/>
                <p:cNvSpPr>
                  <a:spLocks noEditPoints="1"/>
                </p:cNvSpPr>
                <p:nvPr/>
              </p:nvSpPr>
              <p:spPr bwMode="auto">
                <a:xfrm>
                  <a:off x="5392149" y="2697974"/>
                  <a:ext cx="1446482" cy="1477901"/>
                </a:xfrm>
                <a:custGeom>
                  <a:avLst/>
                  <a:gdLst>
                    <a:gd name="T0" fmla="*/ 1519 w 1900"/>
                    <a:gd name="T1" fmla="*/ 1024 h 1943"/>
                    <a:gd name="T2" fmla="*/ 1900 w 1900"/>
                    <a:gd name="T3" fmla="*/ 1002 h 1943"/>
                    <a:gd name="T4" fmla="*/ 1519 w 1900"/>
                    <a:gd name="T5" fmla="*/ 980 h 1943"/>
                    <a:gd name="T6" fmla="*/ 1164 w 1900"/>
                    <a:gd name="T7" fmla="*/ 690 h 1943"/>
                    <a:gd name="T8" fmla="*/ 1356 w 1900"/>
                    <a:gd name="T9" fmla="*/ 354 h 1943"/>
                    <a:gd name="T10" fmla="*/ 1356 w 1900"/>
                    <a:gd name="T11" fmla="*/ 44 h 1943"/>
                    <a:gd name="T12" fmla="*/ 1274 w 1900"/>
                    <a:gd name="T13" fmla="*/ 330 h 1943"/>
                    <a:gd name="T14" fmla="*/ 1003 w 1900"/>
                    <a:gd name="T15" fmla="*/ 651 h 1943"/>
                    <a:gd name="T16" fmla="*/ 445 w 1900"/>
                    <a:gd name="T17" fmla="*/ 413 h 1943"/>
                    <a:gd name="T18" fmla="*/ 252 w 1900"/>
                    <a:gd name="T19" fmla="*/ 0 h 1943"/>
                    <a:gd name="T20" fmla="*/ 252 w 1900"/>
                    <a:gd name="T21" fmla="*/ 504 h 1943"/>
                    <a:gd name="T22" fmla="*/ 739 w 1900"/>
                    <a:gd name="T23" fmla="*/ 770 h 1943"/>
                    <a:gd name="T24" fmla="*/ 736 w 1900"/>
                    <a:gd name="T25" fmla="*/ 1230 h 1943"/>
                    <a:gd name="T26" fmla="*/ 359 w 1900"/>
                    <a:gd name="T27" fmla="*/ 1314 h 1943"/>
                    <a:gd name="T28" fmla="*/ 359 w 1900"/>
                    <a:gd name="T29" fmla="*/ 1943 h 1943"/>
                    <a:gd name="T30" fmla="*/ 599 w 1900"/>
                    <a:gd name="T31" fmla="*/ 1426 h 1943"/>
                    <a:gd name="T32" fmla="*/ 1003 w 1900"/>
                    <a:gd name="T33" fmla="*/ 1353 h 1943"/>
                    <a:gd name="T34" fmla="*/ 1343 w 1900"/>
                    <a:gd name="T35" fmla="*/ 1449 h 1943"/>
                    <a:gd name="T36" fmla="*/ 1519 w 1900"/>
                    <a:gd name="T37" fmla="*/ 1880 h 1943"/>
                    <a:gd name="T38" fmla="*/ 1519 w 1900"/>
                    <a:gd name="T39" fmla="*/ 1377 h 1943"/>
                    <a:gd name="T40" fmla="*/ 1242 w 1900"/>
                    <a:gd name="T41" fmla="*/ 1258 h 1943"/>
                    <a:gd name="T42" fmla="*/ 1563 w 1900"/>
                    <a:gd name="T43" fmla="*/ 980 h 1943"/>
                    <a:gd name="T44" fmla="*/ 1856 w 1900"/>
                    <a:gd name="T45" fmla="*/ 1002 h 1943"/>
                    <a:gd name="T46" fmla="*/ 1563 w 1900"/>
                    <a:gd name="T47" fmla="*/ 1024 h 1943"/>
                    <a:gd name="T48" fmla="*/ 1563 w 1900"/>
                    <a:gd name="T49" fmla="*/ 980 h 1943"/>
                    <a:gd name="T50" fmla="*/ 1356 w 1900"/>
                    <a:gd name="T51" fmla="*/ 88 h 1943"/>
                    <a:gd name="T52" fmla="*/ 1356 w 1900"/>
                    <a:gd name="T53" fmla="*/ 310 h 1943"/>
                    <a:gd name="T54" fmla="*/ 1292 w 1900"/>
                    <a:gd name="T55" fmla="*/ 289 h 1943"/>
                    <a:gd name="T56" fmla="*/ 252 w 1900"/>
                    <a:gd name="T57" fmla="*/ 460 h 1943"/>
                    <a:gd name="T58" fmla="*/ 252 w 1900"/>
                    <a:gd name="T59" fmla="*/ 44 h 1943"/>
                    <a:gd name="T60" fmla="*/ 414 w 1900"/>
                    <a:gd name="T61" fmla="*/ 382 h 1943"/>
                    <a:gd name="T62" fmla="*/ 252 w 1900"/>
                    <a:gd name="T63" fmla="*/ 460 h 1943"/>
                    <a:gd name="T64" fmla="*/ 359 w 1900"/>
                    <a:gd name="T65" fmla="*/ 1899 h 1943"/>
                    <a:gd name="T66" fmla="*/ 359 w 1900"/>
                    <a:gd name="T67" fmla="*/ 1358 h 1943"/>
                    <a:gd name="T68" fmla="*/ 567 w 1900"/>
                    <a:gd name="T69" fmla="*/ 1456 h 1943"/>
                    <a:gd name="T70" fmla="*/ 1405 w 1900"/>
                    <a:gd name="T71" fmla="*/ 1455 h 1943"/>
                    <a:gd name="T72" fmla="*/ 1727 w 1900"/>
                    <a:gd name="T73" fmla="*/ 1629 h 1943"/>
                    <a:gd name="T74" fmla="*/ 1311 w 1900"/>
                    <a:gd name="T75" fmla="*/ 1629 h 1943"/>
                    <a:gd name="T76" fmla="*/ 1405 w 1900"/>
                    <a:gd name="T77" fmla="*/ 1455 h 1943"/>
                    <a:gd name="T78" fmla="*/ 1180 w 1900"/>
                    <a:gd name="T79" fmla="*/ 1252 h 1943"/>
                    <a:gd name="T80" fmla="*/ 798 w 1900"/>
                    <a:gd name="T81" fmla="*/ 1231 h 1943"/>
                    <a:gd name="T82" fmla="*/ 695 w 1900"/>
                    <a:gd name="T83" fmla="*/ 1002 h 1943"/>
                    <a:gd name="T84" fmla="*/ 802 w 1900"/>
                    <a:gd name="T85" fmla="*/ 770 h 1943"/>
                    <a:gd name="T86" fmla="*/ 1106 w 1900"/>
                    <a:gd name="T87" fmla="*/ 713 h 1943"/>
                    <a:gd name="T88" fmla="*/ 1309 w 1900"/>
                    <a:gd name="T89" fmla="*/ 980 h 1943"/>
                    <a:gd name="T90" fmla="*/ 1309 w 1900"/>
                    <a:gd name="T91" fmla="*/ 1024 h 19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900" h="1943">
                      <a:moveTo>
                        <a:pt x="1353" y="1024"/>
                      </a:moveTo>
                      <a:cubicBezTo>
                        <a:pt x="1519" y="1024"/>
                        <a:pt x="1519" y="1024"/>
                        <a:pt x="1519" y="1024"/>
                      </a:cubicBezTo>
                      <a:cubicBezTo>
                        <a:pt x="1530" y="1119"/>
                        <a:pt x="1611" y="1193"/>
                        <a:pt x="1709" y="1193"/>
                      </a:cubicBezTo>
                      <a:cubicBezTo>
                        <a:pt x="1814" y="1193"/>
                        <a:pt x="1900" y="1107"/>
                        <a:pt x="1900" y="1002"/>
                      </a:cubicBezTo>
                      <a:cubicBezTo>
                        <a:pt x="1900" y="897"/>
                        <a:pt x="1814" y="811"/>
                        <a:pt x="1709" y="811"/>
                      </a:cubicBezTo>
                      <a:cubicBezTo>
                        <a:pt x="1611" y="811"/>
                        <a:pt x="1530" y="885"/>
                        <a:pt x="1519" y="980"/>
                      </a:cubicBezTo>
                      <a:cubicBezTo>
                        <a:pt x="1353" y="980"/>
                        <a:pt x="1353" y="980"/>
                        <a:pt x="1353" y="980"/>
                      </a:cubicBezTo>
                      <a:cubicBezTo>
                        <a:pt x="1345" y="854"/>
                        <a:pt x="1270" y="745"/>
                        <a:pt x="1164" y="690"/>
                      </a:cubicBezTo>
                      <a:cubicBezTo>
                        <a:pt x="1314" y="348"/>
                        <a:pt x="1314" y="348"/>
                        <a:pt x="1314" y="348"/>
                      </a:cubicBezTo>
                      <a:cubicBezTo>
                        <a:pt x="1327" y="352"/>
                        <a:pt x="1341" y="354"/>
                        <a:pt x="1356" y="354"/>
                      </a:cubicBezTo>
                      <a:cubicBezTo>
                        <a:pt x="1441" y="354"/>
                        <a:pt x="1511" y="284"/>
                        <a:pt x="1511" y="199"/>
                      </a:cubicBezTo>
                      <a:cubicBezTo>
                        <a:pt x="1511" y="113"/>
                        <a:pt x="1441" y="44"/>
                        <a:pt x="1356" y="44"/>
                      </a:cubicBezTo>
                      <a:cubicBezTo>
                        <a:pt x="1270" y="44"/>
                        <a:pt x="1201" y="113"/>
                        <a:pt x="1201" y="199"/>
                      </a:cubicBezTo>
                      <a:cubicBezTo>
                        <a:pt x="1201" y="254"/>
                        <a:pt x="1230" y="303"/>
                        <a:pt x="1274" y="330"/>
                      </a:cubicBezTo>
                      <a:cubicBezTo>
                        <a:pt x="1123" y="672"/>
                        <a:pt x="1123" y="672"/>
                        <a:pt x="1123" y="672"/>
                      </a:cubicBezTo>
                      <a:cubicBezTo>
                        <a:pt x="1086" y="659"/>
                        <a:pt x="1045" y="651"/>
                        <a:pt x="1003" y="651"/>
                      </a:cubicBezTo>
                      <a:cubicBezTo>
                        <a:pt x="914" y="651"/>
                        <a:pt x="832" y="684"/>
                        <a:pt x="770" y="739"/>
                      </a:cubicBezTo>
                      <a:cubicBezTo>
                        <a:pt x="445" y="413"/>
                        <a:pt x="445" y="413"/>
                        <a:pt x="445" y="413"/>
                      </a:cubicBezTo>
                      <a:cubicBezTo>
                        <a:pt x="482" y="370"/>
                        <a:pt x="504" y="313"/>
                        <a:pt x="504" y="252"/>
                      </a:cubicBezTo>
                      <a:cubicBezTo>
                        <a:pt x="504" y="113"/>
                        <a:pt x="391" y="0"/>
                        <a:pt x="252" y="0"/>
                      </a:cubicBezTo>
                      <a:cubicBezTo>
                        <a:pt x="113" y="0"/>
                        <a:pt x="0" y="113"/>
                        <a:pt x="0" y="252"/>
                      </a:cubicBezTo>
                      <a:cubicBezTo>
                        <a:pt x="0" y="391"/>
                        <a:pt x="113" y="504"/>
                        <a:pt x="252" y="504"/>
                      </a:cubicBezTo>
                      <a:cubicBezTo>
                        <a:pt x="314" y="504"/>
                        <a:pt x="370" y="481"/>
                        <a:pt x="414" y="445"/>
                      </a:cubicBezTo>
                      <a:cubicBezTo>
                        <a:pt x="739" y="770"/>
                        <a:pt x="739" y="770"/>
                        <a:pt x="739" y="770"/>
                      </a:cubicBezTo>
                      <a:cubicBezTo>
                        <a:pt x="685" y="832"/>
                        <a:pt x="651" y="913"/>
                        <a:pt x="651" y="1002"/>
                      </a:cubicBezTo>
                      <a:cubicBezTo>
                        <a:pt x="651" y="1089"/>
                        <a:pt x="683" y="1169"/>
                        <a:pt x="736" y="1230"/>
                      </a:cubicBezTo>
                      <a:cubicBezTo>
                        <a:pt x="568" y="1394"/>
                        <a:pt x="568" y="1394"/>
                        <a:pt x="568" y="1394"/>
                      </a:cubicBezTo>
                      <a:cubicBezTo>
                        <a:pt x="512" y="1345"/>
                        <a:pt x="439" y="1314"/>
                        <a:pt x="359" y="1314"/>
                      </a:cubicBezTo>
                      <a:cubicBezTo>
                        <a:pt x="186" y="1314"/>
                        <a:pt x="45" y="1455"/>
                        <a:pt x="45" y="1629"/>
                      </a:cubicBezTo>
                      <a:cubicBezTo>
                        <a:pt x="45" y="1802"/>
                        <a:pt x="186" y="1943"/>
                        <a:pt x="359" y="1943"/>
                      </a:cubicBezTo>
                      <a:cubicBezTo>
                        <a:pt x="532" y="1943"/>
                        <a:pt x="673" y="1802"/>
                        <a:pt x="673" y="1629"/>
                      </a:cubicBezTo>
                      <a:cubicBezTo>
                        <a:pt x="673" y="1551"/>
                        <a:pt x="645" y="1481"/>
                        <a:pt x="599" y="1426"/>
                      </a:cubicBezTo>
                      <a:cubicBezTo>
                        <a:pt x="767" y="1262"/>
                        <a:pt x="767" y="1262"/>
                        <a:pt x="767" y="1262"/>
                      </a:cubicBezTo>
                      <a:cubicBezTo>
                        <a:pt x="829" y="1319"/>
                        <a:pt x="912" y="1353"/>
                        <a:pt x="1003" y="1353"/>
                      </a:cubicBezTo>
                      <a:cubicBezTo>
                        <a:pt x="1079" y="1353"/>
                        <a:pt x="1151" y="1328"/>
                        <a:pt x="1208" y="1286"/>
                      </a:cubicBezTo>
                      <a:cubicBezTo>
                        <a:pt x="1343" y="1449"/>
                        <a:pt x="1343" y="1449"/>
                        <a:pt x="1343" y="1449"/>
                      </a:cubicBezTo>
                      <a:cubicBezTo>
                        <a:pt x="1296" y="1495"/>
                        <a:pt x="1267" y="1558"/>
                        <a:pt x="1267" y="1629"/>
                      </a:cubicBezTo>
                      <a:cubicBezTo>
                        <a:pt x="1267" y="1767"/>
                        <a:pt x="1380" y="1880"/>
                        <a:pt x="1519" y="1880"/>
                      </a:cubicBezTo>
                      <a:cubicBezTo>
                        <a:pt x="1658" y="1880"/>
                        <a:pt x="1771" y="1767"/>
                        <a:pt x="1771" y="1629"/>
                      </a:cubicBezTo>
                      <a:cubicBezTo>
                        <a:pt x="1771" y="1490"/>
                        <a:pt x="1658" y="1377"/>
                        <a:pt x="1519" y="1377"/>
                      </a:cubicBezTo>
                      <a:cubicBezTo>
                        <a:pt x="1466" y="1377"/>
                        <a:pt x="1417" y="1393"/>
                        <a:pt x="1377" y="1421"/>
                      </a:cubicBezTo>
                      <a:cubicBezTo>
                        <a:pt x="1242" y="1258"/>
                        <a:pt x="1242" y="1258"/>
                        <a:pt x="1242" y="1258"/>
                      </a:cubicBezTo>
                      <a:cubicBezTo>
                        <a:pt x="1306" y="1199"/>
                        <a:pt x="1347" y="1116"/>
                        <a:pt x="1353" y="1024"/>
                      </a:cubicBezTo>
                      <a:close/>
                      <a:moveTo>
                        <a:pt x="1563" y="980"/>
                      </a:moveTo>
                      <a:cubicBezTo>
                        <a:pt x="1574" y="909"/>
                        <a:pt x="1635" y="855"/>
                        <a:pt x="1709" y="855"/>
                      </a:cubicBezTo>
                      <a:cubicBezTo>
                        <a:pt x="1790" y="855"/>
                        <a:pt x="1856" y="921"/>
                        <a:pt x="1856" y="1002"/>
                      </a:cubicBezTo>
                      <a:cubicBezTo>
                        <a:pt x="1856" y="1083"/>
                        <a:pt x="1790" y="1149"/>
                        <a:pt x="1709" y="1149"/>
                      </a:cubicBezTo>
                      <a:cubicBezTo>
                        <a:pt x="1635" y="1149"/>
                        <a:pt x="1574" y="1095"/>
                        <a:pt x="1563" y="1024"/>
                      </a:cubicBezTo>
                      <a:cubicBezTo>
                        <a:pt x="1562" y="1017"/>
                        <a:pt x="1562" y="1009"/>
                        <a:pt x="1562" y="1002"/>
                      </a:cubicBezTo>
                      <a:cubicBezTo>
                        <a:pt x="1562" y="995"/>
                        <a:pt x="1562" y="987"/>
                        <a:pt x="1563" y="980"/>
                      </a:cubicBezTo>
                      <a:close/>
                      <a:moveTo>
                        <a:pt x="1245" y="199"/>
                      </a:moveTo>
                      <a:cubicBezTo>
                        <a:pt x="1245" y="138"/>
                        <a:pt x="1294" y="88"/>
                        <a:pt x="1356" y="88"/>
                      </a:cubicBezTo>
                      <a:cubicBezTo>
                        <a:pt x="1417" y="88"/>
                        <a:pt x="1467" y="138"/>
                        <a:pt x="1467" y="199"/>
                      </a:cubicBezTo>
                      <a:cubicBezTo>
                        <a:pt x="1467" y="260"/>
                        <a:pt x="1417" y="310"/>
                        <a:pt x="1356" y="310"/>
                      </a:cubicBezTo>
                      <a:cubicBezTo>
                        <a:pt x="1348" y="310"/>
                        <a:pt x="1340" y="309"/>
                        <a:pt x="1332" y="307"/>
                      </a:cubicBezTo>
                      <a:cubicBezTo>
                        <a:pt x="1317" y="304"/>
                        <a:pt x="1304" y="298"/>
                        <a:pt x="1292" y="289"/>
                      </a:cubicBezTo>
                      <a:cubicBezTo>
                        <a:pt x="1263" y="269"/>
                        <a:pt x="1245" y="236"/>
                        <a:pt x="1245" y="199"/>
                      </a:cubicBezTo>
                      <a:close/>
                      <a:moveTo>
                        <a:pt x="252" y="460"/>
                      </a:moveTo>
                      <a:cubicBezTo>
                        <a:pt x="138" y="460"/>
                        <a:pt x="44" y="367"/>
                        <a:pt x="44" y="252"/>
                      </a:cubicBezTo>
                      <a:cubicBezTo>
                        <a:pt x="44" y="137"/>
                        <a:pt x="138" y="44"/>
                        <a:pt x="252" y="44"/>
                      </a:cubicBezTo>
                      <a:cubicBezTo>
                        <a:pt x="367" y="44"/>
                        <a:pt x="460" y="137"/>
                        <a:pt x="460" y="252"/>
                      </a:cubicBezTo>
                      <a:cubicBezTo>
                        <a:pt x="460" y="301"/>
                        <a:pt x="443" y="347"/>
                        <a:pt x="414" y="382"/>
                      </a:cubicBezTo>
                      <a:cubicBezTo>
                        <a:pt x="405" y="394"/>
                        <a:pt x="394" y="404"/>
                        <a:pt x="383" y="413"/>
                      </a:cubicBezTo>
                      <a:cubicBezTo>
                        <a:pt x="347" y="442"/>
                        <a:pt x="302" y="460"/>
                        <a:pt x="252" y="460"/>
                      </a:cubicBezTo>
                      <a:close/>
                      <a:moveTo>
                        <a:pt x="629" y="1629"/>
                      </a:moveTo>
                      <a:cubicBezTo>
                        <a:pt x="629" y="1778"/>
                        <a:pt x="508" y="1899"/>
                        <a:pt x="359" y="1899"/>
                      </a:cubicBezTo>
                      <a:cubicBezTo>
                        <a:pt x="210" y="1899"/>
                        <a:pt x="89" y="1778"/>
                        <a:pt x="89" y="1629"/>
                      </a:cubicBezTo>
                      <a:cubicBezTo>
                        <a:pt x="89" y="1479"/>
                        <a:pt x="210" y="1358"/>
                        <a:pt x="359" y="1358"/>
                      </a:cubicBezTo>
                      <a:cubicBezTo>
                        <a:pt x="427" y="1358"/>
                        <a:pt x="489" y="1383"/>
                        <a:pt x="536" y="1425"/>
                      </a:cubicBezTo>
                      <a:cubicBezTo>
                        <a:pt x="547" y="1435"/>
                        <a:pt x="558" y="1445"/>
                        <a:pt x="567" y="1456"/>
                      </a:cubicBezTo>
                      <a:cubicBezTo>
                        <a:pt x="606" y="1503"/>
                        <a:pt x="629" y="1563"/>
                        <a:pt x="629" y="1629"/>
                      </a:cubicBezTo>
                      <a:close/>
                      <a:moveTo>
                        <a:pt x="1405" y="1455"/>
                      </a:moveTo>
                      <a:cubicBezTo>
                        <a:pt x="1437" y="1433"/>
                        <a:pt x="1477" y="1421"/>
                        <a:pt x="1519" y="1421"/>
                      </a:cubicBezTo>
                      <a:cubicBezTo>
                        <a:pt x="1634" y="1421"/>
                        <a:pt x="1727" y="1514"/>
                        <a:pt x="1727" y="1629"/>
                      </a:cubicBezTo>
                      <a:cubicBezTo>
                        <a:pt x="1727" y="1743"/>
                        <a:pt x="1634" y="1836"/>
                        <a:pt x="1519" y="1836"/>
                      </a:cubicBezTo>
                      <a:cubicBezTo>
                        <a:pt x="1404" y="1836"/>
                        <a:pt x="1311" y="1743"/>
                        <a:pt x="1311" y="1629"/>
                      </a:cubicBezTo>
                      <a:cubicBezTo>
                        <a:pt x="1311" y="1572"/>
                        <a:pt x="1334" y="1521"/>
                        <a:pt x="1371" y="1483"/>
                      </a:cubicBezTo>
                      <a:cubicBezTo>
                        <a:pt x="1381" y="1473"/>
                        <a:pt x="1392" y="1463"/>
                        <a:pt x="1405" y="1455"/>
                      </a:cubicBezTo>
                      <a:close/>
                      <a:moveTo>
                        <a:pt x="1214" y="1224"/>
                      </a:moveTo>
                      <a:cubicBezTo>
                        <a:pt x="1204" y="1234"/>
                        <a:pt x="1192" y="1244"/>
                        <a:pt x="1180" y="1252"/>
                      </a:cubicBezTo>
                      <a:cubicBezTo>
                        <a:pt x="1130" y="1288"/>
                        <a:pt x="1069" y="1309"/>
                        <a:pt x="1003" y="1309"/>
                      </a:cubicBezTo>
                      <a:cubicBezTo>
                        <a:pt x="924" y="1309"/>
                        <a:pt x="853" y="1280"/>
                        <a:pt x="798" y="1231"/>
                      </a:cubicBezTo>
                      <a:cubicBezTo>
                        <a:pt x="787" y="1222"/>
                        <a:pt x="777" y="1211"/>
                        <a:pt x="768" y="1200"/>
                      </a:cubicBezTo>
                      <a:cubicBezTo>
                        <a:pt x="723" y="1146"/>
                        <a:pt x="695" y="1077"/>
                        <a:pt x="695" y="1002"/>
                      </a:cubicBezTo>
                      <a:cubicBezTo>
                        <a:pt x="695" y="925"/>
                        <a:pt x="724" y="855"/>
                        <a:pt x="770" y="801"/>
                      </a:cubicBezTo>
                      <a:cubicBezTo>
                        <a:pt x="780" y="790"/>
                        <a:pt x="790" y="780"/>
                        <a:pt x="802" y="770"/>
                      </a:cubicBezTo>
                      <a:cubicBezTo>
                        <a:pt x="855" y="723"/>
                        <a:pt x="926" y="695"/>
                        <a:pt x="1003" y="695"/>
                      </a:cubicBezTo>
                      <a:cubicBezTo>
                        <a:pt x="1039" y="695"/>
                        <a:pt x="1073" y="701"/>
                        <a:pt x="1106" y="713"/>
                      </a:cubicBezTo>
                      <a:cubicBezTo>
                        <a:pt x="1120" y="718"/>
                        <a:pt x="1133" y="724"/>
                        <a:pt x="1146" y="730"/>
                      </a:cubicBezTo>
                      <a:cubicBezTo>
                        <a:pt x="1237" y="779"/>
                        <a:pt x="1301" y="872"/>
                        <a:pt x="1309" y="980"/>
                      </a:cubicBezTo>
                      <a:cubicBezTo>
                        <a:pt x="1309" y="987"/>
                        <a:pt x="1310" y="995"/>
                        <a:pt x="1310" y="1002"/>
                      </a:cubicBezTo>
                      <a:cubicBezTo>
                        <a:pt x="1310" y="1009"/>
                        <a:pt x="1309" y="1017"/>
                        <a:pt x="1309" y="1024"/>
                      </a:cubicBezTo>
                      <a:cubicBezTo>
                        <a:pt x="1303" y="1103"/>
                        <a:pt x="1268" y="1173"/>
                        <a:pt x="1214" y="1224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11" name="Freeform 110"/>
                <p:cNvSpPr>
                  <a:spLocks noChangeArrowheads="1"/>
                </p:cNvSpPr>
                <p:nvPr/>
              </p:nvSpPr>
              <p:spPr bwMode="auto">
                <a:xfrm>
                  <a:off x="5459504" y="2764424"/>
                  <a:ext cx="1312612" cy="1345000"/>
                </a:xfrm>
                <a:custGeom>
                  <a:avLst/>
                  <a:gdLst>
                    <a:gd name="connsiteX0" fmla="*/ 1089071 w 1312612"/>
                    <a:gd name="connsiteY0" fmla="*/ 1048073 h 1345000"/>
                    <a:gd name="connsiteX1" fmla="*/ 1214102 w 1312612"/>
                    <a:gd name="connsiteY1" fmla="*/ 1172563 h 1345000"/>
                    <a:gd name="connsiteX2" fmla="*/ 1089071 w 1312612"/>
                    <a:gd name="connsiteY2" fmla="*/ 1297053 h 1345000"/>
                    <a:gd name="connsiteX3" fmla="*/ 964040 w 1312612"/>
                    <a:gd name="connsiteY3" fmla="*/ 1172563 h 1345000"/>
                    <a:gd name="connsiteX4" fmla="*/ 1089071 w 1312612"/>
                    <a:gd name="connsiteY4" fmla="*/ 1048073 h 1345000"/>
                    <a:gd name="connsiteX5" fmla="*/ 205860 w 1312612"/>
                    <a:gd name="connsiteY5" fmla="*/ 1000128 h 1345000"/>
                    <a:gd name="connsiteX6" fmla="*/ 378041 w 1312612"/>
                    <a:gd name="connsiteY6" fmla="*/ 1172564 h 1345000"/>
                    <a:gd name="connsiteX7" fmla="*/ 205860 w 1312612"/>
                    <a:gd name="connsiteY7" fmla="*/ 1345000 h 1345000"/>
                    <a:gd name="connsiteX8" fmla="*/ 33679 w 1312612"/>
                    <a:gd name="connsiteY8" fmla="*/ 1172564 h 1345000"/>
                    <a:gd name="connsiteX9" fmla="*/ 205860 w 1312612"/>
                    <a:gd name="connsiteY9" fmla="*/ 1000128 h 1345000"/>
                    <a:gd name="connsiteX10" fmla="*/ 1233888 w 1312612"/>
                    <a:gd name="connsiteY10" fmla="*/ 617404 h 1345000"/>
                    <a:gd name="connsiteX11" fmla="*/ 1312612 w 1312612"/>
                    <a:gd name="connsiteY11" fmla="*/ 695631 h 1345000"/>
                    <a:gd name="connsiteX12" fmla="*/ 1233888 w 1312612"/>
                    <a:gd name="connsiteY12" fmla="*/ 773858 h 1345000"/>
                    <a:gd name="connsiteX13" fmla="*/ 1155164 w 1312612"/>
                    <a:gd name="connsiteY13" fmla="*/ 695631 h 1345000"/>
                    <a:gd name="connsiteX14" fmla="*/ 1233888 w 1312612"/>
                    <a:gd name="connsiteY14" fmla="*/ 617404 h 1345000"/>
                    <a:gd name="connsiteX15" fmla="*/ 695878 w 1312612"/>
                    <a:gd name="connsiteY15" fmla="*/ 495438 h 1345000"/>
                    <a:gd name="connsiteX16" fmla="*/ 896685 w 1312612"/>
                    <a:gd name="connsiteY16" fmla="*/ 695632 h 1345000"/>
                    <a:gd name="connsiteX17" fmla="*/ 695878 w 1312612"/>
                    <a:gd name="connsiteY17" fmla="*/ 895826 h 1345000"/>
                    <a:gd name="connsiteX18" fmla="*/ 495071 w 1312612"/>
                    <a:gd name="connsiteY18" fmla="*/ 695632 h 1345000"/>
                    <a:gd name="connsiteX19" fmla="*/ 695878 w 1312612"/>
                    <a:gd name="connsiteY19" fmla="*/ 495438 h 1345000"/>
                    <a:gd name="connsiteX20" fmla="*/ 965304 w 1312612"/>
                    <a:gd name="connsiteY20" fmla="*/ 33646 h 1345000"/>
                    <a:gd name="connsiteX21" fmla="*/ 1016243 w 1312612"/>
                    <a:gd name="connsiteY21" fmla="*/ 84536 h 1345000"/>
                    <a:gd name="connsiteX22" fmla="*/ 965304 w 1312612"/>
                    <a:gd name="connsiteY22" fmla="*/ 135426 h 1345000"/>
                    <a:gd name="connsiteX23" fmla="*/ 914365 w 1312612"/>
                    <a:gd name="connsiteY23" fmla="*/ 84536 h 1345000"/>
                    <a:gd name="connsiteX24" fmla="*/ 965304 w 1312612"/>
                    <a:gd name="connsiteY24" fmla="*/ 33646 h 1345000"/>
                    <a:gd name="connsiteX25" fmla="*/ 124610 w 1312612"/>
                    <a:gd name="connsiteY25" fmla="*/ 0 h 1345000"/>
                    <a:gd name="connsiteX26" fmla="*/ 249220 w 1312612"/>
                    <a:gd name="connsiteY26" fmla="*/ 124911 h 1345000"/>
                    <a:gd name="connsiteX27" fmla="*/ 124610 w 1312612"/>
                    <a:gd name="connsiteY27" fmla="*/ 249822 h 1345000"/>
                    <a:gd name="connsiteX28" fmla="*/ 0 w 1312612"/>
                    <a:gd name="connsiteY28" fmla="*/ 124911 h 1345000"/>
                    <a:gd name="connsiteX29" fmla="*/ 124610 w 1312612"/>
                    <a:gd name="connsiteY29" fmla="*/ 0 h 1345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1312612" h="1345000">
                      <a:moveTo>
                        <a:pt x="1089071" y="1048073"/>
                      </a:moveTo>
                      <a:cubicBezTo>
                        <a:pt x="1158124" y="1048073"/>
                        <a:pt x="1214102" y="1103809"/>
                        <a:pt x="1214102" y="1172563"/>
                      </a:cubicBezTo>
                      <a:cubicBezTo>
                        <a:pt x="1214102" y="1241317"/>
                        <a:pt x="1158124" y="1297053"/>
                        <a:pt x="1089071" y="1297053"/>
                      </a:cubicBezTo>
                      <a:cubicBezTo>
                        <a:pt x="1020018" y="1297053"/>
                        <a:pt x="964040" y="1241317"/>
                        <a:pt x="964040" y="1172563"/>
                      </a:cubicBezTo>
                      <a:cubicBezTo>
                        <a:pt x="964040" y="1103809"/>
                        <a:pt x="1020018" y="1048073"/>
                        <a:pt x="1089071" y="1048073"/>
                      </a:cubicBezTo>
                      <a:close/>
                      <a:moveTo>
                        <a:pt x="205860" y="1000128"/>
                      </a:moveTo>
                      <a:cubicBezTo>
                        <a:pt x="300953" y="1000128"/>
                        <a:pt x="378041" y="1077330"/>
                        <a:pt x="378041" y="1172564"/>
                      </a:cubicBezTo>
                      <a:cubicBezTo>
                        <a:pt x="378041" y="1267798"/>
                        <a:pt x="300953" y="1345000"/>
                        <a:pt x="205860" y="1345000"/>
                      </a:cubicBezTo>
                      <a:cubicBezTo>
                        <a:pt x="110767" y="1345000"/>
                        <a:pt x="33679" y="1267798"/>
                        <a:pt x="33679" y="1172564"/>
                      </a:cubicBezTo>
                      <a:cubicBezTo>
                        <a:pt x="33679" y="1077330"/>
                        <a:pt x="110767" y="1000128"/>
                        <a:pt x="205860" y="1000128"/>
                      </a:cubicBezTo>
                      <a:close/>
                      <a:moveTo>
                        <a:pt x="1233888" y="617404"/>
                      </a:moveTo>
                      <a:cubicBezTo>
                        <a:pt x="1277366" y="617404"/>
                        <a:pt x="1312612" y="652427"/>
                        <a:pt x="1312612" y="695631"/>
                      </a:cubicBezTo>
                      <a:cubicBezTo>
                        <a:pt x="1312612" y="738835"/>
                        <a:pt x="1277366" y="773858"/>
                        <a:pt x="1233888" y="773858"/>
                      </a:cubicBezTo>
                      <a:cubicBezTo>
                        <a:pt x="1190410" y="773858"/>
                        <a:pt x="1155164" y="738835"/>
                        <a:pt x="1155164" y="695631"/>
                      </a:cubicBezTo>
                      <a:cubicBezTo>
                        <a:pt x="1155164" y="652427"/>
                        <a:pt x="1190410" y="617404"/>
                        <a:pt x="1233888" y="617404"/>
                      </a:cubicBezTo>
                      <a:close/>
                      <a:moveTo>
                        <a:pt x="695878" y="495438"/>
                      </a:moveTo>
                      <a:cubicBezTo>
                        <a:pt x="806781" y="495438"/>
                        <a:pt x="896685" y="585068"/>
                        <a:pt x="896685" y="695632"/>
                      </a:cubicBezTo>
                      <a:cubicBezTo>
                        <a:pt x="896685" y="806196"/>
                        <a:pt x="806781" y="895826"/>
                        <a:pt x="695878" y="895826"/>
                      </a:cubicBezTo>
                      <a:cubicBezTo>
                        <a:pt x="584975" y="895826"/>
                        <a:pt x="495071" y="806196"/>
                        <a:pt x="495071" y="695632"/>
                      </a:cubicBezTo>
                      <a:cubicBezTo>
                        <a:pt x="495071" y="585068"/>
                        <a:pt x="584975" y="495438"/>
                        <a:pt x="695878" y="495438"/>
                      </a:cubicBezTo>
                      <a:close/>
                      <a:moveTo>
                        <a:pt x="965304" y="33646"/>
                      </a:moveTo>
                      <a:cubicBezTo>
                        <a:pt x="993437" y="33646"/>
                        <a:pt x="1016243" y="56430"/>
                        <a:pt x="1016243" y="84536"/>
                      </a:cubicBezTo>
                      <a:cubicBezTo>
                        <a:pt x="1016243" y="112642"/>
                        <a:pt x="993437" y="135426"/>
                        <a:pt x="965304" y="135426"/>
                      </a:cubicBezTo>
                      <a:cubicBezTo>
                        <a:pt x="937171" y="135426"/>
                        <a:pt x="914365" y="112642"/>
                        <a:pt x="914365" y="84536"/>
                      </a:cubicBezTo>
                      <a:cubicBezTo>
                        <a:pt x="914365" y="56430"/>
                        <a:pt x="937171" y="33646"/>
                        <a:pt x="965304" y="33646"/>
                      </a:cubicBezTo>
                      <a:close/>
                      <a:moveTo>
                        <a:pt x="124610" y="0"/>
                      </a:moveTo>
                      <a:cubicBezTo>
                        <a:pt x="193430" y="0"/>
                        <a:pt x="249220" y="55925"/>
                        <a:pt x="249220" y="124911"/>
                      </a:cubicBezTo>
                      <a:cubicBezTo>
                        <a:pt x="249220" y="193897"/>
                        <a:pt x="193430" y="249822"/>
                        <a:pt x="124610" y="249822"/>
                      </a:cubicBezTo>
                      <a:cubicBezTo>
                        <a:pt x="55790" y="249822"/>
                        <a:pt x="0" y="193897"/>
                        <a:pt x="0" y="124911"/>
                      </a:cubicBezTo>
                      <a:cubicBezTo>
                        <a:pt x="0" y="55925"/>
                        <a:pt x="55790" y="0"/>
                        <a:pt x="124610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/>
                </a:p>
              </p:txBody>
            </p:sp>
          </p:grpSp>
        </p:grpSp>
      </p:grpSp>
      <p:grpSp>
        <p:nvGrpSpPr>
          <p:cNvPr id="117" name="Group 116"/>
          <p:cNvGrpSpPr>
            <a:grpSpLocks noChangeAspect="1"/>
          </p:cNvGrpSpPr>
          <p:nvPr/>
        </p:nvGrpSpPr>
        <p:grpSpPr>
          <a:xfrm>
            <a:off x="3014279" y="1905568"/>
            <a:ext cx="1134424" cy="1134424"/>
            <a:chOff x="5273675" y="2606675"/>
            <a:chExt cx="1644650" cy="1644650"/>
          </a:xfrm>
        </p:grpSpPr>
        <p:sp>
          <p:nvSpPr>
            <p:cNvPr id="118" name="AutoShape 3"/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119" name="Group 118"/>
            <p:cNvGrpSpPr/>
            <p:nvPr/>
          </p:nvGrpSpPr>
          <p:grpSpPr>
            <a:xfrm>
              <a:off x="5605565" y="2755106"/>
              <a:ext cx="980870" cy="1347788"/>
              <a:chOff x="5605565" y="2755106"/>
              <a:chExt cx="980870" cy="1347788"/>
            </a:xfrm>
          </p:grpSpPr>
          <p:sp>
            <p:nvSpPr>
              <p:cNvPr id="120" name="Freeform 119"/>
              <p:cNvSpPr>
                <a:spLocks/>
              </p:cNvSpPr>
              <p:nvPr/>
            </p:nvSpPr>
            <p:spPr bwMode="auto">
              <a:xfrm>
                <a:off x="5605565" y="3085306"/>
                <a:ext cx="804453" cy="1017588"/>
              </a:xfrm>
              <a:custGeom>
                <a:avLst/>
                <a:gdLst>
                  <a:gd name="connsiteX0" fmla="*/ 386025 w 804453"/>
                  <a:gd name="connsiteY0" fmla="*/ 839788 h 1017588"/>
                  <a:gd name="connsiteX1" fmla="*/ 417556 w 804453"/>
                  <a:gd name="connsiteY1" fmla="*/ 842633 h 1017588"/>
                  <a:gd name="connsiteX2" fmla="*/ 417556 w 804453"/>
                  <a:gd name="connsiteY2" fmla="*/ 935800 h 1017588"/>
                  <a:gd name="connsiteX3" fmla="*/ 509283 w 804453"/>
                  <a:gd name="connsiteY3" fmla="*/ 994119 h 1017588"/>
                  <a:gd name="connsiteX4" fmla="*/ 495667 w 804453"/>
                  <a:gd name="connsiteY4" fmla="*/ 1017588 h 1017588"/>
                  <a:gd name="connsiteX5" fmla="*/ 307197 w 804453"/>
                  <a:gd name="connsiteY5" fmla="*/ 1017588 h 1017588"/>
                  <a:gd name="connsiteX6" fmla="*/ 293582 w 804453"/>
                  <a:gd name="connsiteY6" fmla="*/ 994119 h 1017588"/>
                  <a:gd name="connsiteX7" fmla="*/ 386025 w 804453"/>
                  <a:gd name="connsiteY7" fmla="*/ 935800 h 1017588"/>
                  <a:gd name="connsiteX8" fmla="*/ 386025 w 804453"/>
                  <a:gd name="connsiteY8" fmla="*/ 839788 h 1017588"/>
                  <a:gd name="connsiteX9" fmla="*/ 385557 w 804453"/>
                  <a:gd name="connsiteY9" fmla="*/ 614363 h 1017588"/>
                  <a:gd name="connsiteX10" fmla="*/ 417307 w 804453"/>
                  <a:gd name="connsiteY10" fmla="*/ 617242 h 1017588"/>
                  <a:gd name="connsiteX11" fmla="*/ 417307 w 804453"/>
                  <a:gd name="connsiteY11" fmla="*/ 776288 h 1017588"/>
                  <a:gd name="connsiteX12" fmla="*/ 412978 w 804453"/>
                  <a:gd name="connsiteY12" fmla="*/ 775568 h 1017588"/>
                  <a:gd name="connsiteX13" fmla="*/ 385557 w 804453"/>
                  <a:gd name="connsiteY13" fmla="*/ 771250 h 1017588"/>
                  <a:gd name="connsiteX14" fmla="*/ 385557 w 804453"/>
                  <a:gd name="connsiteY14" fmla="*/ 614363 h 1017588"/>
                  <a:gd name="connsiteX15" fmla="*/ 31546 w 804453"/>
                  <a:gd name="connsiteY15" fmla="*/ 31750 h 1017588"/>
                  <a:gd name="connsiteX16" fmla="*/ 401871 w 804453"/>
                  <a:gd name="connsiteY16" fmla="*/ 285750 h 1017588"/>
                  <a:gd name="connsiteX17" fmla="*/ 772909 w 804453"/>
                  <a:gd name="connsiteY17" fmla="*/ 31750 h 1017588"/>
                  <a:gd name="connsiteX18" fmla="*/ 31546 w 804453"/>
                  <a:gd name="connsiteY18" fmla="*/ 31750 h 1017588"/>
                  <a:gd name="connsiteX19" fmla="*/ 31758 w 804453"/>
                  <a:gd name="connsiteY19" fmla="*/ 0 h 1017588"/>
                  <a:gd name="connsiteX20" fmla="*/ 773411 w 804453"/>
                  <a:gd name="connsiteY20" fmla="*/ 0 h 1017588"/>
                  <a:gd name="connsiteX21" fmla="*/ 799108 w 804453"/>
                  <a:gd name="connsiteY21" fmla="*/ 13566 h 1017588"/>
                  <a:gd name="connsiteX22" fmla="*/ 801963 w 804453"/>
                  <a:gd name="connsiteY22" fmla="*/ 43555 h 1017588"/>
                  <a:gd name="connsiteX23" fmla="*/ 691322 w 804453"/>
                  <a:gd name="connsiteY23" fmla="*/ 205637 h 1017588"/>
                  <a:gd name="connsiteX24" fmla="*/ 417931 w 804453"/>
                  <a:gd name="connsiteY24" fmla="*/ 317024 h 1017588"/>
                  <a:gd name="connsiteX25" fmla="*/ 417931 w 804453"/>
                  <a:gd name="connsiteY25" fmla="*/ 476250 h 1017588"/>
                  <a:gd name="connsiteX26" fmla="*/ 413648 w 804453"/>
                  <a:gd name="connsiteY26" fmla="*/ 475536 h 1017588"/>
                  <a:gd name="connsiteX27" fmla="*/ 386523 w 804453"/>
                  <a:gd name="connsiteY27" fmla="*/ 471252 h 1017588"/>
                  <a:gd name="connsiteX28" fmla="*/ 386523 w 804453"/>
                  <a:gd name="connsiteY28" fmla="*/ 317024 h 1017588"/>
                  <a:gd name="connsiteX29" fmla="*/ 112419 w 804453"/>
                  <a:gd name="connsiteY29" fmla="*/ 205637 h 1017588"/>
                  <a:gd name="connsiteX30" fmla="*/ 2491 w 804453"/>
                  <a:gd name="connsiteY30" fmla="*/ 43555 h 1017588"/>
                  <a:gd name="connsiteX31" fmla="*/ 5346 w 804453"/>
                  <a:gd name="connsiteY31" fmla="*/ 13566 h 1017588"/>
                  <a:gd name="connsiteX32" fmla="*/ 31758 w 804453"/>
                  <a:gd name="connsiteY32" fmla="*/ 0 h 10175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804453" h="1017588">
                    <a:moveTo>
                      <a:pt x="386025" y="839788"/>
                    </a:moveTo>
                    <a:cubicBezTo>
                      <a:pt x="393191" y="840499"/>
                      <a:pt x="406807" y="841922"/>
                      <a:pt x="417556" y="842633"/>
                    </a:cubicBezTo>
                    <a:cubicBezTo>
                      <a:pt x="417556" y="935800"/>
                      <a:pt x="417556" y="935800"/>
                      <a:pt x="417556" y="935800"/>
                    </a:cubicBezTo>
                    <a:cubicBezTo>
                      <a:pt x="467002" y="941490"/>
                      <a:pt x="494950" y="971360"/>
                      <a:pt x="509283" y="994119"/>
                    </a:cubicBezTo>
                    <a:cubicBezTo>
                      <a:pt x="515732" y="1004075"/>
                      <a:pt x="508566" y="1017588"/>
                      <a:pt x="495667" y="1017588"/>
                    </a:cubicBezTo>
                    <a:cubicBezTo>
                      <a:pt x="307197" y="1017588"/>
                      <a:pt x="307197" y="1017588"/>
                      <a:pt x="307197" y="1017588"/>
                    </a:cubicBezTo>
                    <a:cubicBezTo>
                      <a:pt x="294298" y="1017588"/>
                      <a:pt x="287132" y="1004075"/>
                      <a:pt x="293582" y="994119"/>
                    </a:cubicBezTo>
                    <a:cubicBezTo>
                      <a:pt x="307914" y="971360"/>
                      <a:pt x="335862" y="941490"/>
                      <a:pt x="386025" y="935800"/>
                    </a:cubicBezTo>
                    <a:cubicBezTo>
                      <a:pt x="386025" y="839788"/>
                      <a:pt x="386025" y="839788"/>
                      <a:pt x="386025" y="839788"/>
                    </a:cubicBezTo>
                    <a:close/>
                    <a:moveTo>
                      <a:pt x="385557" y="614363"/>
                    </a:moveTo>
                    <a:cubicBezTo>
                      <a:pt x="392773" y="615083"/>
                      <a:pt x="406483" y="615802"/>
                      <a:pt x="417307" y="617242"/>
                    </a:cubicBezTo>
                    <a:cubicBezTo>
                      <a:pt x="417307" y="776288"/>
                      <a:pt x="417307" y="776288"/>
                      <a:pt x="417307" y="776288"/>
                    </a:cubicBezTo>
                    <a:cubicBezTo>
                      <a:pt x="415864" y="776288"/>
                      <a:pt x="414421" y="775568"/>
                      <a:pt x="412978" y="775568"/>
                    </a:cubicBezTo>
                    <a:cubicBezTo>
                      <a:pt x="385557" y="771250"/>
                      <a:pt x="385557" y="771250"/>
                      <a:pt x="385557" y="771250"/>
                    </a:cubicBezTo>
                    <a:cubicBezTo>
                      <a:pt x="385557" y="614363"/>
                      <a:pt x="385557" y="614363"/>
                      <a:pt x="385557" y="614363"/>
                    </a:cubicBezTo>
                    <a:close/>
                    <a:moveTo>
                      <a:pt x="31546" y="31750"/>
                    </a:moveTo>
                    <a:cubicBezTo>
                      <a:pt x="55806" y="90969"/>
                      <a:pt x="154274" y="285750"/>
                      <a:pt x="401871" y="285750"/>
                    </a:cubicBezTo>
                    <a:cubicBezTo>
                      <a:pt x="648754" y="285750"/>
                      <a:pt x="747935" y="90969"/>
                      <a:pt x="772909" y="31750"/>
                    </a:cubicBezTo>
                    <a:cubicBezTo>
                      <a:pt x="772909" y="31750"/>
                      <a:pt x="772909" y="31750"/>
                      <a:pt x="31546" y="31750"/>
                    </a:cubicBezTo>
                    <a:close/>
                    <a:moveTo>
                      <a:pt x="31758" y="0"/>
                    </a:moveTo>
                    <a:cubicBezTo>
                      <a:pt x="31758" y="0"/>
                      <a:pt x="31758" y="0"/>
                      <a:pt x="773411" y="0"/>
                    </a:cubicBezTo>
                    <a:cubicBezTo>
                      <a:pt x="784118" y="0"/>
                      <a:pt x="794111" y="4998"/>
                      <a:pt x="799108" y="13566"/>
                    </a:cubicBezTo>
                    <a:cubicBezTo>
                      <a:pt x="804819" y="22849"/>
                      <a:pt x="806246" y="33559"/>
                      <a:pt x="801963" y="43555"/>
                    </a:cubicBezTo>
                    <a:cubicBezTo>
                      <a:pt x="788401" y="78542"/>
                      <a:pt x="754138" y="146374"/>
                      <a:pt x="691322" y="205637"/>
                    </a:cubicBezTo>
                    <a:cubicBezTo>
                      <a:pt x="616372" y="276325"/>
                      <a:pt x="524289" y="313454"/>
                      <a:pt x="417931" y="317024"/>
                    </a:cubicBezTo>
                    <a:cubicBezTo>
                      <a:pt x="417931" y="317024"/>
                      <a:pt x="417931" y="317024"/>
                      <a:pt x="417931" y="476250"/>
                    </a:cubicBezTo>
                    <a:cubicBezTo>
                      <a:pt x="416504" y="476250"/>
                      <a:pt x="415076" y="475536"/>
                      <a:pt x="413648" y="475536"/>
                    </a:cubicBezTo>
                    <a:cubicBezTo>
                      <a:pt x="413648" y="475536"/>
                      <a:pt x="413648" y="475536"/>
                      <a:pt x="386523" y="471252"/>
                    </a:cubicBezTo>
                    <a:cubicBezTo>
                      <a:pt x="386523" y="471252"/>
                      <a:pt x="386523" y="471252"/>
                      <a:pt x="386523" y="317024"/>
                    </a:cubicBezTo>
                    <a:cubicBezTo>
                      <a:pt x="279451" y="313454"/>
                      <a:pt x="187369" y="276325"/>
                      <a:pt x="112419" y="205637"/>
                    </a:cubicBezTo>
                    <a:cubicBezTo>
                      <a:pt x="50317" y="146374"/>
                      <a:pt x="16767" y="78542"/>
                      <a:pt x="2491" y="43555"/>
                    </a:cubicBezTo>
                    <a:cubicBezTo>
                      <a:pt x="-1792" y="33559"/>
                      <a:pt x="-364" y="22849"/>
                      <a:pt x="5346" y="13566"/>
                    </a:cubicBezTo>
                    <a:cubicBezTo>
                      <a:pt x="11057" y="4998"/>
                      <a:pt x="21050" y="0"/>
                      <a:pt x="3175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21" name="Freeform 120"/>
              <p:cNvSpPr>
                <a:spLocks/>
              </p:cNvSpPr>
              <p:nvPr/>
            </p:nvSpPr>
            <p:spPr bwMode="auto">
              <a:xfrm>
                <a:off x="5777412" y="2755106"/>
                <a:ext cx="809023" cy="1230313"/>
              </a:xfrm>
              <a:custGeom>
                <a:avLst/>
                <a:gdLst>
                  <a:gd name="connsiteX0" fmla="*/ 182398 w 809023"/>
                  <a:gd name="connsiteY0" fmla="*/ 995363 h 1230313"/>
                  <a:gd name="connsiteX1" fmla="*/ 182398 w 809023"/>
                  <a:gd name="connsiteY1" fmla="*/ 1059635 h 1230313"/>
                  <a:gd name="connsiteX2" fmla="*/ 181682 w 809023"/>
                  <a:gd name="connsiteY2" fmla="*/ 1059635 h 1230313"/>
                  <a:gd name="connsiteX3" fmla="*/ 161611 w 809023"/>
                  <a:gd name="connsiteY3" fmla="*/ 1063206 h 1230313"/>
                  <a:gd name="connsiteX4" fmla="*/ 141540 w 809023"/>
                  <a:gd name="connsiteY4" fmla="*/ 1067491 h 1230313"/>
                  <a:gd name="connsiteX5" fmla="*/ 123620 w 809023"/>
                  <a:gd name="connsiteY5" fmla="*/ 1073204 h 1230313"/>
                  <a:gd name="connsiteX6" fmla="*/ 110001 w 809023"/>
                  <a:gd name="connsiteY6" fmla="*/ 1079631 h 1230313"/>
                  <a:gd name="connsiteX7" fmla="*/ 107134 w 809023"/>
                  <a:gd name="connsiteY7" fmla="*/ 1082487 h 1230313"/>
                  <a:gd name="connsiteX8" fmla="*/ 106417 w 809023"/>
                  <a:gd name="connsiteY8" fmla="*/ 1083202 h 1230313"/>
                  <a:gd name="connsiteX9" fmla="*/ 106417 w 809023"/>
                  <a:gd name="connsiteY9" fmla="*/ 1083916 h 1230313"/>
                  <a:gd name="connsiteX10" fmla="*/ 105700 w 809023"/>
                  <a:gd name="connsiteY10" fmla="*/ 1083916 h 1230313"/>
                  <a:gd name="connsiteX11" fmla="*/ 105700 w 809023"/>
                  <a:gd name="connsiteY11" fmla="*/ 1084630 h 1230313"/>
                  <a:gd name="connsiteX12" fmla="*/ 108567 w 809023"/>
                  <a:gd name="connsiteY12" fmla="*/ 1093914 h 1230313"/>
                  <a:gd name="connsiteX13" fmla="*/ 120036 w 809023"/>
                  <a:gd name="connsiteY13" fmla="*/ 1102483 h 1230313"/>
                  <a:gd name="connsiteX14" fmla="*/ 137956 w 809023"/>
                  <a:gd name="connsiteY14" fmla="*/ 1108196 h 1230313"/>
                  <a:gd name="connsiteX15" fmla="*/ 178098 w 809023"/>
                  <a:gd name="connsiteY15" fmla="*/ 1114623 h 1230313"/>
                  <a:gd name="connsiteX16" fmla="*/ 221106 w 809023"/>
                  <a:gd name="connsiteY16" fmla="*/ 1118194 h 1230313"/>
                  <a:gd name="connsiteX17" fmla="*/ 264831 w 809023"/>
                  <a:gd name="connsiteY17" fmla="*/ 1126764 h 1230313"/>
                  <a:gd name="connsiteX18" fmla="*/ 275583 w 809023"/>
                  <a:gd name="connsiteY18" fmla="*/ 1130334 h 1230313"/>
                  <a:gd name="connsiteX19" fmla="*/ 280601 w 809023"/>
                  <a:gd name="connsiteY19" fmla="*/ 1133191 h 1230313"/>
                  <a:gd name="connsiteX20" fmla="*/ 285618 w 809023"/>
                  <a:gd name="connsiteY20" fmla="*/ 1136047 h 1230313"/>
                  <a:gd name="connsiteX21" fmla="*/ 303539 w 809023"/>
                  <a:gd name="connsiteY21" fmla="*/ 1150330 h 1230313"/>
                  <a:gd name="connsiteX22" fmla="*/ 326476 w 809023"/>
                  <a:gd name="connsiteY22" fmla="*/ 1188179 h 1230313"/>
                  <a:gd name="connsiteX23" fmla="*/ 334361 w 809023"/>
                  <a:gd name="connsiteY23" fmla="*/ 1230313 h 1230313"/>
                  <a:gd name="connsiteX24" fmla="*/ 316441 w 809023"/>
                  <a:gd name="connsiteY24" fmla="*/ 1192464 h 1230313"/>
                  <a:gd name="connsiteX25" fmla="*/ 304255 w 809023"/>
                  <a:gd name="connsiteY25" fmla="*/ 1176753 h 1230313"/>
                  <a:gd name="connsiteX26" fmla="*/ 289919 w 809023"/>
                  <a:gd name="connsiteY26" fmla="*/ 1163899 h 1230313"/>
                  <a:gd name="connsiteX27" fmla="*/ 274150 w 809023"/>
                  <a:gd name="connsiteY27" fmla="*/ 1156043 h 1230313"/>
                  <a:gd name="connsiteX28" fmla="*/ 270565 w 809023"/>
                  <a:gd name="connsiteY28" fmla="*/ 1154615 h 1230313"/>
                  <a:gd name="connsiteX29" fmla="*/ 266265 w 809023"/>
                  <a:gd name="connsiteY29" fmla="*/ 1153187 h 1230313"/>
                  <a:gd name="connsiteX30" fmla="*/ 257663 w 809023"/>
                  <a:gd name="connsiteY30" fmla="*/ 1151758 h 1230313"/>
                  <a:gd name="connsiteX31" fmla="*/ 218239 w 809023"/>
                  <a:gd name="connsiteY31" fmla="*/ 1151758 h 1230313"/>
                  <a:gd name="connsiteX32" fmla="*/ 175947 w 809023"/>
                  <a:gd name="connsiteY32" fmla="*/ 1153901 h 1230313"/>
                  <a:gd name="connsiteX33" fmla="*/ 129355 w 809023"/>
                  <a:gd name="connsiteY33" fmla="*/ 1153187 h 1230313"/>
                  <a:gd name="connsiteX34" fmla="*/ 102833 w 809023"/>
                  <a:gd name="connsiteY34" fmla="*/ 1147474 h 1230313"/>
                  <a:gd name="connsiteX35" fmla="*/ 87780 w 809023"/>
                  <a:gd name="connsiteY35" fmla="*/ 1140332 h 1230313"/>
                  <a:gd name="connsiteX36" fmla="*/ 71293 w 809023"/>
                  <a:gd name="connsiteY36" fmla="*/ 1128192 h 1230313"/>
                  <a:gd name="connsiteX37" fmla="*/ 58391 w 809023"/>
                  <a:gd name="connsiteY37" fmla="*/ 1108910 h 1230313"/>
                  <a:gd name="connsiteX38" fmla="*/ 53373 w 809023"/>
                  <a:gd name="connsiteY38" fmla="*/ 1087486 h 1230313"/>
                  <a:gd name="connsiteX39" fmla="*/ 53373 w 809023"/>
                  <a:gd name="connsiteY39" fmla="*/ 1084630 h 1230313"/>
                  <a:gd name="connsiteX40" fmla="*/ 53373 w 809023"/>
                  <a:gd name="connsiteY40" fmla="*/ 1081773 h 1230313"/>
                  <a:gd name="connsiteX41" fmla="*/ 54090 w 809023"/>
                  <a:gd name="connsiteY41" fmla="*/ 1073918 h 1230313"/>
                  <a:gd name="connsiteX42" fmla="*/ 58391 w 809023"/>
                  <a:gd name="connsiteY42" fmla="*/ 1061063 h 1230313"/>
                  <a:gd name="connsiteX43" fmla="*/ 71293 w 809023"/>
                  <a:gd name="connsiteY43" fmla="*/ 1041782 h 1230313"/>
                  <a:gd name="connsiteX44" fmla="*/ 84913 w 809023"/>
                  <a:gd name="connsiteY44" fmla="*/ 1030356 h 1230313"/>
                  <a:gd name="connsiteX45" fmla="*/ 97098 w 809023"/>
                  <a:gd name="connsiteY45" fmla="*/ 1022500 h 1230313"/>
                  <a:gd name="connsiteX46" fmla="*/ 120753 w 809023"/>
                  <a:gd name="connsiteY46" fmla="*/ 1012502 h 1230313"/>
                  <a:gd name="connsiteX47" fmla="*/ 142974 w 809023"/>
                  <a:gd name="connsiteY47" fmla="*/ 1005361 h 1230313"/>
                  <a:gd name="connsiteX48" fmla="*/ 164478 w 809023"/>
                  <a:gd name="connsiteY48" fmla="*/ 999648 h 1230313"/>
                  <a:gd name="connsiteX49" fmla="*/ 182398 w 809023"/>
                  <a:gd name="connsiteY49" fmla="*/ 995363 h 1230313"/>
                  <a:gd name="connsiteX50" fmla="*/ 182393 w 809023"/>
                  <a:gd name="connsiteY50" fmla="*/ 671513 h 1230313"/>
                  <a:gd name="connsiteX51" fmla="*/ 182393 w 809023"/>
                  <a:gd name="connsiteY51" fmla="*/ 760096 h 1230313"/>
                  <a:gd name="connsiteX52" fmla="*/ 166728 w 809023"/>
                  <a:gd name="connsiteY52" fmla="*/ 761524 h 1230313"/>
                  <a:gd name="connsiteX53" fmla="*/ 127566 w 809023"/>
                  <a:gd name="connsiteY53" fmla="*/ 765811 h 1230313"/>
                  <a:gd name="connsiteX54" fmla="*/ 95524 w 809023"/>
                  <a:gd name="connsiteY54" fmla="*/ 775098 h 1230313"/>
                  <a:gd name="connsiteX55" fmla="*/ 89827 w 809023"/>
                  <a:gd name="connsiteY55" fmla="*/ 778669 h 1230313"/>
                  <a:gd name="connsiteX56" fmla="*/ 86267 w 809023"/>
                  <a:gd name="connsiteY56" fmla="*/ 781527 h 1230313"/>
                  <a:gd name="connsiteX57" fmla="*/ 84131 w 809023"/>
                  <a:gd name="connsiteY57" fmla="*/ 785099 h 1230313"/>
                  <a:gd name="connsiteX58" fmla="*/ 84131 w 809023"/>
                  <a:gd name="connsiteY58" fmla="*/ 787956 h 1230313"/>
                  <a:gd name="connsiteX59" fmla="*/ 84843 w 809023"/>
                  <a:gd name="connsiteY59" fmla="*/ 790814 h 1230313"/>
                  <a:gd name="connsiteX60" fmla="*/ 86267 w 809023"/>
                  <a:gd name="connsiteY60" fmla="*/ 793671 h 1230313"/>
                  <a:gd name="connsiteX61" fmla="*/ 89827 w 809023"/>
                  <a:gd name="connsiteY61" fmla="*/ 797243 h 1230313"/>
                  <a:gd name="connsiteX62" fmla="*/ 116885 w 809023"/>
                  <a:gd name="connsiteY62" fmla="*/ 812245 h 1230313"/>
                  <a:gd name="connsiteX63" fmla="*/ 153199 w 809023"/>
                  <a:gd name="connsiteY63" fmla="*/ 822961 h 1230313"/>
                  <a:gd name="connsiteX64" fmla="*/ 193785 w 809023"/>
                  <a:gd name="connsiteY64" fmla="*/ 830104 h 1230313"/>
                  <a:gd name="connsiteX65" fmla="*/ 236508 w 809023"/>
                  <a:gd name="connsiteY65" fmla="*/ 836534 h 1230313"/>
                  <a:gd name="connsiteX66" fmla="*/ 279942 w 809023"/>
                  <a:gd name="connsiteY66" fmla="*/ 845821 h 1230313"/>
                  <a:gd name="connsiteX67" fmla="*/ 327649 w 809023"/>
                  <a:gd name="connsiteY67" fmla="*/ 862251 h 1230313"/>
                  <a:gd name="connsiteX68" fmla="*/ 354706 w 809023"/>
                  <a:gd name="connsiteY68" fmla="*/ 877968 h 1230313"/>
                  <a:gd name="connsiteX69" fmla="*/ 368947 w 809023"/>
                  <a:gd name="connsiteY69" fmla="*/ 892255 h 1230313"/>
                  <a:gd name="connsiteX70" fmla="*/ 381052 w 809023"/>
                  <a:gd name="connsiteY70" fmla="*/ 912258 h 1230313"/>
                  <a:gd name="connsiteX71" fmla="*/ 386748 w 809023"/>
                  <a:gd name="connsiteY71" fmla="*/ 937261 h 1230313"/>
                  <a:gd name="connsiteX72" fmla="*/ 386748 w 809023"/>
                  <a:gd name="connsiteY72" fmla="*/ 943690 h 1230313"/>
                  <a:gd name="connsiteX73" fmla="*/ 386748 w 809023"/>
                  <a:gd name="connsiteY73" fmla="*/ 949405 h 1230313"/>
                  <a:gd name="connsiteX74" fmla="*/ 384612 w 809023"/>
                  <a:gd name="connsiteY74" fmla="*/ 961549 h 1230313"/>
                  <a:gd name="connsiteX75" fmla="*/ 376068 w 809023"/>
                  <a:gd name="connsiteY75" fmla="*/ 981552 h 1230313"/>
                  <a:gd name="connsiteX76" fmla="*/ 364675 w 809023"/>
                  <a:gd name="connsiteY76" fmla="*/ 997983 h 1230313"/>
                  <a:gd name="connsiteX77" fmla="*/ 338329 w 809023"/>
                  <a:gd name="connsiteY77" fmla="*/ 1018699 h 1230313"/>
                  <a:gd name="connsiteX78" fmla="*/ 314120 w 809023"/>
                  <a:gd name="connsiteY78" fmla="*/ 1030844 h 1230313"/>
                  <a:gd name="connsiteX79" fmla="*/ 302015 w 809023"/>
                  <a:gd name="connsiteY79" fmla="*/ 1035130 h 1230313"/>
                  <a:gd name="connsiteX80" fmla="*/ 290623 w 809023"/>
                  <a:gd name="connsiteY80" fmla="*/ 1039416 h 1230313"/>
                  <a:gd name="connsiteX81" fmla="*/ 277094 w 809023"/>
                  <a:gd name="connsiteY81" fmla="*/ 1042988 h 1230313"/>
                  <a:gd name="connsiteX82" fmla="*/ 277094 w 809023"/>
                  <a:gd name="connsiteY82" fmla="*/ 968693 h 1230313"/>
                  <a:gd name="connsiteX83" fmla="*/ 282790 w 809023"/>
                  <a:gd name="connsiteY83" fmla="*/ 966550 h 1230313"/>
                  <a:gd name="connsiteX84" fmla="*/ 297743 w 809023"/>
                  <a:gd name="connsiteY84" fmla="*/ 959406 h 1230313"/>
                  <a:gd name="connsiteX85" fmla="*/ 307712 w 809023"/>
                  <a:gd name="connsiteY85" fmla="*/ 950119 h 1230313"/>
                  <a:gd name="connsiteX86" fmla="*/ 311272 w 809023"/>
                  <a:gd name="connsiteY86" fmla="*/ 944404 h 1230313"/>
                  <a:gd name="connsiteX87" fmla="*/ 311272 w 809023"/>
                  <a:gd name="connsiteY87" fmla="*/ 942976 h 1230313"/>
                  <a:gd name="connsiteX88" fmla="*/ 311272 w 809023"/>
                  <a:gd name="connsiteY88" fmla="*/ 942261 h 1230313"/>
                  <a:gd name="connsiteX89" fmla="*/ 310560 w 809023"/>
                  <a:gd name="connsiteY89" fmla="*/ 942261 h 1230313"/>
                  <a:gd name="connsiteX90" fmla="*/ 305576 w 809023"/>
                  <a:gd name="connsiteY90" fmla="*/ 937975 h 1230313"/>
                  <a:gd name="connsiteX91" fmla="*/ 292759 w 809023"/>
                  <a:gd name="connsiteY91" fmla="*/ 931546 h 1230313"/>
                  <a:gd name="connsiteX92" fmla="*/ 257869 w 809023"/>
                  <a:gd name="connsiteY92" fmla="*/ 920830 h 1230313"/>
                  <a:gd name="connsiteX93" fmla="*/ 217283 w 809023"/>
                  <a:gd name="connsiteY93" fmla="*/ 914401 h 1230313"/>
                  <a:gd name="connsiteX94" fmla="*/ 174560 w 809023"/>
                  <a:gd name="connsiteY94" fmla="*/ 907971 h 1230313"/>
                  <a:gd name="connsiteX95" fmla="*/ 131126 w 809023"/>
                  <a:gd name="connsiteY95" fmla="*/ 900828 h 1230313"/>
                  <a:gd name="connsiteX96" fmla="*/ 84131 w 809023"/>
                  <a:gd name="connsiteY96" fmla="*/ 887254 h 1230313"/>
                  <a:gd name="connsiteX97" fmla="*/ 57786 w 809023"/>
                  <a:gd name="connsiteY97" fmla="*/ 875824 h 1230313"/>
                  <a:gd name="connsiteX98" fmla="*/ 30728 w 809023"/>
                  <a:gd name="connsiteY98" fmla="*/ 856536 h 1230313"/>
                  <a:gd name="connsiteX99" fmla="*/ 17199 w 809023"/>
                  <a:gd name="connsiteY99" fmla="*/ 840820 h 1230313"/>
                  <a:gd name="connsiteX100" fmla="*/ 6518 w 809023"/>
                  <a:gd name="connsiteY100" fmla="*/ 820103 h 1230313"/>
                  <a:gd name="connsiteX101" fmla="*/ 822 w 809023"/>
                  <a:gd name="connsiteY101" fmla="*/ 795814 h 1230313"/>
                  <a:gd name="connsiteX102" fmla="*/ 822 w 809023"/>
                  <a:gd name="connsiteY102" fmla="*/ 771526 h 1230313"/>
                  <a:gd name="connsiteX103" fmla="*/ 8654 w 809023"/>
                  <a:gd name="connsiteY103" fmla="*/ 747237 h 1230313"/>
                  <a:gd name="connsiteX104" fmla="*/ 22183 w 809023"/>
                  <a:gd name="connsiteY104" fmla="*/ 725806 h 1230313"/>
                  <a:gd name="connsiteX105" fmla="*/ 37848 w 809023"/>
                  <a:gd name="connsiteY105" fmla="*/ 711518 h 1230313"/>
                  <a:gd name="connsiteX106" fmla="*/ 53513 w 809023"/>
                  <a:gd name="connsiteY106" fmla="*/ 701517 h 1230313"/>
                  <a:gd name="connsiteX107" fmla="*/ 81995 w 809023"/>
                  <a:gd name="connsiteY107" fmla="*/ 688658 h 1230313"/>
                  <a:gd name="connsiteX108" fmla="*/ 94812 w 809023"/>
                  <a:gd name="connsiteY108" fmla="*/ 685086 h 1230313"/>
                  <a:gd name="connsiteX109" fmla="*/ 106916 w 809023"/>
                  <a:gd name="connsiteY109" fmla="*/ 682229 h 1230313"/>
                  <a:gd name="connsiteX110" fmla="*/ 153911 w 809023"/>
                  <a:gd name="connsiteY110" fmla="*/ 674371 h 1230313"/>
                  <a:gd name="connsiteX111" fmla="*/ 182393 w 809023"/>
                  <a:gd name="connsiteY111" fmla="*/ 671513 h 1230313"/>
                  <a:gd name="connsiteX112" fmla="*/ 121190 w 809023"/>
                  <a:gd name="connsiteY112" fmla="*/ 146050 h 1230313"/>
                  <a:gd name="connsiteX113" fmla="*/ 100998 w 809023"/>
                  <a:gd name="connsiteY113" fmla="*/ 166688 h 1230313"/>
                  <a:gd name="connsiteX114" fmla="*/ 118405 w 809023"/>
                  <a:gd name="connsiteY114" fmla="*/ 187325 h 1230313"/>
                  <a:gd name="connsiteX115" fmla="*/ 121190 w 809023"/>
                  <a:gd name="connsiteY115" fmla="*/ 187325 h 1230313"/>
                  <a:gd name="connsiteX116" fmla="*/ 140686 w 809023"/>
                  <a:gd name="connsiteY116" fmla="*/ 166688 h 1230313"/>
                  <a:gd name="connsiteX117" fmla="*/ 137901 w 809023"/>
                  <a:gd name="connsiteY117" fmla="*/ 156013 h 1230313"/>
                  <a:gd name="connsiteX118" fmla="*/ 121190 w 809023"/>
                  <a:gd name="connsiteY118" fmla="*/ 146050 h 1230313"/>
                  <a:gd name="connsiteX119" fmla="*/ 433210 w 809023"/>
                  <a:gd name="connsiteY119" fmla="*/ 0 h 1230313"/>
                  <a:gd name="connsiteX120" fmla="*/ 433923 w 809023"/>
                  <a:gd name="connsiteY120" fmla="*/ 0 h 1230313"/>
                  <a:gd name="connsiteX121" fmla="*/ 438915 w 809023"/>
                  <a:gd name="connsiteY121" fmla="*/ 0 h 1230313"/>
                  <a:gd name="connsiteX122" fmla="*/ 441768 w 809023"/>
                  <a:gd name="connsiteY122" fmla="*/ 0 h 1230313"/>
                  <a:gd name="connsiteX123" fmla="*/ 753400 w 809023"/>
                  <a:gd name="connsiteY123" fmla="*/ 175736 h 1230313"/>
                  <a:gd name="connsiteX124" fmla="*/ 809023 w 809023"/>
                  <a:gd name="connsiteY124" fmla="*/ 370761 h 1230313"/>
                  <a:gd name="connsiteX125" fmla="*/ 483842 w 809023"/>
                  <a:gd name="connsiteY125" fmla="*/ 737950 h 1230313"/>
                  <a:gd name="connsiteX126" fmla="*/ 483129 w 809023"/>
                  <a:gd name="connsiteY126" fmla="*/ 737950 h 1230313"/>
                  <a:gd name="connsiteX127" fmla="*/ 289161 w 809023"/>
                  <a:gd name="connsiteY127" fmla="*/ 757238 h 1230313"/>
                  <a:gd name="connsiteX128" fmla="*/ 277038 w 809023"/>
                  <a:gd name="connsiteY128" fmla="*/ 757238 h 1230313"/>
                  <a:gd name="connsiteX129" fmla="*/ 277038 w 809023"/>
                  <a:gd name="connsiteY129" fmla="*/ 702946 h 1230313"/>
                  <a:gd name="connsiteX130" fmla="*/ 277038 w 809023"/>
                  <a:gd name="connsiteY130" fmla="*/ 665798 h 1230313"/>
                  <a:gd name="connsiteX131" fmla="*/ 277751 w 809023"/>
                  <a:gd name="connsiteY131" fmla="*/ 665798 h 1230313"/>
                  <a:gd name="connsiteX132" fmla="*/ 278464 w 809023"/>
                  <a:gd name="connsiteY132" fmla="*/ 665798 h 1230313"/>
                  <a:gd name="connsiteX133" fmla="*/ 618621 w 809023"/>
                  <a:gd name="connsiteY133" fmla="*/ 574358 h 1230313"/>
                  <a:gd name="connsiteX134" fmla="*/ 709900 w 809023"/>
                  <a:gd name="connsiteY134" fmla="*/ 370761 h 1230313"/>
                  <a:gd name="connsiteX135" fmla="*/ 438915 w 809023"/>
                  <a:gd name="connsiteY135" fmla="*/ 98584 h 1230313"/>
                  <a:gd name="connsiteX136" fmla="*/ 289874 w 809023"/>
                  <a:gd name="connsiteY136" fmla="*/ 143590 h 1230313"/>
                  <a:gd name="connsiteX137" fmla="*/ 248513 w 809023"/>
                  <a:gd name="connsiteY137" fmla="*/ 220742 h 1230313"/>
                  <a:gd name="connsiteX138" fmla="*/ 191464 w 809023"/>
                  <a:gd name="connsiteY138" fmla="*/ 260747 h 1230313"/>
                  <a:gd name="connsiteX139" fmla="*/ 76652 w 809023"/>
                  <a:gd name="connsiteY139" fmla="*/ 300038 h 1230313"/>
                  <a:gd name="connsiteX140" fmla="*/ 60963 w 809023"/>
                  <a:gd name="connsiteY140" fmla="*/ 281464 h 1230313"/>
                  <a:gd name="connsiteX141" fmla="*/ 98758 w 809023"/>
                  <a:gd name="connsiteY141" fmla="*/ 94298 h 1230313"/>
                  <a:gd name="connsiteX142" fmla="*/ 167931 w 809023"/>
                  <a:gd name="connsiteY142" fmla="*/ 59293 h 1230313"/>
                  <a:gd name="connsiteX143" fmla="*/ 212144 w 809023"/>
                  <a:gd name="connsiteY143" fmla="*/ 64294 h 1230313"/>
                  <a:gd name="connsiteX144" fmla="*/ 237103 w 809023"/>
                  <a:gd name="connsiteY144" fmla="*/ 49292 h 1230313"/>
                  <a:gd name="connsiteX145" fmla="*/ 327669 w 809023"/>
                  <a:gd name="connsiteY145" fmla="*/ 15002 h 1230313"/>
                  <a:gd name="connsiteX146" fmla="*/ 410391 w 809023"/>
                  <a:gd name="connsiteY146" fmla="*/ 1429 h 1230313"/>
                  <a:gd name="connsiteX147" fmla="*/ 433210 w 809023"/>
                  <a:gd name="connsiteY147" fmla="*/ 0 h 1230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</a:cxnLst>
                <a:rect l="l" t="t" r="r" b="b"/>
                <a:pathLst>
                  <a:path w="809023" h="1230313">
                    <a:moveTo>
                      <a:pt x="182398" y="995363"/>
                    </a:moveTo>
                    <a:cubicBezTo>
                      <a:pt x="182398" y="995363"/>
                      <a:pt x="182398" y="995363"/>
                      <a:pt x="182398" y="1059635"/>
                    </a:cubicBezTo>
                    <a:cubicBezTo>
                      <a:pt x="182398" y="1059635"/>
                      <a:pt x="182398" y="1059635"/>
                      <a:pt x="181682" y="1059635"/>
                    </a:cubicBezTo>
                    <a:cubicBezTo>
                      <a:pt x="175230" y="1061063"/>
                      <a:pt x="168062" y="1061778"/>
                      <a:pt x="161611" y="1063206"/>
                    </a:cubicBezTo>
                    <a:cubicBezTo>
                      <a:pt x="155160" y="1064634"/>
                      <a:pt x="147992" y="1066062"/>
                      <a:pt x="141540" y="1067491"/>
                    </a:cubicBezTo>
                    <a:cubicBezTo>
                      <a:pt x="135806" y="1068919"/>
                      <a:pt x="129355" y="1071061"/>
                      <a:pt x="123620" y="1073204"/>
                    </a:cubicBezTo>
                    <a:cubicBezTo>
                      <a:pt x="118603" y="1075346"/>
                      <a:pt x="113585" y="1077489"/>
                      <a:pt x="110001" y="1079631"/>
                    </a:cubicBezTo>
                    <a:cubicBezTo>
                      <a:pt x="108567" y="1081059"/>
                      <a:pt x="107851" y="1081773"/>
                      <a:pt x="107134" y="1082487"/>
                    </a:cubicBezTo>
                    <a:cubicBezTo>
                      <a:pt x="107134" y="1083202"/>
                      <a:pt x="106417" y="1083202"/>
                      <a:pt x="106417" y="1083202"/>
                    </a:cubicBezTo>
                    <a:cubicBezTo>
                      <a:pt x="106417" y="1083202"/>
                      <a:pt x="106417" y="1083202"/>
                      <a:pt x="106417" y="1083916"/>
                    </a:cubicBezTo>
                    <a:cubicBezTo>
                      <a:pt x="106417" y="1083916"/>
                      <a:pt x="106417" y="1083916"/>
                      <a:pt x="105700" y="1083916"/>
                    </a:cubicBezTo>
                    <a:cubicBezTo>
                      <a:pt x="105700" y="1083916"/>
                      <a:pt x="105700" y="1083916"/>
                      <a:pt x="105700" y="1084630"/>
                    </a:cubicBezTo>
                    <a:cubicBezTo>
                      <a:pt x="105700" y="1088201"/>
                      <a:pt x="106417" y="1091057"/>
                      <a:pt x="108567" y="1093914"/>
                    </a:cubicBezTo>
                    <a:cubicBezTo>
                      <a:pt x="110718" y="1096770"/>
                      <a:pt x="115019" y="1099627"/>
                      <a:pt x="120036" y="1102483"/>
                    </a:cubicBezTo>
                    <a:cubicBezTo>
                      <a:pt x="125054" y="1104626"/>
                      <a:pt x="131505" y="1106768"/>
                      <a:pt x="137956" y="1108196"/>
                    </a:cubicBezTo>
                    <a:cubicBezTo>
                      <a:pt x="150859" y="1111053"/>
                      <a:pt x="164478" y="1113195"/>
                      <a:pt x="178098" y="1114623"/>
                    </a:cubicBezTo>
                    <a:cubicBezTo>
                      <a:pt x="192434" y="1116052"/>
                      <a:pt x="206770" y="1116766"/>
                      <a:pt x="221106" y="1118194"/>
                    </a:cubicBezTo>
                    <a:cubicBezTo>
                      <a:pt x="235442" y="1120337"/>
                      <a:pt x="249778" y="1121765"/>
                      <a:pt x="264831" y="1126764"/>
                    </a:cubicBezTo>
                    <a:cubicBezTo>
                      <a:pt x="268415" y="1127478"/>
                      <a:pt x="271999" y="1128906"/>
                      <a:pt x="275583" y="1130334"/>
                    </a:cubicBezTo>
                    <a:cubicBezTo>
                      <a:pt x="277017" y="1131049"/>
                      <a:pt x="279167" y="1131763"/>
                      <a:pt x="280601" y="1133191"/>
                    </a:cubicBezTo>
                    <a:cubicBezTo>
                      <a:pt x="282751" y="1133905"/>
                      <a:pt x="284185" y="1134619"/>
                      <a:pt x="285618" y="1136047"/>
                    </a:cubicBezTo>
                    <a:cubicBezTo>
                      <a:pt x="292070" y="1140332"/>
                      <a:pt x="297804" y="1144617"/>
                      <a:pt x="303539" y="1150330"/>
                    </a:cubicBezTo>
                    <a:cubicBezTo>
                      <a:pt x="313574" y="1161756"/>
                      <a:pt x="321459" y="1174611"/>
                      <a:pt x="326476" y="1188179"/>
                    </a:cubicBezTo>
                    <a:cubicBezTo>
                      <a:pt x="331494" y="1201748"/>
                      <a:pt x="334361" y="1216030"/>
                      <a:pt x="334361" y="1230313"/>
                    </a:cubicBezTo>
                    <a:cubicBezTo>
                      <a:pt x="330060" y="1216745"/>
                      <a:pt x="323609" y="1203890"/>
                      <a:pt x="316441" y="1192464"/>
                    </a:cubicBezTo>
                    <a:cubicBezTo>
                      <a:pt x="312857" y="1186751"/>
                      <a:pt x="308556" y="1181752"/>
                      <a:pt x="304255" y="1176753"/>
                    </a:cubicBezTo>
                    <a:cubicBezTo>
                      <a:pt x="299955" y="1171754"/>
                      <a:pt x="294937" y="1167469"/>
                      <a:pt x="289919" y="1163899"/>
                    </a:cubicBezTo>
                    <a:cubicBezTo>
                      <a:pt x="284902" y="1161042"/>
                      <a:pt x="279884" y="1158186"/>
                      <a:pt x="274150" y="1156043"/>
                    </a:cubicBezTo>
                    <a:cubicBezTo>
                      <a:pt x="272716" y="1155329"/>
                      <a:pt x="271282" y="1154615"/>
                      <a:pt x="270565" y="1154615"/>
                    </a:cubicBezTo>
                    <a:cubicBezTo>
                      <a:pt x="269132" y="1153901"/>
                      <a:pt x="267698" y="1153901"/>
                      <a:pt x="266265" y="1153187"/>
                    </a:cubicBezTo>
                    <a:cubicBezTo>
                      <a:pt x="263397" y="1153187"/>
                      <a:pt x="260530" y="1152473"/>
                      <a:pt x="257663" y="1151758"/>
                    </a:cubicBezTo>
                    <a:cubicBezTo>
                      <a:pt x="245477" y="1151044"/>
                      <a:pt x="232575" y="1151044"/>
                      <a:pt x="218239" y="1151758"/>
                    </a:cubicBezTo>
                    <a:cubicBezTo>
                      <a:pt x="204619" y="1152473"/>
                      <a:pt x="191000" y="1153187"/>
                      <a:pt x="175947" y="1153901"/>
                    </a:cubicBezTo>
                    <a:cubicBezTo>
                      <a:pt x="161611" y="1154615"/>
                      <a:pt x="145841" y="1154615"/>
                      <a:pt x="129355" y="1153187"/>
                    </a:cubicBezTo>
                    <a:cubicBezTo>
                      <a:pt x="120753" y="1151758"/>
                      <a:pt x="112151" y="1150330"/>
                      <a:pt x="102833" y="1147474"/>
                    </a:cubicBezTo>
                    <a:cubicBezTo>
                      <a:pt x="97815" y="1145331"/>
                      <a:pt x="92798" y="1143189"/>
                      <a:pt x="87780" y="1140332"/>
                    </a:cubicBezTo>
                    <a:cubicBezTo>
                      <a:pt x="82045" y="1137476"/>
                      <a:pt x="77028" y="1133905"/>
                      <a:pt x="71293" y="1128192"/>
                    </a:cubicBezTo>
                    <a:cubicBezTo>
                      <a:pt x="66276" y="1123193"/>
                      <a:pt x="61975" y="1116766"/>
                      <a:pt x="58391" y="1108910"/>
                    </a:cubicBezTo>
                    <a:cubicBezTo>
                      <a:pt x="55523" y="1101769"/>
                      <a:pt x="54090" y="1094628"/>
                      <a:pt x="53373" y="1087486"/>
                    </a:cubicBezTo>
                    <a:cubicBezTo>
                      <a:pt x="53373" y="1086772"/>
                      <a:pt x="53373" y="1086058"/>
                      <a:pt x="53373" y="1084630"/>
                    </a:cubicBezTo>
                    <a:cubicBezTo>
                      <a:pt x="53373" y="1083916"/>
                      <a:pt x="53373" y="1082487"/>
                      <a:pt x="53373" y="1081773"/>
                    </a:cubicBezTo>
                    <a:cubicBezTo>
                      <a:pt x="53373" y="1078917"/>
                      <a:pt x="53373" y="1076774"/>
                      <a:pt x="54090" y="1073918"/>
                    </a:cubicBezTo>
                    <a:cubicBezTo>
                      <a:pt x="54806" y="1069633"/>
                      <a:pt x="56240" y="1064634"/>
                      <a:pt x="58391" y="1061063"/>
                    </a:cubicBezTo>
                    <a:cubicBezTo>
                      <a:pt x="61975" y="1052494"/>
                      <a:pt x="66993" y="1046067"/>
                      <a:pt x="71293" y="1041782"/>
                    </a:cubicBezTo>
                    <a:cubicBezTo>
                      <a:pt x="76311" y="1036783"/>
                      <a:pt x="80612" y="1033212"/>
                      <a:pt x="84913" y="1030356"/>
                    </a:cubicBezTo>
                    <a:cubicBezTo>
                      <a:pt x="89214" y="1027499"/>
                      <a:pt x="93514" y="1024643"/>
                      <a:pt x="97098" y="1022500"/>
                    </a:cubicBezTo>
                    <a:cubicBezTo>
                      <a:pt x="105700" y="1018215"/>
                      <a:pt x="113585" y="1015359"/>
                      <a:pt x="120753" y="1012502"/>
                    </a:cubicBezTo>
                    <a:cubicBezTo>
                      <a:pt x="128638" y="1009646"/>
                      <a:pt x="135806" y="1007503"/>
                      <a:pt x="142974" y="1005361"/>
                    </a:cubicBezTo>
                    <a:cubicBezTo>
                      <a:pt x="150142" y="1003219"/>
                      <a:pt x="157310" y="1001790"/>
                      <a:pt x="164478" y="999648"/>
                    </a:cubicBezTo>
                    <a:cubicBezTo>
                      <a:pt x="170929" y="998220"/>
                      <a:pt x="176664" y="996791"/>
                      <a:pt x="182398" y="995363"/>
                    </a:cubicBezTo>
                    <a:close/>
                    <a:moveTo>
                      <a:pt x="182393" y="671513"/>
                    </a:moveTo>
                    <a:cubicBezTo>
                      <a:pt x="182393" y="760096"/>
                      <a:pt x="182393" y="760096"/>
                      <a:pt x="182393" y="760096"/>
                    </a:cubicBezTo>
                    <a:cubicBezTo>
                      <a:pt x="177408" y="760810"/>
                      <a:pt x="172424" y="760810"/>
                      <a:pt x="166728" y="761524"/>
                    </a:cubicBezTo>
                    <a:cubicBezTo>
                      <a:pt x="153199" y="762239"/>
                      <a:pt x="140382" y="763668"/>
                      <a:pt x="127566" y="765811"/>
                    </a:cubicBezTo>
                    <a:cubicBezTo>
                      <a:pt x="115461" y="767954"/>
                      <a:pt x="104068" y="771526"/>
                      <a:pt x="95524" y="775098"/>
                    </a:cubicBezTo>
                    <a:cubicBezTo>
                      <a:pt x="93388" y="776526"/>
                      <a:pt x="91251" y="777241"/>
                      <a:pt x="89827" y="778669"/>
                    </a:cubicBezTo>
                    <a:cubicBezTo>
                      <a:pt x="88403" y="779384"/>
                      <a:pt x="86979" y="780098"/>
                      <a:pt x="86267" y="781527"/>
                    </a:cubicBezTo>
                    <a:cubicBezTo>
                      <a:pt x="84843" y="782956"/>
                      <a:pt x="84843" y="783670"/>
                      <a:pt x="84131" y="785099"/>
                    </a:cubicBezTo>
                    <a:cubicBezTo>
                      <a:pt x="84131" y="785813"/>
                      <a:pt x="84131" y="787242"/>
                      <a:pt x="84131" y="787956"/>
                    </a:cubicBezTo>
                    <a:cubicBezTo>
                      <a:pt x="84131" y="789385"/>
                      <a:pt x="84131" y="790099"/>
                      <a:pt x="84843" y="790814"/>
                    </a:cubicBezTo>
                    <a:cubicBezTo>
                      <a:pt x="84843" y="791528"/>
                      <a:pt x="85555" y="792957"/>
                      <a:pt x="86267" y="793671"/>
                    </a:cubicBezTo>
                    <a:cubicBezTo>
                      <a:pt x="86979" y="795100"/>
                      <a:pt x="88403" y="795814"/>
                      <a:pt x="89827" y="797243"/>
                    </a:cubicBezTo>
                    <a:cubicBezTo>
                      <a:pt x="94812" y="802244"/>
                      <a:pt x="105492" y="808673"/>
                      <a:pt x="116885" y="812245"/>
                    </a:cubicBezTo>
                    <a:cubicBezTo>
                      <a:pt x="127566" y="816531"/>
                      <a:pt x="140382" y="820103"/>
                      <a:pt x="153199" y="822961"/>
                    </a:cubicBezTo>
                    <a:cubicBezTo>
                      <a:pt x="166728" y="825818"/>
                      <a:pt x="180257" y="827961"/>
                      <a:pt x="193785" y="830104"/>
                    </a:cubicBezTo>
                    <a:cubicBezTo>
                      <a:pt x="236508" y="836534"/>
                      <a:pt x="236508" y="836534"/>
                      <a:pt x="236508" y="836534"/>
                    </a:cubicBezTo>
                    <a:cubicBezTo>
                      <a:pt x="250749" y="839391"/>
                      <a:pt x="264989" y="842249"/>
                      <a:pt x="279942" y="845821"/>
                    </a:cubicBezTo>
                    <a:cubicBezTo>
                      <a:pt x="295607" y="849393"/>
                      <a:pt x="310560" y="853679"/>
                      <a:pt x="327649" y="862251"/>
                    </a:cubicBezTo>
                    <a:cubicBezTo>
                      <a:pt x="335481" y="865823"/>
                      <a:pt x="345450" y="870824"/>
                      <a:pt x="354706" y="877968"/>
                    </a:cubicBezTo>
                    <a:cubicBezTo>
                      <a:pt x="358979" y="882254"/>
                      <a:pt x="363963" y="886540"/>
                      <a:pt x="368947" y="892255"/>
                    </a:cubicBezTo>
                    <a:cubicBezTo>
                      <a:pt x="373219" y="897970"/>
                      <a:pt x="377492" y="904399"/>
                      <a:pt x="381052" y="912258"/>
                    </a:cubicBezTo>
                    <a:cubicBezTo>
                      <a:pt x="383900" y="920116"/>
                      <a:pt x="386036" y="929403"/>
                      <a:pt x="386748" y="937261"/>
                    </a:cubicBezTo>
                    <a:cubicBezTo>
                      <a:pt x="386748" y="939404"/>
                      <a:pt x="386748" y="941547"/>
                      <a:pt x="386748" y="943690"/>
                    </a:cubicBezTo>
                    <a:cubicBezTo>
                      <a:pt x="386748" y="945833"/>
                      <a:pt x="386748" y="947976"/>
                      <a:pt x="386748" y="949405"/>
                    </a:cubicBezTo>
                    <a:cubicBezTo>
                      <a:pt x="386036" y="953691"/>
                      <a:pt x="385324" y="957263"/>
                      <a:pt x="384612" y="961549"/>
                    </a:cubicBezTo>
                    <a:cubicBezTo>
                      <a:pt x="382476" y="967979"/>
                      <a:pt x="379628" y="975123"/>
                      <a:pt x="376068" y="981552"/>
                    </a:cubicBezTo>
                    <a:cubicBezTo>
                      <a:pt x="372507" y="987981"/>
                      <a:pt x="368235" y="993696"/>
                      <a:pt x="364675" y="997983"/>
                    </a:cubicBezTo>
                    <a:cubicBezTo>
                      <a:pt x="356130" y="1007269"/>
                      <a:pt x="347586" y="1013699"/>
                      <a:pt x="338329" y="1018699"/>
                    </a:cubicBezTo>
                    <a:cubicBezTo>
                      <a:pt x="329785" y="1023700"/>
                      <a:pt x="321953" y="1027986"/>
                      <a:pt x="314120" y="1030844"/>
                    </a:cubicBezTo>
                    <a:cubicBezTo>
                      <a:pt x="309848" y="1032273"/>
                      <a:pt x="306288" y="1034416"/>
                      <a:pt x="302015" y="1035130"/>
                    </a:cubicBezTo>
                    <a:cubicBezTo>
                      <a:pt x="298455" y="1036559"/>
                      <a:pt x="294183" y="1037988"/>
                      <a:pt x="290623" y="1039416"/>
                    </a:cubicBezTo>
                    <a:cubicBezTo>
                      <a:pt x="286351" y="1040131"/>
                      <a:pt x="282078" y="1041559"/>
                      <a:pt x="277094" y="1042988"/>
                    </a:cubicBezTo>
                    <a:cubicBezTo>
                      <a:pt x="277094" y="968693"/>
                      <a:pt x="277094" y="968693"/>
                      <a:pt x="277094" y="968693"/>
                    </a:cubicBezTo>
                    <a:cubicBezTo>
                      <a:pt x="279230" y="967979"/>
                      <a:pt x="281366" y="967264"/>
                      <a:pt x="282790" y="966550"/>
                    </a:cubicBezTo>
                    <a:cubicBezTo>
                      <a:pt x="288487" y="964407"/>
                      <a:pt x="293471" y="962264"/>
                      <a:pt x="297743" y="959406"/>
                    </a:cubicBezTo>
                    <a:cubicBezTo>
                      <a:pt x="302015" y="956549"/>
                      <a:pt x="305576" y="952977"/>
                      <a:pt x="307712" y="950119"/>
                    </a:cubicBezTo>
                    <a:cubicBezTo>
                      <a:pt x="309848" y="947976"/>
                      <a:pt x="310560" y="945833"/>
                      <a:pt x="311272" y="944404"/>
                    </a:cubicBezTo>
                    <a:cubicBezTo>
                      <a:pt x="311272" y="943690"/>
                      <a:pt x="311272" y="943690"/>
                      <a:pt x="311272" y="942976"/>
                    </a:cubicBezTo>
                    <a:cubicBezTo>
                      <a:pt x="311272" y="942976"/>
                      <a:pt x="311272" y="942976"/>
                      <a:pt x="311272" y="942261"/>
                    </a:cubicBezTo>
                    <a:cubicBezTo>
                      <a:pt x="310560" y="942261"/>
                      <a:pt x="310560" y="942261"/>
                      <a:pt x="310560" y="942261"/>
                    </a:cubicBezTo>
                    <a:cubicBezTo>
                      <a:pt x="309848" y="941547"/>
                      <a:pt x="309136" y="940118"/>
                      <a:pt x="305576" y="937975"/>
                    </a:cubicBezTo>
                    <a:cubicBezTo>
                      <a:pt x="302727" y="935832"/>
                      <a:pt x="298455" y="933689"/>
                      <a:pt x="292759" y="931546"/>
                    </a:cubicBezTo>
                    <a:cubicBezTo>
                      <a:pt x="282790" y="927259"/>
                      <a:pt x="270686" y="923688"/>
                      <a:pt x="257869" y="920830"/>
                    </a:cubicBezTo>
                    <a:cubicBezTo>
                      <a:pt x="245052" y="918687"/>
                      <a:pt x="231523" y="916544"/>
                      <a:pt x="217283" y="914401"/>
                    </a:cubicBezTo>
                    <a:cubicBezTo>
                      <a:pt x="174560" y="907971"/>
                      <a:pt x="174560" y="907971"/>
                      <a:pt x="174560" y="907971"/>
                    </a:cubicBezTo>
                    <a:cubicBezTo>
                      <a:pt x="160319" y="905828"/>
                      <a:pt x="146079" y="903685"/>
                      <a:pt x="131126" y="900828"/>
                    </a:cubicBezTo>
                    <a:cubicBezTo>
                      <a:pt x="116173" y="897256"/>
                      <a:pt x="100508" y="893684"/>
                      <a:pt x="84131" y="887254"/>
                    </a:cubicBezTo>
                    <a:cubicBezTo>
                      <a:pt x="75587" y="884397"/>
                      <a:pt x="67042" y="880825"/>
                      <a:pt x="57786" y="875824"/>
                    </a:cubicBezTo>
                    <a:cubicBezTo>
                      <a:pt x="49241" y="871538"/>
                      <a:pt x="39984" y="865109"/>
                      <a:pt x="30728" y="856536"/>
                    </a:cubicBezTo>
                    <a:cubicBezTo>
                      <a:pt x="26455" y="852250"/>
                      <a:pt x="21471" y="847249"/>
                      <a:pt x="17199" y="840820"/>
                    </a:cubicBezTo>
                    <a:cubicBezTo>
                      <a:pt x="12927" y="835105"/>
                      <a:pt x="9366" y="827961"/>
                      <a:pt x="6518" y="820103"/>
                    </a:cubicBezTo>
                    <a:cubicBezTo>
                      <a:pt x="2958" y="812959"/>
                      <a:pt x="1534" y="804387"/>
                      <a:pt x="822" y="795814"/>
                    </a:cubicBezTo>
                    <a:cubicBezTo>
                      <a:pt x="-602" y="787956"/>
                      <a:pt x="110" y="780098"/>
                      <a:pt x="822" y="771526"/>
                    </a:cubicBezTo>
                    <a:cubicBezTo>
                      <a:pt x="2246" y="763668"/>
                      <a:pt x="5094" y="755095"/>
                      <a:pt x="8654" y="747237"/>
                    </a:cubicBezTo>
                    <a:cubicBezTo>
                      <a:pt x="12214" y="739379"/>
                      <a:pt x="17199" y="732235"/>
                      <a:pt x="22183" y="725806"/>
                    </a:cubicBezTo>
                    <a:cubicBezTo>
                      <a:pt x="27167" y="720091"/>
                      <a:pt x="32864" y="715090"/>
                      <a:pt x="37848" y="711518"/>
                    </a:cubicBezTo>
                    <a:cubicBezTo>
                      <a:pt x="42832" y="707232"/>
                      <a:pt x="48529" y="703660"/>
                      <a:pt x="53513" y="701517"/>
                    </a:cubicBezTo>
                    <a:cubicBezTo>
                      <a:pt x="62770" y="695802"/>
                      <a:pt x="72026" y="692230"/>
                      <a:pt x="81995" y="688658"/>
                    </a:cubicBezTo>
                    <a:cubicBezTo>
                      <a:pt x="86267" y="687229"/>
                      <a:pt x="90539" y="686515"/>
                      <a:pt x="94812" y="685086"/>
                    </a:cubicBezTo>
                    <a:cubicBezTo>
                      <a:pt x="99084" y="683658"/>
                      <a:pt x="102644" y="682943"/>
                      <a:pt x="106916" y="682229"/>
                    </a:cubicBezTo>
                    <a:cubicBezTo>
                      <a:pt x="123293" y="678657"/>
                      <a:pt x="138958" y="675799"/>
                      <a:pt x="153911" y="674371"/>
                    </a:cubicBezTo>
                    <a:cubicBezTo>
                      <a:pt x="163168" y="673656"/>
                      <a:pt x="173136" y="672228"/>
                      <a:pt x="182393" y="671513"/>
                    </a:cubicBezTo>
                    <a:close/>
                    <a:moveTo>
                      <a:pt x="121190" y="146050"/>
                    </a:moveTo>
                    <a:cubicBezTo>
                      <a:pt x="110050" y="146050"/>
                      <a:pt x="100998" y="155301"/>
                      <a:pt x="100998" y="166688"/>
                    </a:cubicBezTo>
                    <a:cubicBezTo>
                      <a:pt x="100998" y="177362"/>
                      <a:pt x="108657" y="185902"/>
                      <a:pt x="118405" y="187325"/>
                    </a:cubicBezTo>
                    <a:cubicBezTo>
                      <a:pt x="119102" y="187325"/>
                      <a:pt x="119798" y="187325"/>
                      <a:pt x="121190" y="187325"/>
                    </a:cubicBezTo>
                    <a:cubicBezTo>
                      <a:pt x="131635" y="187325"/>
                      <a:pt x="140686" y="178074"/>
                      <a:pt x="140686" y="166688"/>
                    </a:cubicBezTo>
                    <a:cubicBezTo>
                      <a:pt x="140686" y="162418"/>
                      <a:pt x="139294" y="158860"/>
                      <a:pt x="137901" y="156013"/>
                    </a:cubicBezTo>
                    <a:cubicBezTo>
                      <a:pt x="134420" y="150320"/>
                      <a:pt x="128153" y="146050"/>
                      <a:pt x="121190" y="146050"/>
                    </a:cubicBezTo>
                    <a:close/>
                    <a:moveTo>
                      <a:pt x="433210" y="0"/>
                    </a:moveTo>
                    <a:cubicBezTo>
                      <a:pt x="433923" y="0"/>
                      <a:pt x="433923" y="0"/>
                      <a:pt x="433923" y="0"/>
                    </a:cubicBezTo>
                    <a:cubicBezTo>
                      <a:pt x="436063" y="0"/>
                      <a:pt x="437489" y="0"/>
                      <a:pt x="438915" y="0"/>
                    </a:cubicBezTo>
                    <a:cubicBezTo>
                      <a:pt x="439628" y="0"/>
                      <a:pt x="441055" y="0"/>
                      <a:pt x="441768" y="0"/>
                    </a:cubicBezTo>
                    <a:cubicBezTo>
                      <a:pt x="573694" y="1429"/>
                      <a:pt x="688506" y="71438"/>
                      <a:pt x="753400" y="175736"/>
                    </a:cubicBezTo>
                    <a:cubicBezTo>
                      <a:pt x="788343" y="232172"/>
                      <a:pt x="809023" y="299323"/>
                      <a:pt x="809023" y="370761"/>
                    </a:cubicBezTo>
                    <a:cubicBezTo>
                      <a:pt x="809023" y="560071"/>
                      <a:pt x="667113" y="715804"/>
                      <a:pt x="483842" y="737950"/>
                    </a:cubicBezTo>
                    <a:cubicBezTo>
                      <a:pt x="483842" y="737950"/>
                      <a:pt x="483842" y="737950"/>
                      <a:pt x="483129" y="737950"/>
                    </a:cubicBezTo>
                    <a:cubicBezTo>
                      <a:pt x="391850" y="752952"/>
                      <a:pt x="316972" y="756524"/>
                      <a:pt x="289161" y="757238"/>
                    </a:cubicBezTo>
                    <a:cubicBezTo>
                      <a:pt x="284882" y="757238"/>
                      <a:pt x="281316" y="757238"/>
                      <a:pt x="277038" y="757238"/>
                    </a:cubicBezTo>
                    <a:cubicBezTo>
                      <a:pt x="277038" y="733664"/>
                      <a:pt x="277038" y="716519"/>
                      <a:pt x="277038" y="702946"/>
                    </a:cubicBezTo>
                    <a:cubicBezTo>
                      <a:pt x="277038" y="665798"/>
                      <a:pt x="277038" y="665798"/>
                      <a:pt x="277038" y="665798"/>
                    </a:cubicBezTo>
                    <a:cubicBezTo>
                      <a:pt x="277038" y="665798"/>
                      <a:pt x="277038" y="665798"/>
                      <a:pt x="277751" y="665798"/>
                    </a:cubicBezTo>
                    <a:cubicBezTo>
                      <a:pt x="277751" y="665798"/>
                      <a:pt x="277751" y="665798"/>
                      <a:pt x="278464" y="665798"/>
                    </a:cubicBezTo>
                    <a:cubicBezTo>
                      <a:pt x="301284" y="665798"/>
                      <a:pt x="547309" y="660797"/>
                      <a:pt x="618621" y="574358"/>
                    </a:cubicBezTo>
                    <a:cubicBezTo>
                      <a:pt x="674957" y="524352"/>
                      <a:pt x="709900" y="452200"/>
                      <a:pt x="709900" y="370761"/>
                    </a:cubicBezTo>
                    <a:cubicBezTo>
                      <a:pt x="709900" y="220742"/>
                      <a:pt x="588670" y="98584"/>
                      <a:pt x="438915" y="98584"/>
                    </a:cubicBezTo>
                    <a:cubicBezTo>
                      <a:pt x="384005" y="98584"/>
                      <a:pt x="332661" y="115015"/>
                      <a:pt x="289874" y="143590"/>
                    </a:cubicBezTo>
                    <a:cubicBezTo>
                      <a:pt x="285595" y="189310"/>
                      <a:pt x="257070" y="212884"/>
                      <a:pt x="248513" y="220742"/>
                    </a:cubicBezTo>
                    <a:cubicBezTo>
                      <a:pt x="244947" y="224314"/>
                      <a:pt x="221414" y="242888"/>
                      <a:pt x="191464" y="260747"/>
                    </a:cubicBezTo>
                    <a:cubicBezTo>
                      <a:pt x="151529" y="285036"/>
                      <a:pt x="102324" y="309325"/>
                      <a:pt x="76652" y="300038"/>
                    </a:cubicBezTo>
                    <a:cubicBezTo>
                      <a:pt x="68807" y="297180"/>
                      <a:pt x="63816" y="291465"/>
                      <a:pt x="60963" y="281464"/>
                    </a:cubicBezTo>
                    <a:cubicBezTo>
                      <a:pt x="43848" y="213598"/>
                      <a:pt x="78791" y="124301"/>
                      <a:pt x="98758" y="94298"/>
                    </a:cubicBezTo>
                    <a:cubicBezTo>
                      <a:pt x="118012" y="64294"/>
                      <a:pt x="167931" y="59293"/>
                      <a:pt x="167931" y="59293"/>
                    </a:cubicBezTo>
                    <a:cubicBezTo>
                      <a:pt x="167931" y="59293"/>
                      <a:pt x="187898" y="59293"/>
                      <a:pt x="212144" y="64294"/>
                    </a:cubicBezTo>
                    <a:cubicBezTo>
                      <a:pt x="220701" y="59293"/>
                      <a:pt x="229259" y="54293"/>
                      <a:pt x="237103" y="49292"/>
                    </a:cubicBezTo>
                    <a:cubicBezTo>
                      <a:pt x="266341" y="34290"/>
                      <a:pt x="296292" y="23575"/>
                      <a:pt x="327669" y="15002"/>
                    </a:cubicBezTo>
                    <a:cubicBezTo>
                      <a:pt x="354767" y="7858"/>
                      <a:pt x="381866" y="3572"/>
                      <a:pt x="410391" y="1429"/>
                    </a:cubicBezTo>
                    <a:cubicBezTo>
                      <a:pt x="418235" y="715"/>
                      <a:pt x="425366" y="715"/>
                      <a:pt x="433210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122" name="Group 121"/>
          <p:cNvGrpSpPr>
            <a:grpSpLocks noChangeAspect="1"/>
          </p:cNvGrpSpPr>
          <p:nvPr/>
        </p:nvGrpSpPr>
        <p:grpSpPr>
          <a:xfrm>
            <a:off x="5325782" y="1956936"/>
            <a:ext cx="997006" cy="997930"/>
            <a:chOff x="5273799" y="2606040"/>
            <a:chExt cx="1644396" cy="1645920"/>
          </a:xfrm>
        </p:grpSpPr>
        <p:sp>
          <p:nvSpPr>
            <p:cNvPr id="123" name="AutoShape 23">
              <a:extLst>
                <a:ext uri="{FF2B5EF4-FFF2-40B4-BE49-F238E27FC236}">
                  <a16:creationId xmlns="" xmlns:a16="http://schemas.microsoft.com/office/drawing/2014/main" id="{AF998300-B40C-4A6D-A834-0A32B0DAAE3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799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124" name="Group 123"/>
            <p:cNvGrpSpPr/>
            <p:nvPr/>
          </p:nvGrpSpPr>
          <p:grpSpPr>
            <a:xfrm>
              <a:off x="5618604" y="2747391"/>
              <a:ext cx="954786" cy="1333881"/>
              <a:chOff x="5618604" y="2747391"/>
              <a:chExt cx="954786" cy="1333881"/>
            </a:xfrm>
          </p:grpSpPr>
          <p:sp>
            <p:nvSpPr>
              <p:cNvPr id="125" name="Freeform 25">
                <a:extLst>
                  <a:ext uri="{FF2B5EF4-FFF2-40B4-BE49-F238E27FC236}">
                    <a16:creationId xmlns="" xmlns:a16="http://schemas.microsoft.com/office/drawing/2014/main" id="{442AEFCD-88EE-4854-89CC-99B8B697BD6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18604" y="2747391"/>
                <a:ext cx="954786" cy="1333881"/>
              </a:xfrm>
              <a:custGeom>
                <a:avLst/>
                <a:gdLst>
                  <a:gd name="T0" fmla="*/ 1316 w 1338"/>
                  <a:gd name="T1" fmla="*/ 1743 h 1867"/>
                  <a:gd name="T2" fmla="*/ 1253 w 1338"/>
                  <a:gd name="T3" fmla="*/ 1743 h 1867"/>
                  <a:gd name="T4" fmla="*/ 1253 w 1338"/>
                  <a:gd name="T5" fmla="*/ 1714 h 1867"/>
                  <a:gd name="T6" fmla="*/ 1232 w 1338"/>
                  <a:gd name="T7" fmla="*/ 1693 h 1867"/>
                  <a:gd name="T8" fmla="*/ 106 w 1338"/>
                  <a:gd name="T9" fmla="*/ 1693 h 1867"/>
                  <a:gd name="T10" fmla="*/ 85 w 1338"/>
                  <a:gd name="T11" fmla="*/ 1714 h 1867"/>
                  <a:gd name="T12" fmla="*/ 85 w 1338"/>
                  <a:gd name="T13" fmla="*/ 1743 h 1867"/>
                  <a:gd name="T14" fmla="*/ 22 w 1338"/>
                  <a:gd name="T15" fmla="*/ 1743 h 1867"/>
                  <a:gd name="T16" fmla="*/ 0 w 1338"/>
                  <a:gd name="T17" fmla="*/ 1765 h 1867"/>
                  <a:gd name="T18" fmla="*/ 0 w 1338"/>
                  <a:gd name="T19" fmla="*/ 1846 h 1867"/>
                  <a:gd name="T20" fmla="*/ 22 w 1338"/>
                  <a:gd name="T21" fmla="*/ 1867 h 1867"/>
                  <a:gd name="T22" fmla="*/ 1316 w 1338"/>
                  <a:gd name="T23" fmla="*/ 1867 h 1867"/>
                  <a:gd name="T24" fmla="*/ 1338 w 1338"/>
                  <a:gd name="T25" fmla="*/ 1846 h 1867"/>
                  <a:gd name="T26" fmla="*/ 1338 w 1338"/>
                  <a:gd name="T27" fmla="*/ 1765 h 1867"/>
                  <a:gd name="T28" fmla="*/ 1316 w 1338"/>
                  <a:gd name="T29" fmla="*/ 1743 h 1867"/>
                  <a:gd name="T30" fmla="*/ 1224 w 1338"/>
                  <a:gd name="T31" fmla="*/ 71 h 1867"/>
                  <a:gd name="T32" fmla="*/ 1161 w 1338"/>
                  <a:gd name="T33" fmla="*/ 71 h 1867"/>
                  <a:gd name="T34" fmla="*/ 1119 w 1338"/>
                  <a:gd name="T35" fmla="*/ 9 h 1867"/>
                  <a:gd name="T36" fmla="*/ 1101 w 1338"/>
                  <a:gd name="T37" fmla="*/ 0 h 1867"/>
                  <a:gd name="T38" fmla="*/ 237 w 1338"/>
                  <a:gd name="T39" fmla="*/ 0 h 1867"/>
                  <a:gd name="T40" fmla="*/ 219 w 1338"/>
                  <a:gd name="T41" fmla="*/ 9 h 1867"/>
                  <a:gd name="T42" fmla="*/ 177 w 1338"/>
                  <a:gd name="T43" fmla="*/ 71 h 1867"/>
                  <a:gd name="T44" fmla="*/ 114 w 1338"/>
                  <a:gd name="T45" fmla="*/ 71 h 1867"/>
                  <a:gd name="T46" fmla="*/ 92 w 1338"/>
                  <a:gd name="T47" fmla="*/ 93 h 1867"/>
                  <a:gd name="T48" fmla="*/ 92 w 1338"/>
                  <a:gd name="T49" fmla="*/ 156 h 1867"/>
                  <a:gd name="T50" fmla="*/ 114 w 1338"/>
                  <a:gd name="T51" fmla="*/ 178 h 1867"/>
                  <a:gd name="T52" fmla="*/ 125 w 1338"/>
                  <a:gd name="T53" fmla="*/ 178 h 1867"/>
                  <a:gd name="T54" fmla="*/ 125 w 1338"/>
                  <a:gd name="T55" fmla="*/ 1650 h 1867"/>
                  <a:gd name="T56" fmla="*/ 169 w 1338"/>
                  <a:gd name="T57" fmla="*/ 1650 h 1867"/>
                  <a:gd name="T58" fmla="*/ 169 w 1338"/>
                  <a:gd name="T59" fmla="*/ 156 h 1867"/>
                  <a:gd name="T60" fmla="*/ 147 w 1338"/>
                  <a:gd name="T61" fmla="*/ 134 h 1867"/>
                  <a:gd name="T62" fmla="*/ 136 w 1338"/>
                  <a:gd name="T63" fmla="*/ 134 h 1867"/>
                  <a:gd name="T64" fmla="*/ 136 w 1338"/>
                  <a:gd name="T65" fmla="*/ 115 h 1867"/>
                  <a:gd name="T66" fmla="*/ 1202 w 1338"/>
                  <a:gd name="T67" fmla="*/ 115 h 1867"/>
                  <a:gd name="T68" fmla="*/ 1202 w 1338"/>
                  <a:gd name="T69" fmla="*/ 134 h 1867"/>
                  <a:gd name="T70" fmla="*/ 1191 w 1338"/>
                  <a:gd name="T71" fmla="*/ 134 h 1867"/>
                  <a:gd name="T72" fmla="*/ 1169 w 1338"/>
                  <a:gd name="T73" fmla="*/ 156 h 1867"/>
                  <a:gd name="T74" fmla="*/ 1169 w 1338"/>
                  <a:gd name="T75" fmla="*/ 1650 h 1867"/>
                  <a:gd name="T76" fmla="*/ 1213 w 1338"/>
                  <a:gd name="T77" fmla="*/ 1650 h 1867"/>
                  <a:gd name="T78" fmla="*/ 1213 w 1338"/>
                  <a:gd name="T79" fmla="*/ 178 h 1867"/>
                  <a:gd name="T80" fmla="*/ 1224 w 1338"/>
                  <a:gd name="T81" fmla="*/ 178 h 1867"/>
                  <a:gd name="T82" fmla="*/ 1246 w 1338"/>
                  <a:gd name="T83" fmla="*/ 156 h 1867"/>
                  <a:gd name="T84" fmla="*/ 1246 w 1338"/>
                  <a:gd name="T85" fmla="*/ 93 h 1867"/>
                  <a:gd name="T86" fmla="*/ 1224 w 1338"/>
                  <a:gd name="T87" fmla="*/ 71 h 1867"/>
                  <a:gd name="T88" fmla="*/ 248 w 1338"/>
                  <a:gd name="T89" fmla="*/ 44 h 1867"/>
                  <a:gd name="T90" fmla="*/ 1090 w 1338"/>
                  <a:gd name="T91" fmla="*/ 44 h 1867"/>
                  <a:gd name="T92" fmla="*/ 1108 w 1338"/>
                  <a:gd name="T93" fmla="*/ 71 h 1867"/>
                  <a:gd name="T94" fmla="*/ 230 w 1338"/>
                  <a:gd name="T95" fmla="*/ 71 h 1867"/>
                  <a:gd name="T96" fmla="*/ 248 w 1338"/>
                  <a:gd name="T97" fmla="*/ 44 h 18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338" h="1867">
                    <a:moveTo>
                      <a:pt x="1316" y="1743"/>
                    </a:moveTo>
                    <a:cubicBezTo>
                      <a:pt x="1253" y="1743"/>
                      <a:pt x="1253" y="1743"/>
                      <a:pt x="1253" y="1743"/>
                    </a:cubicBezTo>
                    <a:cubicBezTo>
                      <a:pt x="1253" y="1714"/>
                      <a:pt x="1253" y="1714"/>
                      <a:pt x="1253" y="1714"/>
                    </a:cubicBezTo>
                    <a:cubicBezTo>
                      <a:pt x="1253" y="1702"/>
                      <a:pt x="1243" y="1693"/>
                      <a:pt x="1232" y="1693"/>
                    </a:cubicBezTo>
                    <a:cubicBezTo>
                      <a:pt x="106" y="1693"/>
                      <a:pt x="106" y="1693"/>
                      <a:pt x="106" y="1693"/>
                    </a:cubicBezTo>
                    <a:cubicBezTo>
                      <a:pt x="95" y="1693"/>
                      <a:pt x="85" y="1702"/>
                      <a:pt x="85" y="1714"/>
                    </a:cubicBezTo>
                    <a:cubicBezTo>
                      <a:pt x="85" y="1743"/>
                      <a:pt x="85" y="1743"/>
                      <a:pt x="85" y="1743"/>
                    </a:cubicBezTo>
                    <a:cubicBezTo>
                      <a:pt x="22" y="1743"/>
                      <a:pt x="22" y="1743"/>
                      <a:pt x="22" y="1743"/>
                    </a:cubicBezTo>
                    <a:cubicBezTo>
                      <a:pt x="10" y="1743"/>
                      <a:pt x="0" y="1753"/>
                      <a:pt x="0" y="1765"/>
                    </a:cubicBezTo>
                    <a:cubicBezTo>
                      <a:pt x="0" y="1846"/>
                      <a:pt x="0" y="1846"/>
                      <a:pt x="0" y="1846"/>
                    </a:cubicBezTo>
                    <a:cubicBezTo>
                      <a:pt x="0" y="1858"/>
                      <a:pt x="10" y="1867"/>
                      <a:pt x="22" y="1867"/>
                    </a:cubicBezTo>
                    <a:cubicBezTo>
                      <a:pt x="1316" y="1867"/>
                      <a:pt x="1316" y="1867"/>
                      <a:pt x="1316" y="1867"/>
                    </a:cubicBezTo>
                    <a:cubicBezTo>
                      <a:pt x="1328" y="1867"/>
                      <a:pt x="1338" y="1858"/>
                      <a:pt x="1338" y="1846"/>
                    </a:cubicBezTo>
                    <a:cubicBezTo>
                      <a:pt x="1338" y="1765"/>
                      <a:pt x="1338" y="1765"/>
                      <a:pt x="1338" y="1765"/>
                    </a:cubicBezTo>
                    <a:cubicBezTo>
                      <a:pt x="1338" y="1753"/>
                      <a:pt x="1328" y="1743"/>
                      <a:pt x="1316" y="1743"/>
                    </a:cubicBezTo>
                    <a:close/>
                    <a:moveTo>
                      <a:pt x="1224" y="71"/>
                    </a:moveTo>
                    <a:cubicBezTo>
                      <a:pt x="1161" y="71"/>
                      <a:pt x="1161" y="71"/>
                      <a:pt x="1161" y="71"/>
                    </a:cubicBezTo>
                    <a:cubicBezTo>
                      <a:pt x="1119" y="9"/>
                      <a:pt x="1119" y="9"/>
                      <a:pt x="1119" y="9"/>
                    </a:cubicBezTo>
                    <a:cubicBezTo>
                      <a:pt x="1115" y="3"/>
                      <a:pt x="1108" y="0"/>
                      <a:pt x="1101" y="0"/>
                    </a:cubicBezTo>
                    <a:cubicBezTo>
                      <a:pt x="237" y="0"/>
                      <a:pt x="237" y="0"/>
                      <a:pt x="237" y="0"/>
                    </a:cubicBezTo>
                    <a:cubicBezTo>
                      <a:pt x="230" y="0"/>
                      <a:pt x="223" y="3"/>
                      <a:pt x="219" y="9"/>
                    </a:cubicBezTo>
                    <a:cubicBezTo>
                      <a:pt x="177" y="71"/>
                      <a:pt x="177" y="71"/>
                      <a:pt x="177" y="71"/>
                    </a:cubicBezTo>
                    <a:cubicBezTo>
                      <a:pt x="114" y="71"/>
                      <a:pt x="114" y="71"/>
                      <a:pt x="114" y="71"/>
                    </a:cubicBezTo>
                    <a:cubicBezTo>
                      <a:pt x="102" y="71"/>
                      <a:pt x="92" y="81"/>
                      <a:pt x="92" y="93"/>
                    </a:cubicBezTo>
                    <a:cubicBezTo>
                      <a:pt x="92" y="156"/>
                      <a:pt x="92" y="156"/>
                      <a:pt x="92" y="156"/>
                    </a:cubicBezTo>
                    <a:cubicBezTo>
                      <a:pt x="92" y="168"/>
                      <a:pt x="102" y="178"/>
                      <a:pt x="114" y="178"/>
                    </a:cubicBezTo>
                    <a:cubicBezTo>
                      <a:pt x="125" y="178"/>
                      <a:pt x="125" y="178"/>
                      <a:pt x="125" y="178"/>
                    </a:cubicBezTo>
                    <a:cubicBezTo>
                      <a:pt x="125" y="1650"/>
                      <a:pt x="125" y="1650"/>
                      <a:pt x="125" y="1650"/>
                    </a:cubicBezTo>
                    <a:cubicBezTo>
                      <a:pt x="169" y="1650"/>
                      <a:pt x="169" y="1650"/>
                      <a:pt x="169" y="1650"/>
                    </a:cubicBezTo>
                    <a:cubicBezTo>
                      <a:pt x="169" y="156"/>
                      <a:pt x="169" y="156"/>
                      <a:pt x="169" y="156"/>
                    </a:cubicBezTo>
                    <a:cubicBezTo>
                      <a:pt x="169" y="144"/>
                      <a:pt x="159" y="134"/>
                      <a:pt x="147" y="134"/>
                    </a:cubicBezTo>
                    <a:cubicBezTo>
                      <a:pt x="136" y="134"/>
                      <a:pt x="136" y="134"/>
                      <a:pt x="136" y="134"/>
                    </a:cubicBezTo>
                    <a:cubicBezTo>
                      <a:pt x="136" y="115"/>
                      <a:pt x="136" y="115"/>
                      <a:pt x="136" y="115"/>
                    </a:cubicBezTo>
                    <a:cubicBezTo>
                      <a:pt x="1202" y="115"/>
                      <a:pt x="1202" y="115"/>
                      <a:pt x="1202" y="115"/>
                    </a:cubicBezTo>
                    <a:cubicBezTo>
                      <a:pt x="1202" y="134"/>
                      <a:pt x="1202" y="134"/>
                      <a:pt x="1202" y="134"/>
                    </a:cubicBezTo>
                    <a:cubicBezTo>
                      <a:pt x="1191" y="134"/>
                      <a:pt x="1191" y="134"/>
                      <a:pt x="1191" y="134"/>
                    </a:cubicBezTo>
                    <a:cubicBezTo>
                      <a:pt x="1179" y="134"/>
                      <a:pt x="1169" y="144"/>
                      <a:pt x="1169" y="156"/>
                    </a:cubicBezTo>
                    <a:cubicBezTo>
                      <a:pt x="1169" y="1650"/>
                      <a:pt x="1169" y="1650"/>
                      <a:pt x="1169" y="1650"/>
                    </a:cubicBezTo>
                    <a:cubicBezTo>
                      <a:pt x="1213" y="1650"/>
                      <a:pt x="1213" y="1650"/>
                      <a:pt x="1213" y="1650"/>
                    </a:cubicBezTo>
                    <a:cubicBezTo>
                      <a:pt x="1213" y="178"/>
                      <a:pt x="1213" y="178"/>
                      <a:pt x="1213" y="178"/>
                    </a:cubicBezTo>
                    <a:cubicBezTo>
                      <a:pt x="1224" y="178"/>
                      <a:pt x="1224" y="178"/>
                      <a:pt x="1224" y="178"/>
                    </a:cubicBezTo>
                    <a:cubicBezTo>
                      <a:pt x="1236" y="178"/>
                      <a:pt x="1246" y="168"/>
                      <a:pt x="1246" y="156"/>
                    </a:cubicBezTo>
                    <a:cubicBezTo>
                      <a:pt x="1246" y="93"/>
                      <a:pt x="1246" y="93"/>
                      <a:pt x="1246" y="93"/>
                    </a:cubicBezTo>
                    <a:cubicBezTo>
                      <a:pt x="1246" y="81"/>
                      <a:pt x="1236" y="71"/>
                      <a:pt x="1224" y="71"/>
                    </a:cubicBezTo>
                    <a:close/>
                    <a:moveTo>
                      <a:pt x="248" y="44"/>
                    </a:moveTo>
                    <a:cubicBezTo>
                      <a:pt x="1090" y="44"/>
                      <a:pt x="1090" y="44"/>
                      <a:pt x="1090" y="44"/>
                    </a:cubicBezTo>
                    <a:cubicBezTo>
                      <a:pt x="1108" y="71"/>
                      <a:pt x="1108" y="71"/>
                      <a:pt x="1108" y="71"/>
                    </a:cubicBezTo>
                    <a:cubicBezTo>
                      <a:pt x="230" y="71"/>
                      <a:pt x="230" y="71"/>
                      <a:pt x="230" y="71"/>
                    </a:cubicBezTo>
                    <a:lnTo>
                      <a:pt x="248" y="44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6" name="Freeform 26">
                <a:extLst>
                  <a:ext uri="{FF2B5EF4-FFF2-40B4-BE49-F238E27FC236}">
                    <a16:creationId xmlns="" xmlns:a16="http://schemas.microsoft.com/office/drawing/2014/main" id="{3B3DE95F-D598-4E8D-A569-80D13E85E6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36155" y="2904744"/>
                <a:ext cx="519684" cy="1021461"/>
              </a:xfrm>
              <a:custGeom>
                <a:avLst/>
                <a:gdLst>
                  <a:gd name="T0" fmla="*/ 110 w 728"/>
                  <a:gd name="T1" fmla="*/ 1430 h 1430"/>
                  <a:gd name="T2" fmla="*/ 100 w 728"/>
                  <a:gd name="T3" fmla="*/ 1101 h 1430"/>
                  <a:gd name="T4" fmla="*/ 334 w 728"/>
                  <a:gd name="T5" fmla="*/ 1091 h 1430"/>
                  <a:gd name="T6" fmla="*/ 344 w 728"/>
                  <a:gd name="T7" fmla="*/ 1420 h 1430"/>
                  <a:gd name="T8" fmla="*/ 628 w 728"/>
                  <a:gd name="T9" fmla="*/ 1420 h 1430"/>
                  <a:gd name="T10" fmla="*/ 618 w 728"/>
                  <a:gd name="T11" fmla="*/ 1091 h 1430"/>
                  <a:gd name="T12" fmla="*/ 384 w 728"/>
                  <a:gd name="T13" fmla="*/ 1101 h 1430"/>
                  <a:gd name="T14" fmla="*/ 394 w 728"/>
                  <a:gd name="T15" fmla="*/ 1430 h 1430"/>
                  <a:gd name="T16" fmla="*/ 628 w 728"/>
                  <a:gd name="T17" fmla="*/ 1420 h 1430"/>
                  <a:gd name="T18" fmla="*/ 452 w 728"/>
                  <a:gd name="T19" fmla="*/ 273 h 1430"/>
                  <a:gd name="T20" fmla="*/ 462 w 728"/>
                  <a:gd name="T21" fmla="*/ 10 h 1430"/>
                  <a:gd name="T22" fmla="*/ 276 w 728"/>
                  <a:gd name="T23" fmla="*/ 0 h 1430"/>
                  <a:gd name="T24" fmla="*/ 266 w 728"/>
                  <a:gd name="T25" fmla="*/ 263 h 1430"/>
                  <a:gd name="T26" fmla="*/ 276 w 728"/>
                  <a:gd name="T27" fmla="*/ 600 h 1430"/>
                  <a:gd name="T28" fmla="*/ 462 w 728"/>
                  <a:gd name="T29" fmla="*/ 590 h 1430"/>
                  <a:gd name="T30" fmla="*/ 452 w 728"/>
                  <a:gd name="T31" fmla="*/ 327 h 1430"/>
                  <a:gd name="T32" fmla="*/ 266 w 728"/>
                  <a:gd name="T33" fmla="*/ 337 h 1430"/>
                  <a:gd name="T34" fmla="*/ 276 w 728"/>
                  <a:gd name="T35" fmla="*/ 600 h 1430"/>
                  <a:gd name="T36" fmla="*/ 186 w 728"/>
                  <a:gd name="T37" fmla="*/ 273 h 1430"/>
                  <a:gd name="T38" fmla="*/ 196 w 728"/>
                  <a:gd name="T39" fmla="*/ 10 h 1430"/>
                  <a:gd name="T40" fmla="*/ 10 w 728"/>
                  <a:gd name="T41" fmla="*/ 0 h 1430"/>
                  <a:gd name="T42" fmla="*/ 0 w 728"/>
                  <a:gd name="T43" fmla="*/ 263 h 1430"/>
                  <a:gd name="T44" fmla="*/ 10 w 728"/>
                  <a:gd name="T45" fmla="*/ 600 h 1430"/>
                  <a:gd name="T46" fmla="*/ 196 w 728"/>
                  <a:gd name="T47" fmla="*/ 590 h 1430"/>
                  <a:gd name="T48" fmla="*/ 186 w 728"/>
                  <a:gd name="T49" fmla="*/ 327 h 1430"/>
                  <a:gd name="T50" fmla="*/ 0 w 728"/>
                  <a:gd name="T51" fmla="*/ 337 h 1430"/>
                  <a:gd name="T52" fmla="*/ 10 w 728"/>
                  <a:gd name="T53" fmla="*/ 600 h 1430"/>
                  <a:gd name="T54" fmla="*/ 718 w 728"/>
                  <a:gd name="T55" fmla="*/ 273 h 1430"/>
                  <a:gd name="T56" fmla="*/ 728 w 728"/>
                  <a:gd name="T57" fmla="*/ 10 h 1430"/>
                  <a:gd name="T58" fmla="*/ 542 w 728"/>
                  <a:gd name="T59" fmla="*/ 0 h 1430"/>
                  <a:gd name="T60" fmla="*/ 532 w 728"/>
                  <a:gd name="T61" fmla="*/ 263 h 1430"/>
                  <a:gd name="T62" fmla="*/ 542 w 728"/>
                  <a:gd name="T63" fmla="*/ 600 h 1430"/>
                  <a:gd name="T64" fmla="*/ 728 w 728"/>
                  <a:gd name="T65" fmla="*/ 590 h 1430"/>
                  <a:gd name="T66" fmla="*/ 718 w 728"/>
                  <a:gd name="T67" fmla="*/ 327 h 1430"/>
                  <a:gd name="T68" fmla="*/ 532 w 728"/>
                  <a:gd name="T69" fmla="*/ 337 h 1430"/>
                  <a:gd name="T70" fmla="*/ 542 w 728"/>
                  <a:gd name="T71" fmla="*/ 600 h 1430"/>
                  <a:gd name="T72" fmla="*/ 452 w 728"/>
                  <a:gd name="T73" fmla="*/ 926 h 1430"/>
                  <a:gd name="T74" fmla="*/ 462 w 728"/>
                  <a:gd name="T75" fmla="*/ 663 h 1430"/>
                  <a:gd name="T76" fmla="*/ 276 w 728"/>
                  <a:gd name="T77" fmla="*/ 653 h 1430"/>
                  <a:gd name="T78" fmla="*/ 266 w 728"/>
                  <a:gd name="T79" fmla="*/ 916 h 1430"/>
                  <a:gd name="T80" fmla="*/ 10 w 728"/>
                  <a:gd name="T81" fmla="*/ 926 h 1430"/>
                  <a:gd name="T82" fmla="*/ 196 w 728"/>
                  <a:gd name="T83" fmla="*/ 916 h 1430"/>
                  <a:gd name="T84" fmla="*/ 186 w 728"/>
                  <a:gd name="T85" fmla="*/ 653 h 1430"/>
                  <a:gd name="T86" fmla="*/ 0 w 728"/>
                  <a:gd name="T87" fmla="*/ 663 h 1430"/>
                  <a:gd name="T88" fmla="*/ 10 w 728"/>
                  <a:gd name="T89" fmla="*/ 926 h 1430"/>
                  <a:gd name="T90" fmla="*/ 718 w 728"/>
                  <a:gd name="T91" fmla="*/ 926 h 1430"/>
                  <a:gd name="T92" fmla="*/ 728 w 728"/>
                  <a:gd name="T93" fmla="*/ 663 h 1430"/>
                  <a:gd name="T94" fmla="*/ 542 w 728"/>
                  <a:gd name="T95" fmla="*/ 653 h 1430"/>
                  <a:gd name="T96" fmla="*/ 532 w 728"/>
                  <a:gd name="T97" fmla="*/ 916 h 14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728" h="1430">
                    <a:moveTo>
                      <a:pt x="334" y="1430"/>
                    </a:moveTo>
                    <a:cubicBezTo>
                      <a:pt x="110" y="1430"/>
                      <a:pt x="110" y="1430"/>
                      <a:pt x="110" y="1430"/>
                    </a:cubicBezTo>
                    <a:cubicBezTo>
                      <a:pt x="104" y="1430"/>
                      <a:pt x="100" y="1426"/>
                      <a:pt x="100" y="1420"/>
                    </a:cubicBezTo>
                    <a:cubicBezTo>
                      <a:pt x="100" y="1101"/>
                      <a:pt x="100" y="1101"/>
                      <a:pt x="100" y="1101"/>
                    </a:cubicBezTo>
                    <a:cubicBezTo>
                      <a:pt x="100" y="1095"/>
                      <a:pt x="104" y="1091"/>
                      <a:pt x="110" y="1091"/>
                    </a:cubicBezTo>
                    <a:cubicBezTo>
                      <a:pt x="334" y="1091"/>
                      <a:pt x="334" y="1091"/>
                      <a:pt x="334" y="1091"/>
                    </a:cubicBezTo>
                    <a:cubicBezTo>
                      <a:pt x="340" y="1091"/>
                      <a:pt x="344" y="1095"/>
                      <a:pt x="344" y="1101"/>
                    </a:cubicBezTo>
                    <a:cubicBezTo>
                      <a:pt x="344" y="1420"/>
                      <a:pt x="344" y="1420"/>
                      <a:pt x="344" y="1420"/>
                    </a:cubicBezTo>
                    <a:cubicBezTo>
                      <a:pt x="344" y="1426"/>
                      <a:pt x="340" y="1430"/>
                      <a:pt x="334" y="1430"/>
                    </a:cubicBezTo>
                    <a:close/>
                    <a:moveTo>
                      <a:pt x="628" y="1420"/>
                    </a:moveTo>
                    <a:cubicBezTo>
                      <a:pt x="628" y="1101"/>
                      <a:pt x="628" y="1101"/>
                      <a:pt x="628" y="1101"/>
                    </a:cubicBezTo>
                    <a:cubicBezTo>
                      <a:pt x="628" y="1095"/>
                      <a:pt x="624" y="1091"/>
                      <a:pt x="618" y="1091"/>
                    </a:cubicBezTo>
                    <a:cubicBezTo>
                      <a:pt x="394" y="1091"/>
                      <a:pt x="394" y="1091"/>
                      <a:pt x="394" y="1091"/>
                    </a:cubicBezTo>
                    <a:cubicBezTo>
                      <a:pt x="388" y="1091"/>
                      <a:pt x="384" y="1095"/>
                      <a:pt x="384" y="1101"/>
                    </a:cubicBezTo>
                    <a:cubicBezTo>
                      <a:pt x="384" y="1420"/>
                      <a:pt x="384" y="1420"/>
                      <a:pt x="384" y="1420"/>
                    </a:cubicBezTo>
                    <a:cubicBezTo>
                      <a:pt x="384" y="1426"/>
                      <a:pt x="388" y="1430"/>
                      <a:pt x="394" y="1430"/>
                    </a:cubicBezTo>
                    <a:cubicBezTo>
                      <a:pt x="618" y="1430"/>
                      <a:pt x="618" y="1430"/>
                      <a:pt x="618" y="1430"/>
                    </a:cubicBezTo>
                    <a:cubicBezTo>
                      <a:pt x="624" y="1430"/>
                      <a:pt x="628" y="1426"/>
                      <a:pt x="628" y="1420"/>
                    </a:cubicBezTo>
                    <a:close/>
                    <a:moveTo>
                      <a:pt x="276" y="273"/>
                    </a:moveTo>
                    <a:cubicBezTo>
                      <a:pt x="452" y="273"/>
                      <a:pt x="452" y="273"/>
                      <a:pt x="452" y="273"/>
                    </a:cubicBezTo>
                    <a:cubicBezTo>
                      <a:pt x="457" y="273"/>
                      <a:pt x="462" y="269"/>
                      <a:pt x="462" y="263"/>
                    </a:cubicBezTo>
                    <a:cubicBezTo>
                      <a:pt x="462" y="10"/>
                      <a:pt x="462" y="10"/>
                      <a:pt x="462" y="10"/>
                    </a:cubicBezTo>
                    <a:cubicBezTo>
                      <a:pt x="462" y="5"/>
                      <a:pt x="457" y="0"/>
                      <a:pt x="452" y="0"/>
                    </a:cubicBezTo>
                    <a:cubicBezTo>
                      <a:pt x="276" y="0"/>
                      <a:pt x="276" y="0"/>
                      <a:pt x="276" y="0"/>
                    </a:cubicBezTo>
                    <a:cubicBezTo>
                      <a:pt x="271" y="0"/>
                      <a:pt x="266" y="5"/>
                      <a:pt x="266" y="10"/>
                    </a:cubicBezTo>
                    <a:cubicBezTo>
                      <a:pt x="266" y="263"/>
                      <a:pt x="266" y="263"/>
                      <a:pt x="266" y="263"/>
                    </a:cubicBezTo>
                    <a:cubicBezTo>
                      <a:pt x="266" y="269"/>
                      <a:pt x="271" y="273"/>
                      <a:pt x="276" y="273"/>
                    </a:cubicBezTo>
                    <a:close/>
                    <a:moveTo>
                      <a:pt x="276" y="600"/>
                    </a:moveTo>
                    <a:cubicBezTo>
                      <a:pt x="452" y="600"/>
                      <a:pt x="452" y="600"/>
                      <a:pt x="452" y="600"/>
                    </a:cubicBezTo>
                    <a:cubicBezTo>
                      <a:pt x="457" y="600"/>
                      <a:pt x="462" y="595"/>
                      <a:pt x="462" y="590"/>
                    </a:cubicBezTo>
                    <a:cubicBezTo>
                      <a:pt x="462" y="337"/>
                      <a:pt x="462" y="337"/>
                      <a:pt x="462" y="337"/>
                    </a:cubicBezTo>
                    <a:cubicBezTo>
                      <a:pt x="462" y="331"/>
                      <a:pt x="457" y="327"/>
                      <a:pt x="452" y="327"/>
                    </a:cubicBezTo>
                    <a:cubicBezTo>
                      <a:pt x="276" y="327"/>
                      <a:pt x="276" y="327"/>
                      <a:pt x="276" y="327"/>
                    </a:cubicBezTo>
                    <a:cubicBezTo>
                      <a:pt x="271" y="327"/>
                      <a:pt x="266" y="331"/>
                      <a:pt x="266" y="337"/>
                    </a:cubicBezTo>
                    <a:cubicBezTo>
                      <a:pt x="266" y="590"/>
                      <a:pt x="266" y="590"/>
                      <a:pt x="266" y="590"/>
                    </a:cubicBezTo>
                    <a:cubicBezTo>
                      <a:pt x="266" y="595"/>
                      <a:pt x="271" y="600"/>
                      <a:pt x="276" y="600"/>
                    </a:cubicBezTo>
                    <a:close/>
                    <a:moveTo>
                      <a:pt x="10" y="273"/>
                    </a:moveTo>
                    <a:cubicBezTo>
                      <a:pt x="186" y="273"/>
                      <a:pt x="186" y="273"/>
                      <a:pt x="186" y="273"/>
                    </a:cubicBezTo>
                    <a:cubicBezTo>
                      <a:pt x="191" y="273"/>
                      <a:pt x="196" y="269"/>
                      <a:pt x="196" y="263"/>
                    </a:cubicBezTo>
                    <a:cubicBezTo>
                      <a:pt x="196" y="10"/>
                      <a:pt x="196" y="10"/>
                      <a:pt x="196" y="10"/>
                    </a:cubicBezTo>
                    <a:cubicBezTo>
                      <a:pt x="196" y="5"/>
                      <a:pt x="191" y="0"/>
                      <a:pt x="186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5"/>
                      <a:pt x="0" y="10"/>
                    </a:cubicBezTo>
                    <a:cubicBezTo>
                      <a:pt x="0" y="263"/>
                      <a:pt x="0" y="263"/>
                      <a:pt x="0" y="263"/>
                    </a:cubicBezTo>
                    <a:cubicBezTo>
                      <a:pt x="0" y="269"/>
                      <a:pt x="4" y="273"/>
                      <a:pt x="10" y="273"/>
                    </a:cubicBezTo>
                    <a:close/>
                    <a:moveTo>
                      <a:pt x="10" y="600"/>
                    </a:moveTo>
                    <a:cubicBezTo>
                      <a:pt x="186" y="600"/>
                      <a:pt x="186" y="600"/>
                      <a:pt x="186" y="600"/>
                    </a:cubicBezTo>
                    <a:cubicBezTo>
                      <a:pt x="191" y="600"/>
                      <a:pt x="196" y="595"/>
                      <a:pt x="196" y="590"/>
                    </a:cubicBezTo>
                    <a:cubicBezTo>
                      <a:pt x="196" y="337"/>
                      <a:pt x="196" y="337"/>
                      <a:pt x="196" y="337"/>
                    </a:cubicBezTo>
                    <a:cubicBezTo>
                      <a:pt x="196" y="331"/>
                      <a:pt x="191" y="327"/>
                      <a:pt x="186" y="327"/>
                    </a:cubicBezTo>
                    <a:cubicBezTo>
                      <a:pt x="10" y="327"/>
                      <a:pt x="10" y="327"/>
                      <a:pt x="10" y="327"/>
                    </a:cubicBezTo>
                    <a:cubicBezTo>
                      <a:pt x="4" y="327"/>
                      <a:pt x="0" y="331"/>
                      <a:pt x="0" y="337"/>
                    </a:cubicBezTo>
                    <a:cubicBezTo>
                      <a:pt x="0" y="590"/>
                      <a:pt x="0" y="590"/>
                      <a:pt x="0" y="590"/>
                    </a:cubicBezTo>
                    <a:cubicBezTo>
                      <a:pt x="0" y="595"/>
                      <a:pt x="4" y="600"/>
                      <a:pt x="10" y="600"/>
                    </a:cubicBezTo>
                    <a:close/>
                    <a:moveTo>
                      <a:pt x="542" y="273"/>
                    </a:moveTo>
                    <a:cubicBezTo>
                      <a:pt x="718" y="273"/>
                      <a:pt x="718" y="273"/>
                      <a:pt x="718" y="273"/>
                    </a:cubicBezTo>
                    <a:cubicBezTo>
                      <a:pt x="724" y="273"/>
                      <a:pt x="728" y="269"/>
                      <a:pt x="728" y="263"/>
                    </a:cubicBezTo>
                    <a:cubicBezTo>
                      <a:pt x="728" y="10"/>
                      <a:pt x="728" y="10"/>
                      <a:pt x="728" y="10"/>
                    </a:cubicBezTo>
                    <a:cubicBezTo>
                      <a:pt x="728" y="5"/>
                      <a:pt x="724" y="0"/>
                      <a:pt x="718" y="0"/>
                    </a:cubicBezTo>
                    <a:cubicBezTo>
                      <a:pt x="542" y="0"/>
                      <a:pt x="542" y="0"/>
                      <a:pt x="542" y="0"/>
                    </a:cubicBezTo>
                    <a:cubicBezTo>
                      <a:pt x="537" y="0"/>
                      <a:pt x="532" y="5"/>
                      <a:pt x="532" y="10"/>
                    </a:cubicBezTo>
                    <a:cubicBezTo>
                      <a:pt x="532" y="263"/>
                      <a:pt x="532" y="263"/>
                      <a:pt x="532" y="263"/>
                    </a:cubicBezTo>
                    <a:cubicBezTo>
                      <a:pt x="532" y="269"/>
                      <a:pt x="537" y="273"/>
                      <a:pt x="542" y="273"/>
                    </a:cubicBezTo>
                    <a:close/>
                    <a:moveTo>
                      <a:pt x="542" y="600"/>
                    </a:moveTo>
                    <a:cubicBezTo>
                      <a:pt x="718" y="600"/>
                      <a:pt x="718" y="600"/>
                      <a:pt x="718" y="600"/>
                    </a:cubicBezTo>
                    <a:cubicBezTo>
                      <a:pt x="724" y="600"/>
                      <a:pt x="728" y="595"/>
                      <a:pt x="728" y="590"/>
                    </a:cubicBezTo>
                    <a:cubicBezTo>
                      <a:pt x="728" y="337"/>
                      <a:pt x="728" y="337"/>
                      <a:pt x="728" y="337"/>
                    </a:cubicBezTo>
                    <a:cubicBezTo>
                      <a:pt x="728" y="331"/>
                      <a:pt x="724" y="327"/>
                      <a:pt x="718" y="327"/>
                    </a:cubicBezTo>
                    <a:cubicBezTo>
                      <a:pt x="542" y="327"/>
                      <a:pt x="542" y="327"/>
                      <a:pt x="542" y="327"/>
                    </a:cubicBezTo>
                    <a:cubicBezTo>
                      <a:pt x="537" y="327"/>
                      <a:pt x="532" y="331"/>
                      <a:pt x="532" y="337"/>
                    </a:cubicBezTo>
                    <a:cubicBezTo>
                      <a:pt x="532" y="590"/>
                      <a:pt x="532" y="590"/>
                      <a:pt x="532" y="590"/>
                    </a:cubicBezTo>
                    <a:cubicBezTo>
                      <a:pt x="532" y="595"/>
                      <a:pt x="537" y="600"/>
                      <a:pt x="542" y="600"/>
                    </a:cubicBezTo>
                    <a:close/>
                    <a:moveTo>
                      <a:pt x="276" y="926"/>
                    </a:moveTo>
                    <a:cubicBezTo>
                      <a:pt x="452" y="926"/>
                      <a:pt x="452" y="926"/>
                      <a:pt x="452" y="926"/>
                    </a:cubicBezTo>
                    <a:cubicBezTo>
                      <a:pt x="457" y="926"/>
                      <a:pt x="462" y="922"/>
                      <a:pt x="462" y="916"/>
                    </a:cubicBezTo>
                    <a:cubicBezTo>
                      <a:pt x="462" y="663"/>
                      <a:pt x="462" y="663"/>
                      <a:pt x="462" y="663"/>
                    </a:cubicBezTo>
                    <a:cubicBezTo>
                      <a:pt x="462" y="658"/>
                      <a:pt x="457" y="653"/>
                      <a:pt x="452" y="653"/>
                    </a:cubicBezTo>
                    <a:cubicBezTo>
                      <a:pt x="276" y="653"/>
                      <a:pt x="276" y="653"/>
                      <a:pt x="276" y="653"/>
                    </a:cubicBezTo>
                    <a:cubicBezTo>
                      <a:pt x="271" y="653"/>
                      <a:pt x="266" y="658"/>
                      <a:pt x="266" y="663"/>
                    </a:cubicBezTo>
                    <a:cubicBezTo>
                      <a:pt x="266" y="916"/>
                      <a:pt x="266" y="916"/>
                      <a:pt x="266" y="916"/>
                    </a:cubicBezTo>
                    <a:cubicBezTo>
                      <a:pt x="266" y="922"/>
                      <a:pt x="271" y="926"/>
                      <a:pt x="276" y="926"/>
                    </a:cubicBezTo>
                    <a:close/>
                    <a:moveTo>
                      <a:pt x="10" y="926"/>
                    </a:moveTo>
                    <a:cubicBezTo>
                      <a:pt x="186" y="926"/>
                      <a:pt x="186" y="926"/>
                      <a:pt x="186" y="926"/>
                    </a:cubicBezTo>
                    <a:cubicBezTo>
                      <a:pt x="191" y="926"/>
                      <a:pt x="196" y="922"/>
                      <a:pt x="196" y="916"/>
                    </a:cubicBezTo>
                    <a:cubicBezTo>
                      <a:pt x="196" y="663"/>
                      <a:pt x="196" y="663"/>
                      <a:pt x="196" y="663"/>
                    </a:cubicBezTo>
                    <a:cubicBezTo>
                      <a:pt x="196" y="658"/>
                      <a:pt x="191" y="653"/>
                      <a:pt x="186" y="653"/>
                    </a:cubicBezTo>
                    <a:cubicBezTo>
                      <a:pt x="10" y="653"/>
                      <a:pt x="10" y="653"/>
                      <a:pt x="10" y="653"/>
                    </a:cubicBezTo>
                    <a:cubicBezTo>
                      <a:pt x="4" y="653"/>
                      <a:pt x="0" y="658"/>
                      <a:pt x="0" y="663"/>
                    </a:cubicBezTo>
                    <a:cubicBezTo>
                      <a:pt x="0" y="916"/>
                      <a:pt x="0" y="916"/>
                      <a:pt x="0" y="916"/>
                    </a:cubicBezTo>
                    <a:cubicBezTo>
                      <a:pt x="0" y="922"/>
                      <a:pt x="4" y="926"/>
                      <a:pt x="10" y="926"/>
                    </a:cubicBezTo>
                    <a:close/>
                    <a:moveTo>
                      <a:pt x="542" y="926"/>
                    </a:moveTo>
                    <a:cubicBezTo>
                      <a:pt x="718" y="926"/>
                      <a:pt x="718" y="926"/>
                      <a:pt x="718" y="926"/>
                    </a:cubicBezTo>
                    <a:cubicBezTo>
                      <a:pt x="724" y="926"/>
                      <a:pt x="728" y="922"/>
                      <a:pt x="728" y="916"/>
                    </a:cubicBezTo>
                    <a:cubicBezTo>
                      <a:pt x="728" y="663"/>
                      <a:pt x="728" y="663"/>
                      <a:pt x="728" y="663"/>
                    </a:cubicBezTo>
                    <a:cubicBezTo>
                      <a:pt x="728" y="658"/>
                      <a:pt x="724" y="653"/>
                      <a:pt x="718" y="653"/>
                    </a:cubicBezTo>
                    <a:cubicBezTo>
                      <a:pt x="542" y="653"/>
                      <a:pt x="542" y="653"/>
                      <a:pt x="542" y="653"/>
                    </a:cubicBezTo>
                    <a:cubicBezTo>
                      <a:pt x="537" y="653"/>
                      <a:pt x="532" y="658"/>
                      <a:pt x="532" y="663"/>
                    </a:cubicBezTo>
                    <a:cubicBezTo>
                      <a:pt x="532" y="916"/>
                      <a:pt x="532" y="916"/>
                      <a:pt x="532" y="916"/>
                    </a:cubicBezTo>
                    <a:cubicBezTo>
                      <a:pt x="532" y="922"/>
                      <a:pt x="537" y="926"/>
                      <a:pt x="542" y="92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127" name="bcgIcons_Chemistry">
            <a:extLst>
              <a:ext uri="{FF2B5EF4-FFF2-40B4-BE49-F238E27FC236}">
                <a16:creationId xmlns="" xmlns:a16="http://schemas.microsoft.com/office/drawing/2014/main" id="{A3F02006-09DD-4BA1-BA6E-503BEE99587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20687" y="1872208"/>
            <a:ext cx="1116580" cy="1117614"/>
            <a:chOff x="1682" y="0"/>
            <a:chExt cx="4316" cy="4320"/>
          </a:xfrm>
        </p:grpSpPr>
        <p:sp>
          <p:nvSpPr>
            <p:cNvPr id="128" name="AutoShape 33">
              <a:extLst>
                <a:ext uri="{FF2B5EF4-FFF2-40B4-BE49-F238E27FC236}">
                  <a16:creationId xmlns="" xmlns:a16="http://schemas.microsoft.com/office/drawing/2014/main" id="{1D99D6D6-A50E-416A-9D1A-9C6DED98936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9" name="Freeform 35">
              <a:extLst>
                <a:ext uri="{FF2B5EF4-FFF2-40B4-BE49-F238E27FC236}">
                  <a16:creationId xmlns="" xmlns:a16="http://schemas.microsoft.com/office/drawing/2014/main" id="{7CF52ED9-3637-43AC-9340-2F4ECE519F0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3" y="1106"/>
              <a:ext cx="2334" cy="3043"/>
            </a:xfrm>
            <a:custGeom>
              <a:avLst/>
              <a:gdLst>
                <a:gd name="T0" fmla="*/ 1104 w 1246"/>
                <a:gd name="T1" fmla="*/ 605 h 1623"/>
                <a:gd name="T2" fmla="*/ 769 w 1246"/>
                <a:gd name="T3" fmla="*/ 394 h 1623"/>
                <a:gd name="T4" fmla="*/ 769 w 1246"/>
                <a:gd name="T5" fmla="*/ 44 h 1623"/>
                <a:gd name="T6" fmla="*/ 815 w 1246"/>
                <a:gd name="T7" fmla="*/ 44 h 1623"/>
                <a:gd name="T8" fmla="*/ 815 w 1246"/>
                <a:gd name="T9" fmla="*/ 58 h 1623"/>
                <a:gd name="T10" fmla="*/ 837 w 1246"/>
                <a:gd name="T11" fmla="*/ 80 h 1623"/>
                <a:gd name="T12" fmla="*/ 859 w 1246"/>
                <a:gd name="T13" fmla="*/ 58 h 1623"/>
                <a:gd name="T14" fmla="*/ 859 w 1246"/>
                <a:gd name="T15" fmla="*/ 22 h 1623"/>
                <a:gd name="T16" fmla="*/ 837 w 1246"/>
                <a:gd name="T17" fmla="*/ 0 h 1623"/>
                <a:gd name="T18" fmla="*/ 769 w 1246"/>
                <a:gd name="T19" fmla="*/ 0 h 1623"/>
                <a:gd name="T20" fmla="*/ 747 w 1246"/>
                <a:gd name="T21" fmla="*/ 0 h 1623"/>
                <a:gd name="T22" fmla="*/ 725 w 1246"/>
                <a:gd name="T23" fmla="*/ 0 h 1623"/>
                <a:gd name="T24" fmla="*/ 725 w 1246"/>
                <a:gd name="T25" fmla="*/ 412 h 1623"/>
                <a:gd name="T26" fmla="*/ 742 w 1246"/>
                <a:gd name="T27" fmla="*/ 433 h 1623"/>
                <a:gd name="T28" fmla="*/ 1202 w 1246"/>
                <a:gd name="T29" fmla="*/ 1000 h 1623"/>
                <a:gd name="T30" fmla="*/ 623 w 1246"/>
                <a:gd name="T31" fmla="*/ 1579 h 1623"/>
                <a:gd name="T32" fmla="*/ 44 w 1246"/>
                <a:gd name="T33" fmla="*/ 1000 h 1623"/>
                <a:gd name="T34" fmla="*/ 504 w 1246"/>
                <a:gd name="T35" fmla="*/ 433 h 1623"/>
                <a:gd name="T36" fmla="*/ 521 w 1246"/>
                <a:gd name="T37" fmla="*/ 412 h 1623"/>
                <a:gd name="T38" fmla="*/ 521 w 1246"/>
                <a:gd name="T39" fmla="*/ 22 h 1623"/>
                <a:gd name="T40" fmla="*/ 499 w 1246"/>
                <a:gd name="T41" fmla="*/ 0 h 1623"/>
                <a:gd name="T42" fmla="*/ 409 w 1246"/>
                <a:gd name="T43" fmla="*/ 0 h 1623"/>
                <a:gd name="T44" fmla="*/ 387 w 1246"/>
                <a:gd name="T45" fmla="*/ 22 h 1623"/>
                <a:gd name="T46" fmla="*/ 387 w 1246"/>
                <a:gd name="T47" fmla="*/ 58 h 1623"/>
                <a:gd name="T48" fmla="*/ 409 w 1246"/>
                <a:gd name="T49" fmla="*/ 80 h 1623"/>
                <a:gd name="T50" fmla="*/ 431 w 1246"/>
                <a:gd name="T51" fmla="*/ 58 h 1623"/>
                <a:gd name="T52" fmla="*/ 431 w 1246"/>
                <a:gd name="T53" fmla="*/ 44 h 1623"/>
                <a:gd name="T54" fmla="*/ 477 w 1246"/>
                <a:gd name="T55" fmla="*/ 44 h 1623"/>
                <a:gd name="T56" fmla="*/ 477 w 1246"/>
                <a:gd name="T57" fmla="*/ 394 h 1623"/>
                <a:gd name="T58" fmla="*/ 142 w 1246"/>
                <a:gd name="T59" fmla="*/ 605 h 1623"/>
                <a:gd name="T60" fmla="*/ 0 w 1246"/>
                <a:gd name="T61" fmla="*/ 1000 h 1623"/>
                <a:gd name="T62" fmla="*/ 623 w 1246"/>
                <a:gd name="T63" fmla="*/ 1623 h 1623"/>
                <a:gd name="T64" fmla="*/ 1246 w 1246"/>
                <a:gd name="T65" fmla="*/ 1000 h 1623"/>
                <a:gd name="T66" fmla="*/ 1104 w 1246"/>
                <a:gd name="T67" fmla="*/ 605 h 1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46" h="1623">
                  <a:moveTo>
                    <a:pt x="1104" y="605"/>
                  </a:moveTo>
                  <a:cubicBezTo>
                    <a:pt x="1018" y="500"/>
                    <a:pt x="900" y="426"/>
                    <a:pt x="769" y="394"/>
                  </a:cubicBezTo>
                  <a:cubicBezTo>
                    <a:pt x="769" y="44"/>
                    <a:pt x="769" y="44"/>
                    <a:pt x="769" y="44"/>
                  </a:cubicBezTo>
                  <a:cubicBezTo>
                    <a:pt x="815" y="44"/>
                    <a:pt x="815" y="44"/>
                    <a:pt x="815" y="44"/>
                  </a:cubicBezTo>
                  <a:cubicBezTo>
                    <a:pt x="815" y="58"/>
                    <a:pt x="815" y="58"/>
                    <a:pt x="815" y="58"/>
                  </a:cubicBezTo>
                  <a:cubicBezTo>
                    <a:pt x="815" y="70"/>
                    <a:pt x="825" y="80"/>
                    <a:pt x="837" y="80"/>
                  </a:cubicBezTo>
                  <a:cubicBezTo>
                    <a:pt x="849" y="80"/>
                    <a:pt x="859" y="70"/>
                    <a:pt x="859" y="58"/>
                  </a:cubicBezTo>
                  <a:cubicBezTo>
                    <a:pt x="859" y="22"/>
                    <a:pt x="859" y="22"/>
                    <a:pt x="859" y="22"/>
                  </a:cubicBezTo>
                  <a:cubicBezTo>
                    <a:pt x="859" y="10"/>
                    <a:pt x="849" y="0"/>
                    <a:pt x="837" y="0"/>
                  </a:cubicBezTo>
                  <a:cubicBezTo>
                    <a:pt x="769" y="0"/>
                    <a:pt x="769" y="0"/>
                    <a:pt x="769" y="0"/>
                  </a:cubicBezTo>
                  <a:cubicBezTo>
                    <a:pt x="747" y="0"/>
                    <a:pt x="747" y="0"/>
                    <a:pt x="747" y="0"/>
                  </a:cubicBezTo>
                  <a:cubicBezTo>
                    <a:pt x="725" y="0"/>
                    <a:pt x="725" y="0"/>
                    <a:pt x="725" y="0"/>
                  </a:cubicBezTo>
                  <a:cubicBezTo>
                    <a:pt x="725" y="412"/>
                    <a:pt x="725" y="412"/>
                    <a:pt x="725" y="412"/>
                  </a:cubicBezTo>
                  <a:cubicBezTo>
                    <a:pt x="725" y="422"/>
                    <a:pt x="732" y="431"/>
                    <a:pt x="742" y="433"/>
                  </a:cubicBezTo>
                  <a:cubicBezTo>
                    <a:pt x="1009" y="489"/>
                    <a:pt x="1202" y="727"/>
                    <a:pt x="1202" y="1000"/>
                  </a:cubicBezTo>
                  <a:cubicBezTo>
                    <a:pt x="1202" y="1319"/>
                    <a:pt x="942" y="1579"/>
                    <a:pt x="623" y="1579"/>
                  </a:cubicBezTo>
                  <a:cubicBezTo>
                    <a:pt x="304" y="1579"/>
                    <a:pt x="44" y="1319"/>
                    <a:pt x="44" y="1000"/>
                  </a:cubicBezTo>
                  <a:cubicBezTo>
                    <a:pt x="44" y="727"/>
                    <a:pt x="237" y="489"/>
                    <a:pt x="504" y="433"/>
                  </a:cubicBezTo>
                  <a:cubicBezTo>
                    <a:pt x="514" y="431"/>
                    <a:pt x="521" y="422"/>
                    <a:pt x="521" y="412"/>
                  </a:cubicBezTo>
                  <a:cubicBezTo>
                    <a:pt x="521" y="22"/>
                    <a:pt x="521" y="22"/>
                    <a:pt x="521" y="22"/>
                  </a:cubicBezTo>
                  <a:cubicBezTo>
                    <a:pt x="521" y="10"/>
                    <a:pt x="511" y="0"/>
                    <a:pt x="499" y="0"/>
                  </a:cubicBezTo>
                  <a:cubicBezTo>
                    <a:pt x="409" y="0"/>
                    <a:pt x="409" y="0"/>
                    <a:pt x="409" y="0"/>
                  </a:cubicBezTo>
                  <a:cubicBezTo>
                    <a:pt x="397" y="0"/>
                    <a:pt x="387" y="10"/>
                    <a:pt x="387" y="22"/>
                  </a:cubicBezTo>
                  <a:cubicBezTo>
                    <a:pt x="387" y="58"/>
                    <a:pt x="387" y="58"/>
                    <a:pt x="387" y="58"/>
                  </a:cubicBezTo>
                  <a:cubicBezTo>
                    <a:pt x="387" y="70"/>
                    <a:pt x="397" y="80"/>
                    <a:pt x="409" y="80"/>
                  </a:cubicBezTo>
                  <a:cubicBezTo>
                    <a:pt x="421" y="80"/>
                    <a:pt x="431" y="70"/>
                    <a:pt x="431" y="58"/>
                  </a:cubicBezTo>
                  <a:cubicBezTo>
                    <a:pt x="431" y="44"/>
                    <a:pt x="431" y="44"/>
                    <a:pt x="431" y="44"/>
                  </a:cubicBezTo>
                  <a:cubicBezTo>
                    <a:pt x="477" y="44"/>
                    <a:pt x="477" y="44"/>
                    <a:pt x="477" y="44"/>
                  </a:cubicBezTo>
                  <a:cubicBezTo>
                    <a:pt x="477" y="394"/>
                    <a:pt x="477" y="394"/>
                    <a:pt x="477" y="394"/>
                  </a:cubicBezTo>
                  <a:cubicBezTo>
                    <a:pt x="346" y="426"/>
                    <a:pt x="228" y="500"/>
                    <a:pt x="142" y="605"/>
                  </a:cubicBezTo>
                  <a:cubicBezTo>
                    <a:pt x="50" y="716"/>
                    <a:pt x="0" y="856"/>
                    <a:pt x="0" y="1000"/>
                  </a:cubicBezTo>
                  <a:cubicBezTo>
                    <a:pt x="0" y="1343"/>
                    <a:pt x="280" y="1623"/>
                    <a:pt x="623" y="1623"/>
                  </a:cubicBezTo>
                  <a:cubicBezTo>
                    <a:pt x="966" y="1623"/>
                    <a:pt x="1246" y="1343"/>
                    <a:pt x="1246" y="1000"/>
                  </a:cubicBezTo>
                  <a:cubicBezTo>
                    <a:pt x="1246" y="856"/>
                    <a:pt x="1196" y="716"/>
                    <a:pt x="1104" y="60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0" name="Freeform 36">
              <a:extLst>
                <a:ext uri="{FF2B5EF4-FFF2-40B4-BE49-F238E27FC236}">
                  <a16:creationId xmlns="" xmlns:a16="http://schemas.microsoft.com/office/drawing/2014/main" id="{D1F8AEA5-E00D-4A7B-A7A2-A53E01FACF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72" y="172"/>
              <a:ext cx="1936" cy="3779"/>
            </a:xfrm>
            <a:custGeom>
              <a:avLst/>
              <a:gdLst>
                <a:gd name="T0" fmla="*/ 517 w 1034"/>
                <a:gd name="T1" fmla="*/ 981 h 2015"/>
                <a:gd name="T2" fmla="*/ 0 w 1034"/>
                <a:gd name="T3" fmla="*/ 1498 h 2015"/>
                <a:gd name="T4" fmla="*/ 517 w 1034"/>
                <a:gd name="T5" fmla="*/ 2015 h 2015"/>
                <a:gd name="T6" fmla="*/ 1034 w 1034"/>
                <a:gd name="T7" fmla="*/ 1498 h 2015"/>
                <a:gd name="T8" fmla="*/ 517 w 1034"/>
                <a:gd name="T9" fmla="*/ 981 h 2015"/>
                <a:gd name="T10" fmla="*/ 293 w 1034"/>
                <a:gd name="T11" fmla="*/ 1376 h 2015"/>
                <a:gd name="T12" fmla="*/ 249 w 1034"/>
                <a:gd name="T13" fmla="*/ 1330 h 2015"/>
                <a:gd name="T14" fmla="*/ 293 w 1034"/>
                <a:gd name="T15" fmla="*/ 1284 h 2015"/>
                <a:gd name="T16" fmla="*/ 339 w 1034"/>
                <a:gd name="T17" fmla="*/ 1330 h 2015"/>
                <a:gd name="T18" fmla="*/ 293 w 1034"/>
                <a:gd name="T19" fmla="*/ 1376 h 2015"/>
                <a:gd name="T20" fmla="*/ 386 w 1034"/>
                <a:gd name="T21" fmla="*/ 1750 h 2015"/>
                <a:gd name="T22" fmla="*/ 358 w 1034"/>
                <a:gd name="T23" fmla="*/ 1722 h 2015"/>
                <a:gd name="T24" fmla="*/ 386 w 1034"/>
                <a:gd name="T25" fmla="*/ 1696 h 2015"/>
                <a:gd name="T26" fmla="*/ 412 w 1034"/>
                <a:gd name="T27" fmla="*/ 1722 h 2015"/>
                <a:gd name="T28" fmla="*/ 386 w 1034"/>
                <a:gd name="T29" fmla="*/ 1750 h 2015"/>
                <a:gd name="T30" fmla="*/ 412 w 1034"/>
                <a:gd name="T31" fmla="*/ 1124 h 2015"/>
                <a:gd name="T32" fmla="*/ 462 w 1034"/>
                <a:gd name="T33" fmla="*/ 1074 h 2015"/>
                <a:gd name="T34" fmla="*/ 513 w 1034"/>
                <a:gd name="T35" fmla="*/ 1124 h 2015"/>
                <a:gd name="T36" fmla="*/ 462 w 1034"/>
                <a:gd name="T37" fmla="*/ 1176 h 2015"/>
                <a:gd name="T38" fmla="*/ 412 w 1034"/>
                <a:gd name="T39" fmla="*/ 1124 h 2015"/>
                <a:gd name="T40" fmla="*/ 523 w 1034"/>
                <a:gd name="T41" fmla="*/ 1914 h 2015"/>
                <a:gd name="T42" fmla="*/ 486 w 1034"/>
                <a:gd name="T43" fmla="*/ 1878 h 2015"/>
                <a:gd name="T44" fmla="*/ 523 w 1034"/>
                <a:gd name="T45" fmla="*/ 1842 h 2015"/>
                <a:gd name="T46" fmla="*/ 558 w 1034"/>
                <a:gd name="T47" fmla="*/ 1878 h 2015"/>
                <a:gd name="T48" fmla="*/ 523 w 1034"/>
                <a:gd name="T49" fmla="*/ 1914 h 2015"/>
                <a:gd name="T50" fmla="*/ 536 w 1034"/>
                <a:gd name="T51" fmla="*/ 1577 h 2015"/>
                <a:gd name="T52" fmla="*/ 475 w 1034"/>
                <a:gd name="T53" fmla="*/ 1518 h 2015"/>
                <a:gd name="T54" fmla="*/ 536 w 1034"/>
                <a:gd name="T55" fmla="*/ 1457 h 2015"/>
                <a:gd name="T56" fmla="*/ 595 w 1034"/>
                <a:gd name="T57" fmla="*/ 1518 h 2015"/>
                <a:gd name="T58" fmla="*/ 536 w 1034"/>
                <a:gd name="T59" fmla="*/ 1577 h 2015"/>
                <a:gd name="T60" fmla="*/ 673 w 1034"/>
                <a:gd name="T61" fmla="*/ 1339 h 2015"/>
                <a:gd name="T62" fmla="*/ 641 w 1034"/>
                <a:gd name="T63" fmla="*/ 1307 h 2015"/>
                <a:gd name="T64" fmla="*/ 673 w 1034"/>
                <a:gd name="T65" fmla="*/ 1275 h 2015"/>
                <a:gd name="T66" fmla="*/ 705 w 1034"/>
                <a:gd name="T67" fmla="*/ 1307 h 2015"/>
                <a:gd name="T68" fmla="*/ 673 w 1034"/>
                <a:gd name="T69" fmla="*/ 1339 h 2015"/>
                <a:gd name="T70" fmla="*/ 525 w 1034"/>
                <a:gd name="T71" fmla="*/ 453 h 2015"/>
                <a:gd name="T72" fmla="*/ 425 w 1034"/>
                <a:gd name="T73" fmla="*/ 353 h 2015"/>
                <a:gd name="T74" fmla="*/ 525 w 1034"/>
                <a:gd name="T75" fmla="*/ 253 h 2015"/>
                <a:gd name="T76" fmla="*/ 625 w 1034"/>
                <a:gd name="T77" fmla="*/ 353 h 2015"/>
                <a:gd name="T78" fmla="*/ 525 w 1034"/>
                <a:gd name="T79" fmla="*/ 453 h 2015"/>
                <a:gd name="T80" fmla="*/ 407 w 1034"/>
                <a:gd name="T81" fmla="*/ 220 h 2015"/>
                <a:gd name="T82" fmla="*/ 352 w 1034"/>
                <a:gd name="T83" fmla="*/ 165 h 2015"/>
                <a:gd name="T84" fmla="*/ 407 w 1034"/>
                <a:gd name="T85" fmla="*/ 110 h 2015"/>
                <a:gd name="T86" fmla="*/ 462 w 1034"/>
                <a:gd name="T87" fmla="*/ 165 h 2015"/>
                <a:gd name="T88" fmla="*/ 407 w 1034"/>
                <a:gd name="T89" fmla="*/ 220 h 2015"/>
                <a:gd name="T90" fmla="*/ 580 w 1034"/>
                <a:gd name="T91" fmla="*/ 94 h 2015"/>
                <a:gd name="T92" fmla="*/ 533 w 1034"/>
                <a:gd name="T93" fmla="*/ 47 h 2015"/>
                <a:gd name="T94" fmla="*/ 580 w 1034"/>
                <a:gd name="T95" fmla="*/ 0 h 2015"/>
                <a:gd name="T96" fmla="*/ 627 w 1034"/>
                <a:gd name="T97" fmla="*/ 47 h 2015"/>
                <a:gd name="T98" fmla="*/ 580 w 1034"/>
                <a:gd name="T99" fmla="*/ 94 h 20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34" h="2015">
                  <a:moveTo>
                    <a:pt x="517" y="981"/>
                  </a:moveTo>
                  <a:cubicBezTo>
                    <a:pt x="231" y="981"/>
                    <a:pt x="0" y="1212"/>
                    <a:pt x="0" y="1498"/>
                  </a:cubicBezTo>
                  <a:cubicBezTo>
                    <a:pt x="0" y="1783"/>
                    <a:pt x="231" y="2015"/>
                    <a:pt x="517" y="2015"/>
                  </a:cubicBezTo>
                  <a:cubicBezTo>
                    <a:pt x="803" y="2015"/>
                    <a:pt x="1034" y="1783"/>
                    <a:pt x="1034" y="1498"/>
                  </a:cubicBezTo>
                  <a:cubicBezTo>
                    <a:pt x="1034" y="1212"/>
                    <a:pt x="803" y="981"/>
                    <a:pt x="517" y="981"/>
                  </a:cubicBezTo>
                  <a:close/>
                  <a:moveTo>
                    <a:pt x="293" y="1376"/>
                  </a:moveTo>
                  <a:cubicBezTo>
                    <a:pt x="269" y="1376"/>
                    <a:pt x="249" y="1356"/>
                    <a:pt x="249" y="1330"/>
                  </a:cubicBezTo>
                  <a:cubicBezTo>
                    <a:pt x="249" y="1305"/>
                    <a:pt x="269" y="1284"/>
                    <a:pt x="293" y="1284"/>
                  </a:cubicBezTo>
                  <a:cubicBezTo>
                    <a:pt x="319" y="1284"/>
                    <a:pt x="339" y="1305"/>
                    <a:pt x="339" y="1330"/>
                  </a:cubicBezTo>
                  <a:cubicBezTo>
                    <a:pt x="339" y="1356"/>
                    <a:pt x="319" y="1376"/>
                    <a:pt x="293" y="1376"/>
                  </a:cubicBezTo>
                  <a:close/>
                  <a:moveTo>
                    <a:pt x="386" y="1750"/>
                  </a:moveTo>
                  <a:cubicBezTo>
                    <a:pt x="371" y="1750"/>
                    <a:pt x="358" y="1737"/>
                    <a:pt x="358" y="1722"/>
                  </a:cubicBezTo>
                  <a:cubicBezTo>
                    <a:pt x="358" y="1707"/>
                    <a:pt x="371" y="1696"/>
                    <a:pt x="386" y="1696"/>
                  </a:cubicBezTo>
                  <a:cubicBezTo>
                    <a:pt x="401" y="1696"/>
                    <a:pt x="412" y="1707"/>
                    <a:pt x="412" y="1722"/>
                  </a:cubicBezTo>
                  <a:cubicBezTo>
                    <a:pt x="412" y="1737"/>
                    <a:pt x="401" y="1750"/>
                    <a:pt x="386" y="1750"/>
                  </a:cubicBezTo>
                  <a:close/>
                  <a:moveTo>
                    <a:pt x="412" y="1124"/>
                  </a:moveTo>
                  <a:cubicBezTo>
                    <a:pt x="412" y="1097"/>
                    <a:pt x="434" y="1074"/>
                    <a:pt x="462" y="1074"/>
                  </a:cubicBezTo>
                  <a:cubicBezTo>
                    <a:pt x="491" y="1074"/>
                    <a:pt x="513" y="1097"/>
                    <a:pt x="513" y="1124"/>
                  </a:cubicBezTo>
                  <a:cubicBezTo>
                    <a:pt x="513" y="1153"/>
                    <a:pt x="491" y="1176"/>
                    <a:pt x="462" y="1176"/>
                  </a:cubicBezTo>
                  <a:cubicBezTo>
                    <a:pt x="434" y="1176"/>
                    <a:pt x="412" y="1153"/>
                    <a:pt x="412" y="1124"/>
                  </a:cubicBezTo>
                  <a:close/>
                  <a:moveTo>
                    <a:pt x="523" y="1914"/>
                  </a:moveTo>
                  <a:cubicBezTo>
                    <a:pt x="502" y="1914"/>
                    <a:pt x="486" y="1899"/>
                    <a:pt x="486" y="1878"/>
                  </a:cubicBezTo>
                  <a:cubicBezTo>
                    <a:pt x="486" y="1857"/>
                    <a:pt x="502" y="1842"/>
                    <a:pt x="523" y="1842"/>
                  </a:cubicBezTo>
                  <a:cubicBezTo>
                    <a:pt x="541" y="1842"/>
                    <a:pt x="558" y="1857"/>
                    <a:pt x="558" y="1878"/>
                  </a:cubicBezTo>
                  <a:cubicBezTo>
                    <a:pt x="558" y="1899"/>
                    <a:pt x="541" y="1914"/>
                    <a:pt x="523" y="1914"/>
                  </a:cubicBezTo>
                  <a:close/>
                  <a:moveTo>
                    <a:pt x="536" y="1577"/>
                  </a:moveTo>
                  <a:cubicBezTo>
                    <a:pt x="504" y="1577"/>
                    <a:pt x="475" y="1549"/>
                    <a:pt x="475" y="1518"/>
                  </a:cubicBezTo>
                  <a:cubicBezTo>
                    <a:pt x="475" y="1483"/>
                    <a:pt x="504" y="1457"/>
                    <a:pt x="536" y="1457"/>
                  </a:cubicBezTo>
                  <a:cubicBezTo>
                    <a:pt x="568" y="1457"/>
                    <a:pt x="595" y="1483"/>
                    <a:pt x="595" y="1518"/>
                  </a:cubicBezTo>
                  <a:cubicBezTo>
                    <a:pt x="595" y="1549"/>
                    <a:pt x="568" y="1577"/>
                    <a:pt x="536" y="1577"/>
                  </a:cubicBezTo>
                  <a:close/>
                  <a:moveTo>
                    <a:pt x="673" y="1339"/>
                  </a:moveTo>
                  <a:cubicBezTo>
                    <a:pt x="656" y="1339"/>
                    <a:pt x="641" y="1326"/>
                    <a:pt x="641" y="1307"/>
                  </a:cubicBezTo>
                  <a:cubicBezTo>
                    <a:pt x="641" y="1290"/>
                    <a:pt x="656" y="1275"/>
                    <a:pt x="673" y="1275"/>
                  </a:cubicBezTo>
                  <a:cubicBezTo>
                    <a:pt x="690" y="1275"/>
                    <a:pt x="705" y="1290"/>
                    <a:pt x="705" y="1307"/>
                  </a:cubicBezTo>
                  <a:cubicBezTo>
                    <a:pt x="705" y="1326"/>
                    <a:pt x="690" y="1339"/>
                    <a:pt x="673" y="1339"/>
                  </a:cubicBezTo>
                  <a:close/>
                  <a:moveTo>
                    <a:pt x="525" y="453"/>
                  </a:moveTo>
                  <a:cubicBezTo>
                    <a:pt x="470" y="453"/>
                    <a:pt x="425" y="408"/>
                    <a:pt x="425" y="353"/>
                  </a:cubicBezTo>
                  <a:cubicBezTo>
                    <a:pt x="425" y="298"/>
                    <a:pt x="470" y="253"/>
                    <a:pt x="525" y="253"/>
                  </a:cubicBezTo>
                  <a:cubicBezTo>
                    <a:pt x="580" y="253"/>
                    <a:pt x="625" y="298"/>
                    <a:pt x="625" y="353"/>
                  </a:cubicBezTo>
                  <a:cubicBezTo>
                    <a:pt x="625" y="408"/>
                    <a:pt x="580" y="453"/>
                    <a:pt x="525" y="453"/>
                  </a:cubicBezTo>
                  <a:close/>
                  <a:moveTo>
                    <a:pt x="407" y="220"/>
                  </a:moveTo>
                  <a:cubicBezTo>
                    <a:pt x="377" y="220"/>
                    <a:pt x="352" y="195"/>
                    <a:pt x="352" y="165"/>
                  </a:cubicBezTo>
                  <a:cubicBezTo>
                    <a:pt x="352" y="135"/>
                    <a:pt x="377" y="110"/>
                    <a:pt x="407" y="110"/>
                  </a:cubicBezTo>
                  <a:cubicBezTo>
                    <a:pt x="438" y="110"/>
                    <a:pt x="462" y="135"/>
                    <a:pt x="462" y="165"/>
                  </a:cubicBezTo>
                  <a:cubicBezTo>
                    <a:pt x="462" y="195"/>
                    <a:pt x="438" y="220"/>
                    <a:pt x="407" y="220"/>
                  </a:cubicBezTo>
                  <a:close/>
                  <a:moveTo>
                    <a:pt x="580" y="94"/>
                  </a:moveTo>
                  <a:cubicBezTo>
                    <a:pt x="554" y="94"/>
                    <a:pt x="533" y="73"/>
                    <a:pt x="533" y="47"/>
                  </a:cubicBezTo>
                  <a:cubicBezTo>
                    <a:pt x="533" y="21"/>
                    <a:pt x="554" y="0"/>
                    <a:pt x="580" y="0"/>
                  </a:cubicBezTo>
                  <a:cubicBezTo>
                    <a:pt x="606" y="0"/>
                    <a:pt x="627" y="21"/>
                    <a:pt x="627" y="47"/>
                  </a:cubicBezTo>
                  <a:cubicBezTo>
                    <a:pt x="627" y="73"/>
                    <a:pt x="606" y="94"/>
                    <a:pt x="580" y="9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31" name="Group 130"/>
          <p:cNvGrpSpPr>
            <a:grpSpLocks noChangeAspect="1"/>
          </p:cNvGrpSpPr>
          <p:nvPr/>
        </p:nvGrpSpPr>
        <p:grpSpPr>
          <a:xfrm>
            <a:off x="9885881" y="1969193"/>
            <a:ext cx="976852" cy="976852"/>
            <a:chOff x="2670720" y="1"/>
            <a:chExt cx="6858001" cy="6858000"/>
          </a:xfrm>
        </p:grpSpPr>
        <p:sp>
          <p:nvSpPr>
            <p:cNvPr id="132" name="AutoShape 17"/>
            <p:cNvSpPr>
              <a:spLocks noChangeAspect="1" noChangeArrowheads="1" noTextEdit="1"/>
            </p:cNvSpPr>
            <p:nvPr/>
          </p:nvSpPr>
          <p:spPr bwMode="auto">
            <a:xfrm>
              <a:off x="2670720" y="1"/>
              <a:ext cx="6858001" cy="685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133" name="Group 132"/>
            <p:cNvGrpSpPr/>
            <p:nvPr/>
          </p:nvGrpSpPr>
          <p:grpSpPr>
            <a:xfrm>
              <a:off x="3398341" y="708026"/>
              <a:ext cx="5402763" cy="5441950"/>
              <a:chOff x="3398339" y="708025"/>
              <a:chExt cx="5402761" cy="5441951"/>
            </a:xfrm>
          </p:grpSpPr>
          <p:sp>
            <p:nvSpPr>
              <p:cNvPr id="134" name="Freeform 133"/>
              <p:cNvSpPr>
                <a:spLocks/>
              </p:cNvSpPr>
              <p:nvPr/>
            </p:nvSpPr>
            <p:spPr bwMode="auto">
              <a:xfrm>
                <a:off x="3398339" y="708025"/>
                <a:ext cx="5402761" cy="5441951"/>
              </a:xfrm>
              <a:custGeom>
                <a:avLst/>
                <a:gdLst>
                  <a:gd name="connsiteX0" fmla="*/ 3533552 w 5402761"/>
                  <a:gd name="connsiteY0" fmla="*/ 4075113 h 5441951"/>
                  <a:gd name="connsiteX1" fmla="*/ 3643735 w 5402761"/>
                  <a:gd name="connsiteY1" fmla="*/ 4075113 h 5441951"/>
                  <a:gd name="connsiteX2" fmla="*/ 3643735 w 5402761"/>
                  <a:gd name="connsiteY2" fmla="*/ 4155462 h 5441951"/>
                  <a:gd name="connsiteX3" fmla="*/ 3780720 w 5402761"/>
                  <a:gd name="connsiteY3" fmla="*/ 4197125 h 5441951"/>
                  <a:gd name="connsiteX4" fmla="*/ 3742007 w 5402761"/>
                  <a:gd name="connsiteY4" fmla="*/ 4301281 h 5441951"/>
                  <a:gd name="connsiteX5" fmla="*/ 3599066 w 5402761"/>
                  <a:gd name="connsiteY5" fmla="*/ 4253667 h 5441951"/>
                  <a:gd name="connsiteX6" fmla="*/ 3530574 w 5402761"/>
                  <a:gd name="connsiteY6" fmla="*/ 4277474 h 5441951"/>
                  <a:gd name="connsiteX7" fmla="*/ 3506750 w 5402761"/>
                  <a:gd name="connsiteY7" fmla="*/ 4334016 h 5441951"/>
                  <a:gd name="connsiteX8" fmla="*/ 3640757 w 5402761"/>
                  <a:gd name="connsiteY8" fmla="*/ 4456027 h 5441951"/>
                  <a:gd name="connsiteX9" fmla="*/ 3747963 w 5402761"/>
                  <a:gd name="connsiteY9" fmla="*/ 4518521 h 5441951"/>
                  <a:gd name="connsiteX10" fmla="*/ 3792632 w 5402761"/>
                  <a:gd name="connsiteY10" fmla="*/ 4583991 h 5441951"/>
                  <a:gd name="connsiteX11" fmla="*/ 3810499 w 5402761"/>
                  <a:gd name="connsiteY11" fmla="*/ 4664340 h 5441951"/>
                  <a:gd name="connsiteX12" fmla="*/ 3768808 w 5402761"/>
                  <a:gd name="connsiteY12" fmla="*/ 4780400 h 5441951"/>
                  <a:gd name="connsiteX13" fmla="*/ 3643735 w 5402761"/>
                  <a:gd name="connsiteY13" fmla="*/ 4845869 h 5441951"/>
                  <a:gd name="connsiteX14" fmla="*/ 3643735 w 5402761"/>
                  <a:gd name="connsiteY14" fmla="*/ 4953001 h 5441951"/>
                  <a:gd name="connsiteX15" fmla="*/ 3533552 w 5402761"/>
                  <a:gd name="connsiteY15" fmla="*/ 4953001 h 5441951"/>
                  <a:gd name="connsiteX16" fmla="*/ 3533552 w 5402761"/>
                  <a:gd name="connsiteY16" fmla="*/ 4854797 h 5441951"/>
                  <a:gd name="connsiteX17" fmla="*/ 3378699 w 5402761"/>
                  <a:gd name="connsiteY17" fmla="*/ 4807183 h 5441951"/>
                  <a:gd name="connsiteX18" fmla="*/ 3426346 w 5402761"/>
                  <a:gd name="connsiteY18" fmla="*/ 4697075 h 5441951"/>
                  <a:gd name="connsiteX19" fmla="*/ 3575243 w 5402761"/>
                  <a:gd name="connsiteY19" fmla="*/ 4747665 h 5441951"/>
                  <a:gd name="connsiteX20" fmla="*/ 3685426 w 5402761"/>
                  <a:gd name="connsiteY20" fmla="*/ 4673267 h 5441951"/>
                  <a:gd name="connsiteX21" fmla="*/ 3655647 w 5402761"/>
                  <a:gd name="connsiteY21" fmla="*/ 4607798 h 5441951"/>
                  <a:gd name="connsiteX22" fmla="*/ 3548441 w 5402761"/>
                  <a:gd name="connsiteY22" fmla="*/ 4536376 h 5441951"/>
                  <a:gd name="connsiteX23" fmla="*/ 3441236 w 5402761"/>
                  <a:gd name="connsiteY23" fmla="*/ 4473883 h 5441951"/>
                  <a:gd name="connsiteX24" fmla="*/ 3396567 w 5402761"/>
                  <a:gd name="connsiteY24" fmla="*/ 4414365 h 5441951"/>
                  <a:gd name="connsiteX25" fmla="*/ 3381677 w 5402761"/>
                  <a:gd name="connsiteY25" fmla="*/ 4336992 h 5441951"/>
                  <a:gd name="connsiteX26" fmla="*/ 3423368 w 5402761"/>
                  <a:gd name="connsiteY26" fmla="*/ 4226884 h 5441951"/>
                  <a:gd name="connsiteX27" fmla="*/ 3533552 w 5402761"/>
                  <a:gd name="connsiteY27" fmla="*/ 4161414 h 5441951"/>
                  <a:gd name="connsiteX28" fmla="*/ 3533552 w 5402761"/>
                  <a:gd name="connsiteY28" fmla="*/ 4075113 h 5441951"/>
                  <a:gd name="connsiteX29" fmla="*/ 1932486 w 5402761"/>
                  <a:gd name="connsiteY29" fmla="*/ 3735388 h 5441951"/>
                  <a:gd name="connsiteX30" fmla="*/ 1932486 w 5402761"/>
                  <a:gd name="connsiteY30" fmla="*/ 5310188 h 5441951"/>
                  <a:gd name="connsiteX31" fmla="*/ 5272586 w 5402761"/>
                  <a:gd name="connsiteY31" fmla="*/ 5310188 h 5441951"/>
                  <a:gd name="connsiteX32" fmla="*/ 5272586 w 5402761"/>
                  <a:gd name="connsiteY32" fmla="*/ 3735388 h 5441951"/>
                  <a:gd name="connsiteX33" fmla="*/ 1867774 w 5402761"/>
                  <a:gd name="connsiteY33" fmla="*/ 3608388 h 5441951"/>
                  <a:gd name="connsiteX34" fmla="*/ 5337298 w 5402761"/>
                  <a:gd name="connsiteY34" fmla="*/ 3608388 h 5441951"/>
                  <a:gd name="connsiteX35" fmla="*/ 5402761 w 5402761"/>
                  <a:gd name="connsiteY35" fmla="*/ 3670896 h 5441951"/>
                  <a:gd name="connsiteX36" fmla="*/ 5402761 w 5402761"/>
                  <a:gd name="connsiteY36" fmla="*/ 5376467 h 5441951"/>
                  <a:gd name="connsiteX37" fmla="*/ 5337298 w 5402761"/>
                  <a:gd name="connsiteY37" fmla="*/ 5441951 h 5441951"/>
                  <a:gd name="connsiteX38" fmla="*/ 1867774 w 5402761"/>
                  <a:gd name="connsiteY38" fmla="*/ 5441951 h 5441951"/>
                  <a:gd name="connsiteX39" fmla="*/ 1802311 w 5402761"/>
                  <a:gd name="connsiteY39" fmla="*/ 5376467 h 5441951"/>
                  <a:gd name="connsiteX40" fmla="*/ 1802311 w 5402761"/>
                  <a:gd name="connsiteY40" fmla="*/ 3670896 h 5441951"/>
                  <a:gd name="connsiteX41" fmla="*/ 1867774 w 5402761"/>
                  <a:gd name="connsiteY41" fmla="*/ 3608388 h 5441951"/>
                  <a:gd name="connsiteX42" fmla="*/ 409138 w 5402761"/>
                  <a:gd name="connsiteY42" fmla="*/ 2566988 h 5441951"/>
                  <a:gd name="connsiteX43" fmla="*/ 465674 w 5402761"/>
                  <a:gd name="connsiteY43" fmla="*/ 2623521 h 5441951"/>
                  <a:gd name="connsiteX44" fmla="*/ 792985 w 5402761"/>
                  <a:gd name="connsiteY44" fmla="*/ 2950815 h 5441951"/>
                  <a:gd name="connsiteX45" fmla="*/ 804887 w 5402761"/>
                  <a:gd name="connsiteY45" fmla="*/ 3057929 h 5441951"/>
                  <a:gd name="connsiteX46" fmla="*/ 742400 w 5402761"/>
                  <a:gd name="connsiteY46" fmla="*/ 3087683 h 5441951"/>
                  <a:gd name="connsiteX47" fmla="*/ 694791 w 5402761"/>
                  <a:gd name="connsiteY47" fmla="*/ 3072806 h 5441951"/>
                  <a:gd name="connsiteX48" fmla="*/ 489478 w 5402761"/>
                  <a:gd name="connsiteY48" fmla="*/ 2867504 h 5441951"/>
                  <a:gd name="connsiteX49" fmla="*/ 489478 w 5402761"/>
                  <a:gd name="connsiteY49" fmla="*/ 4444467 h 5441951"/>
                  <a:gd name="connsiteX50" fmla="*/ 1667797 w 5402761"/>
                  <a:gd name="connsiteY50" fmla="*/ 4444467 h 5441951"/>
                  <a:gd name="connsiteX51" fmla="*/ 1745161 w 5402761"/>
                  <a:gd name="connsiteY51" fmla="*/ 4524803 h 5441951"/>
                  <a:gd name="connsiteX52" fmla="*/ 1667797 w 5402761"/>
                  <a:gd name="connsiteY52" fmla="*/ 4602163 h 5441951"/>
                  <a:gd name="connsiteX53" fmla="*/ 331774 w 5402761"/>
                  <a:gd name="connsiteY53" fmla="*/ 4602163 h 5441951"/>
                  <a:gd name="connsiteX54" fmla="*/ 331774 w 5402761"/>
                  <a:gd name="connsiteY54" fmla="*/ 2867504 h 5441951"/>
                  <a:gd name="connsiteX55" fmla="*/ 132412 w 5402761"/>
                  <a:gd name="connsiteY55" fmla="*/ 3063880 h 5441951"/>
                  <a:gd name="connsiteX56" fmla="*/ 22316 w 5402761"/>
                  <a:gd name="connsiteY56" fmla="*/ 3063880 h 5441951"/>
                  <a:gd name="connsiteX57" fmla="*/ 22316 w 5402761"/>
                  <a:gd name="connsiteY57" fmla="*/ 2953790 h 5441951"/>
                  <a:gd name="connsiteX58" fmla="*/ 409138 w 5402761"/>
                  <a:gd name="connsiteY58" fmla="*/ 2566988 h 5441951"/>
                  <a:gd name="connsiteX59" fmla="*/ 3075116 w 5402761"/>
                  <a:gd name="connsiteY59" fmla="*/ 1373188 h 5441951"/>
                  <a:gd name="connsiteX60" fmla="*/ 4412049 w 5402761"/>
                  <a:gd name="connsiteY60" fmla="*/ 1373188 h 5441951"/>
                  <a:gd name="connsiteX61" fmla="*/ 4412049 w 5402761"/>
                  <a:gd name="connsiteY61" fmla="*/ 3104872 h 5441951"/>
                  <a:gd name="connsiteX62" fmla="*/ 4605591 w 5402761"/>
                  <a:gd name="connsiteY62" fmla="*/ 2914446 h 5441951"/>
                  <a:gd name="connsiteX63" fmla="*/ 4715761 w 5402761"/>
                  <a:gd name="connsiteY63" fmla="*/ 2917422 h 5441951"/>
                  <a:gd name="connsiteX64" fmla="*/ 4715761 w 5402761"/>
                  <a:gd name="connsiteY64" fmla="*/ 3027512 h 5441951"/>
                  <a:gd name="connsiteX65" fmla="*/ 4400138 w 5402761"/>
                  <a:gd name="connsiteY65" fmla="*/ 3336954 h 5441951"/>
                  <a:gd name="connsiteX66" fmla="*/ 4376318 w 5402761"/>
                  <a:gd name="connsiteY66" fmla="*/ 3363732 h 5441951"/>
                  <a:gd name="connsiteX67" fmla="*/ 4331654 w 5402761"/>
                  <a:gd name="connsiteY67" fmla="*/ 3408363 h 5441951"/>
                  <a:gd name="connsiteX68" fmla="*/ 4275080 w 5402761"/>
                  <a:gd name="connsiteY68" fmla="*/ 3351831 h 5441951"/>
                  <a:gd name="connsiteX69" fmla="*/ 3953502 w 5402761"/>
                  <a:gd name="connsiteY69" fmla="*/ 3030487 h 5441951"/>
                  <a:gd name="connsiteX70" fmla="*/ 3938614 w 5402761"/>
                  <a:gd name="connsiteY70" fmla="*/ 2923373 h 5441951"/>
                  <a:gd name="connsiteX71" fmla="*/ 4048784 w 5402761"/>
                  <a:gd name="connsiteY71" fmla="*/ 2908496 h 5441951"/>
                  <a:gd name="connsiteX72" fmla="*/ 4257214 w 5402761"/>
                  <a:gd name="connsiteY72" fmla="*/ 3110823 h 5441951"/>
                  <a:gd name="connsiteX73" fmla="*/ 4257214 w 5402761"/>
                  <a:gd name="connsiteY73" fmla="*/ 1527909 h 5441951"/>
                  <a:gd name="connsiteX74" fmla="*/ 3075116 w 5402761"/>
                  <a:gd name="connsiteY74" fmla="*/ 1527909 h 5441951"/>
                  <a:gd name="connsiteX75" fmla="*/ 2997699 w 5402761"/>
                  <a:gd name="connsiteY75" fmla="*/ 1450549 h 5441951"/>
                  <a:gd name="connsiteX76" fmla="*/ 3075116 w 5402761"/>
                  <a:gd name="connsiteY76" fmla="*/ 1373188 h 5441951"/>
                  <a:gd name="connsiteX77" fmla="*/ 1464174 w 5402761"/>
                  <a:gd name="connsiteY77" fmla="*/ 669925 h 5441951"/>
                  <a:gd name="connsiteX78" fmla="*/ 694236 w 5402761"/>
                  <a:gd name="connsiteY78" fmla="*/ 1440657 h 5441951"/>
                  <a:gd name="connsiteX79" fmla="*/ 1464174 w 5402761"/>
                  <a:gd name="connsiteY79" fmla="*/ 2211389 h 5441951"/>
                  <a:gd name="connsiteX80" fmla="*/ 2234112 w 5402761"/>
                  <a:gd name="connsiteY80" fmla="*/ 1440657 h 5441951"/>
                  <a:gd name="connsiteX81" fmla="*/ 1464174 w 5402761"/>
                  <a:gd name="connsiteY81" fmla="*/ 669925 h 5441951"/>
                  <a:gd name="connsiteX82" fmla="*/ 1465761 w 5402761"/>
                  <a:gd name="connsiteY82" fmla="*/ 533400 h 5441951"/>
                  <a:gd name="connsiteX83" fmla="*/ 2373811 w 5402761"/>
                  <a:gd name="connsiteY83" fmla="*/ 1441450 h 5441951"/>
                  <a:gd name="connsiteX84" fmla="*/ 1465761 w 5402761"/>
                  <a:gd name="connsiteY84" fmla="*/ 2349500 h 5441951"/>
                  <a:gd name="connsiteX85" fmla="*/ 557711 w 5402761"/>
                  <a:gd name="connsiteY85" fmla="*/ 1441450 h 5441951"/>
                  <a:gd name="connsiteX86" fmla="*/ 1465761 w 5402761"/>
                  <a:gd name="connsiteY86" fmla="*/ 533400 h 5441951"/>
                  <a:gd name="connsiteX87" fmla="*/ 1333910 w 5402761"/>
                  <a:gd name="connsiteY87" fmla="*/ 142875 h 5441951"/>
                  <a:gd name="connsiteX88" fmla="*/ 1232714 w 5402761"/>
                  <a:gd name="connsiteY88" fmla="*/ 416804 h 5441951"/>
                  <a:gd name="connsiteX89" fmla="*/ 1196998 w 5402761"/>
                  <a:gd name="connsiteY89" fmla="*/ 425736 h 5441951"/>
                  <a:gd name="connsiteX90" fmla="*/ 1009489 w 5402761"/>
                  <a:gd name="connsiteY90" fmla="*/ 488263 h 5441951"/>
                  <a:gd name="connsiteX91" fmla="*/ 979726 w 5402761"/>
                  <a:gd name="connsiteY91" fmla="*/ 503152 h 5441951"/>
                  <a:gd name="connsiteX92" fmla="*/ 732690 w 5402761"/>
                  <a:gd name="connsiteY92" fmla="*/ 363209 h 5441951"/>
                  <a:gd name="connsiteX93" fmla="*/ 628518 w 5402761"/>
                  <a:gd name="connsiteY93" fmla="*/ 443601 h 5441951"/>
                  <a:gd name="connsiteX94" fmla="*/ 530299 w 5402761"/>
                  <a:gd name="connsiteY94" fmla="*/ 532926 h 5441951"/>
                  <a:gd name="connsiteX95" fmla="*/ 619589 w 5402761"/>
                  <a:gd name="connsiteY95" fmla="*/ 777080 h 5441951"/>
                  <a:gd name="connsiteX96" fmla="*/ 592802 w 5402761"/>
                  <a:gd name="connsiteY96" fmla="*/ 806854 h 5441951"/>
                  <a:gd name="connsiteX97" fmla="*/ 467796 w 5402761"/>
                  <a:gd name="connsiteY97" fmla="*/ 1009324 h 5441951"/>
                  <a:gd name="connsiteX98" fmla="*/ 452914 w 5402761"/>
                  <a:gd name="connsiteY98" fmla="*/ 1039098 h 5441951"/>
                  <a:gd name="connsiteX99" fmla="*/ 211831 w 5402761"/>
                  <a:gd name="connsiteY99" fmla="*/ 1086738 h 5441951"/>
                  <a:gd name="connsiteX100" fmla="*/ 185044 w 5402761"/>
                  <a:gd name="connsiteY100" fmla="*/ 1211793 h 5441951"/>
                  <a:gd name="connsiteX101" fmla="*/ 167186 w 5402761"/>
                  <a:gd name="connsiteY101" fmla="*/ 1345779 h 5441951"/>
                  <a:gd name="connsiteX102" fmla="*/ 366601 w 5402761"/>
                  <a:gd name="connsiteY102" fmla="*/ 1461902 h 5441951"/>
                  <a:gd name="connsiteX103" fmla="*/ 369577 w 5402761"/>
                  <a:gd name="connsiteY103" fmla="*/ 1500609 h 5441951"/>
                  <a:gd name="connsiteX104" fmla="*/ 417198 w 5402761"/>
                  <a:gd name="connsiteY104" fmla="*/ 1756673 h 5441951"/>
                  <a:gd name="connsiteX105" fmla="*/ 429104 w 5402761"/>
                  <a:gd name="connsiteY105" fmla="*/ 1789425 h 5441951"/>
                  <a:gd name="connsiteX106" fmla="*/ 277311 w 5402761"/>
                  <a:gd name="connsiteY106" fmla="*/ 1974029 h 5441951"/>
                  <a:gd name="connsiteX107" fmla="*/ 336837 w 5402761"/>
                  <a:gd name="connsiteY107" fmla="*/ 2090151 h 5441951"/>
                  <a:gd name="connsiteX108" fmla="*/ 408269 w 5402761"/>
                  <a:gd name="connsiteY108" fmla="*/ 2200318 h 5441951"/>
                  <a:gd name="connsiteX109" fmla="*/ 658281 w 5402761"/>
                  <a:gd name="connsiteY109" fmla="*/ 2161611 h 5441951"/>
                  <a:gd name="connsiteX110" fmla="*/ 685068 w 5402761"/>
                  <a:gd name="connsiteY110" fmla="*/ 2185431 h 5441951"/>
                  <a:gd name="connsiteX111" fmla="*/ 863649 w 5402761"/>
                  <a:gd name="connsiteY111" fmla="*/ 2325372 h 5441951"/>
                  <a:gd name="connsiteX112" fmla="*/ 896388 w 5402761"/>
                  <a:gd name="connsiteY112" fmla="*/ 2346215 h 5441951"/>
                  <a:gd name="connsiteX113" fmla="*/ 896388 w 5402761"/>
                  <a:gd name="connsiteY113" fmla="*/ 2611211 h 5441951"/>
                  <a:gd name="connsiteX114" fmla="*/ 1018418 w 5402761"/>
                  <a:gd name="connsiteY114" fmla="*/ 2661828 h 5441951"/>
                  <a:gd name="connsiteX115" fmla="*/ 1143424 w 5402761"/>
                  <a:gd name="connsiteY115" fmla="*/ 2700536 h 5441951"/>
                  <a:gd name="connsiteX116" fmla="*/ 1324981 w 5402761"/>
                  <a:gd name="connsiteY116" fmla="*/ 2492112 h 5441951"/>
                  <a:gd name="connsiteX117" fmla="*/ 1360697 w 5402761"/>
                  <a:gd name="connsiteY117" fmla="*/ 2495089 h 5441951"/>
                  <a:gd name="connsiteX118" fmla="*/ 1566064 w 5402761"/>
                  <a:gd name="connsiteY118" fmla="*/ 2495089 h 5441951"/>
                  <a:gd name="connsiteX119" fmla="*/ 1601780 w 5402761"/>
                  <a:gd name="connsiteY119" fmla="*/ 2492112 h 5441951"/>
                  <a:gd name="connsiteX120" fmla="*/ 1783336 w 5402761"/>
                  <a:gd name="connsiteY120" fmla="*/ 2703513 h 5441951"/>
                  <a:gd name="connsiteX121" fmla="*/ 1905366 w 5402761"/>
                  <a:gd name="connsiteY121" fmla="*/ 2661828 h 5441951"/>
                  <a:gd name="connsiteX122" fmla="*/ 2030372 w 5402761"/>
                  <a:gd name="connsiteY122" fmla="*/ 2611211 h 5441951"/>
                  <a:gd name="connsiteX123" fmla="*/ 2033348 w 5402761"/>
                  <a:gd name="connsiteY123" fmla="*/ 2349192 h 5441951"/>
                  <a:gd name="connsiteX124" fmla="*/ 2063112 w 5402761"/>
                  <a:gd name="connsiteY124" fmla="*/ 2328350 h 5441951"/>
                  <a:gd name="connsiteX125" fmla="*/ 2244668 w 5402761"/>
                  <a:gd name="connsiteY125" fmla="*/ 2185431 h 5441951"/>
                  <a:gd name="connsiteX126" fmla="*/ 2271455 w 5402761"/>
                  <a:gd name="connsiteY126" fmla="*/ 2161611 h 5441951"/>
                  <a:gd name="connsiteX127" fmla="*/ 2518491 w 5402761"/>
                  <a:gd name="connsiteY127" fmla="*/ 2200318 h 5441951"/>
                  <a:gd name="connsiteX128" fmla="*/ 2589923 w 5402761"/>
                  <a:gd name="connsiteY128" fmla="*/ 2090151 h 5441951"/>
                  <a:gd name="connsiteX129" fmla="*/ 2649450 w 5402761"/>
                  <a:gd name="connsiteY129" fmla="*/ 1977007 h 5441951"/>
                  <a:gd name="connsiteX130" fmla="*/ 2497657 w 5402761"/>
                  <a:gd name="connsiteY130" fmla="*/ 1792402 h 5441951"/>
                  <a:gd name="connsiteX131" fmla="*/ 2509562 w 5402761"/>
                  <a:gd name="connsiteY131" fmla="*/ 1756673 h 5441951"/>
                  <a:gd name="connsiteX132" fmla="*/ 2557183 w 5402761"/>
                  <a:gd name="connsiteY132" fmla="*/ 1500609 h 5441951"/>
                  <a:gd name="connsiteX133" fmla="*/ 2560160 w 5402761"/>
                  <a:gd name="connsiteY133" fmla="*/ 1464879 h 5441951"/>
                  <a:gd name="connsiteX134" fmla="*/ 2759574 w 5402761"/>
                  <a:gd name="connsiteY134" fmla="*/ 1345779 h 5441951"/>
                  <a:gd name="connsiteX135" fmla="*/ 2741716 w 5402761"/>
                  <a:gd name="connsiteY135" fmla="*/ 1214771 h 5441951"/>
                  <a:gd name="connsiteX136" fmla="*/ 2714929 w 5402761"/>
                  <a:gd name="connsiteY136" fmla="*/ 1086738 h 5441951"/>
                  <a:gd name="connsiteX137" fmla="*/ 2476822 w 5402761"/>
                  <a:gd name="connsiteY137" fmla="*/ 1042076 h 5441951"/>
                  <a:gd name="connsiteX138" fmla="*/ 2461941 w 5402761"/>
                  <a:gd name="connsiteY138" fmla="*/ 1009324 h 5441951"/>
                  <a:gd name="connsiteX139" fmla="*/ 2333958 w 5402761"/>
                  <a:gd name="connsiteY139" fmla="*/ 806854 h 5441951"/>
                  <a:gd name="connsiteX140" fmla="*/ 2310148 w 5402761"/>
                  <a:gd name="connsiteY140" fmla="*/ 777080 h 5441951"/>
                  <a:gd name="connsiteX141" fmla="*/ 2396461 w 5402761"/>
                  <a:gd name="connsiteY141" fmla="*/ 532926 h 5441951"/>
                  <a:gd name="connsiteX142" fmla="*/ 2298242 w 5402761"/>
                  <a:gd name="connsiteY142" fmla="*/ 443601 h 5441951"/>
                  <a:gd name="connsiteX143" fmla="*/ 2197047 w 5402761"/>
                  <a:gd name="connsiteY143" fmla="*/ 363209 h 5441951"/>
                  <a:gd name="connsiteX144" fmla="*/ 1950011 w 5402761"/>
                  <a:gd name="connsiteY144" fmla="*/ 503152 h 5441951"/>
                  <a:gd name="connsiteX145" fmla="*/ 1917271 w 5402761"/>
                  <a:gd name="connsiteY145" fmla="*/ 488263 h 5441951"/>
                  <a:gd name="connsiteX146" fmla="*/ 1732739 w 5402761"/>
                  <a:gd name="connsiteY146" fmla="*/ 425736 h 5441951"/>
                  <a:gd name="connsiteX147" fmla="*/ 1697023 w 5402761"/>
                  <a:gd name="connsiteY147" fmla="*/ 416804 h 5441951"/>
                  <a:gd name="connsiteX148" fmla="*/ 1595827 w 5402761"/>
                  <a:gd name="connsiteY148" fmla="*/ 142875 h 5441951"/>
                  <a:gd name="connsiteX149" fmla="*/ 1464868 w 5402761"/>
                  <a:gd name="connsiteY149" fmla="*/ 142875 h 5441951"/>
                  <a:gd name="connsiteX150" fmla="*/ 1333910 w 5402761"/>
                  <a:gd name="connsiteY150" fmla="*/ 142875 h 5441951"/>
                  <a:gd name="connsiteX151" fmla="*/ 1464868 w 5402761"/>
                  <a:gd name="connsiteY151" fmla="*/ 0 h 5441951"/>
                  <a:gd name="connsiteX152" fmla="*/ 1655355 w 5402761"/>
                  <a:gd name="connsiteY152" fmla="*/ 11906 h 5441951"/>
                  <a:gd name="connsiteX153" fmla="*/ 1694048 w 5402761"/>
                  <a:gd name="connsiteY153" fmla="*/ 17858 h 5441951"/>
                  <a:gd name="connsiteX154" fmla="*/ 1801197 w 5402761"/>
                  <a:gd name="connsiteY154" fmla="*/ 300612 h 5441951"/>
                  <a:gd name="connsiteX155" fmla="*/ 1941086 w 5402761"/>
                  <a:gd name="connsiteY155" fmla="*/ 348234 h 5441951"/>
                  <a:gd name="connsiteX156" fmla="*/ 2203005 w 5402761"/>
                  <a:gd name="connsiteY156" fmla="*/ 202392 h 5441951"/>
                  <a:gd name="connsiteX157" fmla="*/ 2238721 w 5402761"/>
                  <a:gd name="connsiteY157" fmla="*/ 226203 h 5441951"/>
                  <a:gd name="connsiteX158" fmla="*/ 2387539 w 5402761"/>
                  <a:gd name="connsiteY158" fmla="*/ 339305 h 5441951"/>
                  <a:gd name="connsiteX159" fmla="*/ 2524452 w 5402761"/>
                  <a:gd name="connsiteY159" fmla="*/ 467288 h 5441951"/>
                  <a:gd name="connsiteX160" fmla="*/ 2554215 w 5402761"/>
                  <a:gd name="connsiteY160" fmla="*/ 500028 h 5441951"/>
                  <a:gd name="connsiteX161" fmla="*/ 2467901 w 5402761"/>
                  <a:gd name="connsiteY161" fmla="*/ 753018 h 5441951"/>
                  <a:gd name="connsiteX162" fmla="*/ 2572073 w 5402761"/>
                  <a:gd name="connsiteY162" fmla="*/ 919694 h 5441951"/>
                  <a:gd name="connsiteX163" fmla="*/ 2825064 w 5402761"/>
                  <a:gd name="connsiteY163" fmla="*/ 964339 h 5441951"/>
                  <a:gd name="connsiteX164" fmla="*/ 2836969 w 5402761"/>
                  <a:gd name="connsiteY164" fmla="*/ 1006008 h 5441951"/>
                  <a:gd name="connsiteX165" fmla="*/ 2878638 w 5402761"/>
                  <a:gd name="connsiteY165" fmla="*/ 1190543 h 5441951"/>
                  <a:gd name="connsiteX166" fmla="*/ 2899473 w 5402761"/>
                  <a:gd name="connsiteY166" fmla="*/ 1378053 h 5441951"/>
                  <a:gd name="connsiteX167" fmla="*/ 2902449 w 5402761"/>
                  <a:gd name="connsiteY167" fmla="*/ 1419722 h 5441951"/>
                  <a:gd name="connsiteX168" fmla="*/ 2691128 w 5402761"/>
                  <a:gd name="connsiteY168" fmla="*/ 1547705 h 5441951"/>
                  <a:gd name="connsiteX169" fmla="*/ 2655411 w 5402761"/>
                  <a:gd name="connsiteY169" fmla="*/ 1762003 h 5441951"/>
                  <a:gd name="connsiteX170" fmla="*/ 2810182 w 5402761"/>
                  <a:gd name="connsiteY170" fmla="*/ 1952489 h 5441951"/>
                  <a:gd name="connsiteX171" fmla="*/ 2792324 w 5402761"/>
                  <a:gd name="connsiteY171" fmla="*/ 1988206 h 5441951"/>
                  <a:gd name="connsiteX172" fmla="*/ 2706010 w 5402761"/>
                  <a:gd name="connsiteY172" fmla="*/ 2160834 h 5441951"/>
                  <a:gd name="connsiteX173" fmla="*/ 2604813 w 5402761"/>
                  <a:gd name="connsiteY173" fmla="*/ 2318581 h 5441951"/>
                  <a:gd name="connsiteX174" fmla="*/ 2581002 w 5402761"/>
                  <a:gd name="connsiteY174" fmla="*/ 2351321 h 5441951"/>
                  <a:gd name="connsiteX175" fmla="*/ 2313130 w 5402761"/>
                  <a:gd name="connsiteY175" fmla="*/ 2309652 h 5441951"/>
                  <a:gd name="connsiteX176" fmla="*/ 2170265 w 5402761"/>
                  <a:gd name="connsiteY176" fmla="*/ 2422754 h 5441951"/>
                  <a:gd name="connsiteX177" fmla="*/ 2164312 w 5402761"/>
                  <a:gd name="connsiteY177" fmla="*/ 2699555 h 5441951"/>
                  <a:gd name="connsiteX178" fmla="*/ 2128596 w 5402761"/>
                  <a:gd name="connsiteY178" fmla="*/ 2717413 h 5441951"/>
                  <a:gd name="connsiteX179" fmla="*/ 1952991 w 5402761"/>
                  <a:gd name="connsiteY179" fmla="*/ 2791822 h 5441951"/>
                  <a:gd name="connsiteX180" fmla="*/ 1774410 w 5402761"/>
                  <a:gd name="connsiteY180" fmla="*/ 2845396 h 5441951"/>
                  <a:gd name="connsiteX181" fmla="*/ 1732741 w 5402761"/>
                  <a:gd name="connsiteY181" fmla="*/ 2854325 h 5441951"/>
                  <a:gd name="connsiteX182" fmla="*/ 1542254 w 5402761"/>
                  <a:gd name="connsiteY182" fmla="*/ 2634075 h 5441951"/>
                  <a:gd name="connsiteX183" fmla="*/ 1384507 w 5402761"/>
                  <a:gd name="connsiteY183" fmla="*/ 2634075 h 5441951"/>
                  <a:gd name="connsiteX184" fmla="*/ 1194020 w 5402761"/>
                  <a:gd name="connsiteY184" fmla="*/ 2854325 h 5441951"/>
                  <a:gd name="connsiteX185" fmla="*/ 1152351 w 5402761"/>
                  <a:gd name="connsiteY185" fmla="*/ 2845396 h 5441951"/>
                  <a:gd name="connsiteX186" fmla="*/ 970793 w 5402761"/>
                  <a:gd name="connsiteY186" fmla="*/ 2791822 h 5441951"/>
                  <a:gd name="connsiteX187" fmla="*/ 798164 w 5402761"/>
                  <a:gd name="connsiteY187" fmla="*/ 2717413 h 5441951"/>
                  <a:gd name="connsiteX188" fmla="*/ 759472 w 5402761"/>
                  <a:gd name="connsiteY188" fmla="*/ 2696578 h 5441951"/>
                  <a:gd name="connsiteX189" fmla="*/ 756495 w 5402761"/>
                  <a:gd name="connsiteY189" fmla="*/ 2419777 h 5441951"/>
                  <a:gd name="connsiteX190" fmla="*/ 613630 w 5402761"/>
                  <a:gd name="connsiteY190" fmla="*/ 2306676 h 5441951"/>
                  <a:gd name="connsiteX191" fmla="*/ 345758 w 5402761"/>
                  <a:gd name="connsiteY191" fmla="*/ 2351321 h 5441951"/>
                  <a:gd name="connsiteX192" fmla="*/ 321947 w 5402761"/>
                  <a:gd name="connsiteY192" fmla="*/ 2315605 h 5441951"/>
                  <a:gd name="connsiteX193" fmla="*/ 217774 w 5402761"/>
                  <a:gd name="connsiteY193" fmla="*/ 2160834 h 5441951"/>
                  <a:gd name="connsiteX194" fmla="*/ 131460 w 5402761"/>
                  <a:gd name="connsiteY194" fmla="*/ 1988206 h 5441951"/>
                  <a:gd name="connsiteX195" fmla="*/ 116578 w 5402761"/>
                  <a:gd name="connsiteY195" fmla="*/ 1952489 h 5441951"/>
                  <a:gd name="connsiteX196" fmla="*/ 274325 w 5402761"/>
                  <a:gd name="connsiteY196" fmla="*/ 1759026 h 5441951"/>
                  <a:gd name="connsiteX197" fmla="*/ 235633 w 5402761"/>
                  <a:gd name="connsiteY197" fmla="*/ 1544729 h 5441951"/>
                  <a:gd name="connsiteX198" fmla="*/ 24311 w 5402761"/>
                  <a:gd name="connsiteY198" fmla="*/ 1419722 h 5441951"/>
                  <a:gd name="connsiteX199" fmla="*/ 27287 w 5402761"/>
                  <a:gd name="connsiteY199" fmla="*/ 1375077 h 5441951"/>
                  <a:gd name="connsiteX200" fmla="*/ 48122 w 5402761"/>
                  <a:gd name="connsiteY200" fmla="*/ 1187566 h 5441951"/>
                  <a:gd name="connsiteX201" fmla="*/ 92767 w 5402761"/>
                  <a:gd name="connsiteY201" fmla="*/ 1006008 h 5441951"/>
                  <a:gd name="connsiteX202" fmla="*/ 104673 w 5402761"/>
                  <a:gd name="connsiteY202" fmla="*/ 964339 h 5441951"/>
                  <a:gd name="connsiteX203" fmla="*/ 357663 w 5402761"/>
                  <a:gd name="connsiteY203" fmla="*/ 916718 h 5441951"/>
                  <a:gd name="connsiteX204" fmla="*/ 464812 w 5402761"/>
                  <a:gd name="connsiteY204" fmla="*/ 753018 h 5441951"/>
                  <a:gd name="connsiteX205" fmla="*/ 372545 w 5402761"/>
                  <a:gd name="connsiteY205" fmla="*/ 497051 h 5441951"/>
                  <a:gd name="connsiteX206" fmla="*/ 402309 w 5402761"/>
                  <a:gd name="connsiteY206" fmla="*/ 467288 h 5441951"/>
                  <a:gd name="connsiteX207" fmla="*/ 539221 w 5402761"/>
                  <a:gd name="connsiteY207" fmla="*/ 339305 h 5441951"/>
                  <a:gd name="connsiteX208" fmla="*/ 693992 w 5402761"/>
                  <a:gd name="connsiteY208" fmla="*/ 223227 h 5441951"/>
                  <a:gd name="connsiteX209" fmla="*/ 726732 w 5402761"/>
                  <a:gd name="connsiteY209" fmla="*/ 199416 h 5441951"/>
                  <a:gd name="connsiteX210" fmla="*/ 985675 w 5402761"/>
                  <a:gd name="connsiteY210" fmla="*/ 345257 h 5441951"/>
                  <a:gd name="connsiteX211" fmla="*/ 1125564 w 5402761"/>
                  <a:gd name="connsiteY211" fmla="*/ 300612 h 5441951"/>
                  <a:gd name="connsiteX212" fmla="*/ 1235689 w 5402761"/>
                  <a:gd name="connsiteY212" fmla="*/ 17858 h 5441951"/>
                  <a:gd name="connsiteX213" fmla="*/ 1277358 w 5402761"/>
                  <a:gd name="connsiteY213" fmla="*/ 11906 h 5441951"/>
                  <a:gd name="connsiteX214" fmla="*/ 1464868 w 5402761"/>
                  <a:gd name="connsiteY214" fmla="*/ 0 h 5441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</a:cxnLst>
                <a:rect l="l" t="t" r="r" b="b"/>
                <a:pathLst>
                  <a:path w="5402761" h="5441951">
                    <a:moveTo>
                      <a:pt x="3533552" y="4075113"/>
                    </a:moveTo>
                    <a:cubicBezTo>
                      <a:pt x="3643735" y="4075113"/>
                      <a:pt x="3643735" y="4075113"/>
                      <a:pt x="3643735" y="4075113"/>
                    </a:cubicBezTo>
                    <a:cubicBezTo>
                      <a:pt x="3643735" y="4155462"/>
                      <a:pt x="3643735" y="4155462"/>
                      <a:pt x="3643735" y="4155462"/>
                    </a:cubicBezTo>
                    <a:cubicBezTo>
                      <a:pt x="3706272" y="4161414"/>
                      <a:pt x="3750941" y="4176294"/>
                      <a:pt x="3780720" y="4197125"/>
                    </a:cubicBezTo>
                    <a:cubicBezTo>
                      <a:pt x="3742007" y="4301281"/>
                      <a:pt x="3742007" y="4301281"/>
                      <a:pt x="3742007" y="4301281"/>
                    </a:cubicBezTo>
                    <a:cubicBezTo>
                      <a:pt x="3694360" y="4271522"/>
                      <a:pt x="3646713" y="4253667"/>
                      <a:pt x="3599066" y="4253667"/>
                    </a:cubicBezTo>
                    <a:cubicBezTo>
                      <a:pt x="3569287" y="4253667"/>
                      <a:pt x="3548441" y="4262594"/>
                      <a:pt x="3530574" y="4277474"/>
                    </a:cubicBezTo>
                    <a:cubicBezTo>
                      <a:pt x="3515684" y="4292353"/>
                      <a:pt x="3506750" y="4313185"/>
                      <a:pt x="3506750" y="4334016"/>
                    </a:cubicBezTo>
                    <a:cubicBezTo>
                      <a:pt x="3506750" y="4375678"/>
                      <a:pt x="3551419" y="4414365"/>
                      <a:pt x="3640757" y="4456027"/>
                    </a:cubicBezTo>
                    <a:cubicBezTo>
                      <a:pt x="3691382" y="4476859"/>
                      <a:pt x="3727117" y="4497690"/>
                      <a:pt x="3747963" y="4518521"/>
                    </a:cubicBezTo>
                    <a:cubicBezTo>
                      <a:pt x="3768808" y="4536376"/>
                      <a:pt x="3780720" y="4560184"/>
                      <a:pt x="3792632" y="4583991"/>
                    </a:cubicBezTo>
                    <a:cubicBezTo>
                      <a:pt x="3804543" y="4610774"/>
                      <a:pt x="3810499" y="4634581"/>
                      <a:pt x="3810499" y="4664340"/>
                    </a:cubicBezTo>
                    <a:cubicBezTo>
                      <a:pt x="3810499" y="4708978"/>
                      <a:pt x="3795610" y="4747665"/>
                      <a:pt x="3768808" y="4780400"/>
                    </a:cubicBezTo>
                    <a:cubicBezTo>
                      <a:pt x="3739029" y="4810158"/>
                      <a:pt x="3697338" y="4833966"/>
                      <a:pt x="3643735" y="4845869"/>
                    </a:cubicBezTo>
                    <a:cubicBezTo>
                      <a:pt x="3643735" y="4953001"/>
                      <a:pt x="3643735" y="4953001"/>
                      <a:pt x="3643735" y="4953001"/>
                    </a:cubicBezTo>
                    <a:cubicBezTo>
                      <a:pt x="3533552" y="4953001"/>
                      <a:pt x="3533552" y="4953001"/>
                      <a:pt x="3533552" y="4953001"/>
                    </a:cubicBezTo>
                    <a:cubicBezTo>
                      <a:pt x="3533552" y="4854797"/>
                      <a:pt x="3533552" y="4854797"/>
                      <a:pt x="3533552" y="4854797"/>
                    </a:cubicBezTo>
                    <a:cubicBezTo>
                      <a:pt x="3479949" y="4848845"/>
                      <a:pt x="3426346" y="4833966"/>
                      <a:pt x="3378699" y="4807183"/>
                    </a:cubicBezTo>
                    <a:cubicBezTo>
                      <a:pt x="3426346" y="4697075"/>
                      <a:pt x="3426346" y="4697075"/>
                      <a:pt x="3426346" y="4697075"/>
                    </a:cubicBezTo>
                    <a:cubicBezTo>
                      <a:pt x="3476971" y="4732785"/>
                      <a:pt x="3524618" y="4747665"/>
                      <a:pt x="3575243" y="4747665"/>
                    </a:cubicBezTo>
                    <a:cubicBezTo>
                      <a:pt x="3646713" y="4747665"/>
                      <a:pt x="3685426" y="4723858"/>
                      <a:pt x="3685426" y="4673267"/>
                    </a:cubicBezTo>
                    <a:cubicBezTo>
                      <a:pt x="3685426" y="4649460"/>
                      <a:pt x="3676492" y="4625653"/>
                      <a:pt x="3655647" y="4607798"/>
                    </a:cubicBezTo>
                    <a:cubicBezTo>
                      <a:pt x="3637779" y="4586967"/>
                      <a:pt x="3602044" y="4563159"/>
                      <a:pt x="3548441" y="4536376"/>
                    </a:cubicBezTo>
                    <a:cubicBezTo>
                      <a:pt x="3494839" y="4509593"/>
                      <a:pt x="3459103" y="4488762"/>
                      <a:pt x="3441236" y="4473883"/>
                    </a:cubicBezTo>
                    <a:cubicBezTo>
                      <a:pt x="3420390" y="4456027"/>
                      <a:pt x="3405501" y="4435196"/>
                      <a:pt x="3396567" y="4414365"/>
                    </a:cubicBezTo>
                    <a:cubicBezTo>
                      <a:pt x="3384655" y="4390558"/>
                      <a:pt x="3381677" y="4363775"/>
                      <a:pt x="3381677" y="4336992"/>
                    </a:cubicBezTo>
                    <a:cubicBezTo>
                      <a:pt x="3381677" y="4292353"/>
                      <a:pt x="3393589" y="4256643"/>
                      <a:pt x="3423368" y="4226884"/>
                    </a:cubicBezTo>
                    <a:cubicBezTo>
                      <a:pt x="3450170" y="4194149"/>
                      <a:pt x="3485905" y="4170342"/>
                      <a:pt x="3533552" y="4161414"/>
                    </a:cubicBezTo>
                    <a:cubicBezTo>
                      <a:pt x="3533552" y="4075113"/>
                      <a:pt x="3533552" y="4075113"/>
                      <a:pt x="3533552" y="4075113"/>
                    </a:cubicBezTo>
                    <a:close/>
                    <a:moveTo>
                      <a:pt x="1932486" y="3735388"/>
                    </a:moveTo>
                    <a:lnTo>
                      <a:pt x="1932486" y="5310188"/>
                    </a:lnTo>
                    <a:lnTo>
                      <a:pt x="5272586" y="5310188"/>
                    </a:lnTo>
                    <a:lnTo>
                      <a:pt x="5272586" y="3735388"/>
                    </a:lnTo>
                    <a:close/>
                    <a:moveTo>
                      <a:pt x="1867774" y="3608388"/>
                    </a:moveTo>
                    <a:cubicBezTo>
                      <a:pt x="5337298" y="3608388"/>
                      <a:pt x="5337298" y="3608388"/>
                      <a:pt x="5337298" y="3608388"/>
                    </a:cubicBezTo>
                    <a:cubicBezTo>
                      <a:pt x="5373005" y="3608388"/>
                      <a:pt x="5402761" y="3635177"/>
                      <a:pt x="5402761" y="3670896"/>
                    </a:cubicBezTo>
                    <a:cubicBezTo>
                      <a:pt x="5402761" y="5376467"/>
                      <a:pt x="5402761" y="5376467"/>
                      <a:pt x="5402761" y="5376467"/>
                    </a:cubicBezTo>
                    <a:cubicBezTo>
                      <a:pt x="5402761" y="5412186"/>
                      <a:pt x="5373005" y="5441951"/>
                      <a:pt x="5337298" y="5441951"/>
                    </a:cubicBezTo>
                    <a:cubicBezTo>
                      <a:pt x="1867774" y="5441951"/>
                      <a:pt x="1867774" y="5441951"/>
                      <a:pt x="1867774" y="5441951"/>
                    </a:cubicBezTo>
                    <a:cubicBezTo>
                      <a:pt x="1832067" y="5441951"/>
                      <a:pt x="1802311" y="5412186"/>
                      <a:pt x="1802311" y="5376467"/>
                    </a:cubicBezTo>
                    <a:cubicBezTo>
                      <a:pt x="1802311" y="3670896"/>
                      <a:pt x="1802311" y="3670896"/>
                      <a:pt x="1802311" y="3670896"/>
                    </a:cubicBezTo>
                    <a:cubicBezTo>
                      <a:pt x="1802311" y="3635177"/>
                      <a:pt x="1832067" y="3608388"/>
                      <a:pt x="1867774" y="3608388"/>
                    </a:cubicBezTo>
                    <a:close/>
                    <a:moveTo>
                      <a:pt x="409138" y="2566988"/>
                    </a:moveTo>
                    <a:cubicBezTo>
                      <a:pt x="409138" y="2566988"/>
                      <a:pt x="409138" y="2566988"/>
                      <a:pt x="465674" y="2623521"/>
                    </a:cubicBezTo>
                    <a:cubicBezTo>
                      <a:pt x="581720" y="2739561"/>
                      <a:pt x="769180" y="2929987"/>
                      <a:pt x="792985" y="2950815"/>
                    </a:cubicBezTo>
                    <a:cubicBezTo>
                      <a:pt x="822740" y="2977594"/>
                      <a:pt x="828691" y="3022225"/>
                      <a:pt x="804887" y="3057929"/>
                    </a:cubicBezTo>
                    <a:cubicBezTo>
                      <a:pt x="790009" y="3075782"/>
                      <a:pt x="766205" y="3087683"/>
                      <a:pt x="742400" y="3087683"/>
                    </a:cubicBezTo>
                    <a:cubicBezTo>
                      <a:pt x="724547" y="3087683"/>
                      <a:pt x="709669" y="3081733"/>
                      <a:pt x="694791" y="3072806"/>
                    </a:cubicBezTo>
                    <a:cubicBezTo>
                      <a:pt x="688840" y="3069831"/>
                      <a:pt x="679914" y="3060905"/>
                      <a:pt x="489478" y="2867504"/>
                    </a:cubicBezTo>
                    <a:cubicBezTo>
                      <a:pt x="489478" y="2867504"/>
                      <a:pt x="489478" y="2867504"/>
                      <a:pt x="489478" y="4444467"/>
                    </a:cubicBezTo>
                    <a:cubicBezTo>
                      <a:pt x="489478" y="4444467"/>
                      <a:pt x="489478" y="4444467"/>
                      <a:pt x="1667797" y="4444467"/>
                    </a:cubicBezTo>
                    <a:cubicBezTo>
                      <a:pt x="1712430" y="4444467"/>
                      <a:pt x="1745161" y="4480172"/>
                      <a:pt x="1745161" y="4524803"/>
                    </a:cubicBezTo>
                    <a:cubicBezTo>
                      <a:pt x="1745161" y="4566458"/>
                      <a:pt x="1712430" y="4602163"/>
                      <a:pt x="1667797" y="4602163"/>
                    </a:cubicBezTo>
                    <a:cubicBezTo>
                      <a:pt x="1667797" y="4602163"/>
                      <a:pt x="1667797" y="4602163"/>
                      <a:pt x="331774" y="4602163"/>
                    </a:cubicBezTo>
                    <a:cubicBezTo>
                      <a:pt x="331774" y="4602163"/>
                      <a:pt x="331774" y="4602163"/>
                      <a:pt x="331774" y="2867504"/>
                    </a:cubicBezTo>
                    <a:cubicBezTo>
                      <a:pt x="331774" y="2867504"/>
                      <a:pt x="331774" y="2867504"/>
                      <a:pt x="132412" y="3063880"/>
                    </a:cubicBezTo>
                    <a:cubicBezTo>
                      <a:pt x="102657" y="3096610"/>
                      <a:pt x="52072" y="3096610"/>
                      <a:pt x="22316" y="3063880"/>
                    </a:cubicBezTo>
                    <a:cubicBezTo>
                      <a:pt x="-7439" y="3034126"/>
                      <a:pt x="-7439" y="2983544"/>
                      <a:pt x="22316" y="2953790"/>
                    </a:cubicBezTo>
                    <a:cubicBezTo>
                      <a:pt x="22316" y="2953790"/>
                      <a:pt x="22316" y="2953790"/>
                      <a:pt x="409138" y="2566988"/>
                    </a:cubicBezTo>
                    <a:close/>
                    <a:moveTo>
                      <a:pt x="3075116" y="1373188"/>
                    </a:moveTo>
                    <a:cubicBezTo>
                      <a:pt x="3075116" y="1373188"/>
                      <a:pt x="3075116" y="1373188"/>
                      <a:pt x="4412049" y="1373188"/>
                    </a:cubicBezTo>
                    <a:cubicBezTo>
                      <a:pt x="4412049" y="1373188"/>
                      <a:pt x="4412049" y="1373188"/>
                      <a:pt x="4412049" y="3104872"/>
                    </a:cubicBezTo>
                    <a:cubicBezTo>
                      <a:pt x="4412049" y="3104872"/>
                      <a:pt x="4412049" y="3104872"/>
                      <a:pt x="4605591" y="2914446"/>
                    </a:cubicBezTo>
                    <a:cubicBezTo>
                      <a:pt x="4635367" y="2884692"/>
                      <a:pt x="4685986" y="2884692"/>
                      <a:pt x="4715761" y="2917422"/>
                    </a:cubicBezTo>
                    <a:cubicBezTo>
                      <a:pt x="4745537" y="2947176"/>
                      <a:pt x="4745537" y="2997758"/>
                      <a:pt x="4715761" y="3027512"/>
                    </a:cubicBezTo>
                    <a:cubicBezTo>
                      <a:pt x="4715761" y="3027512"/>
                      <a:pt x="4715761" y="3027512"/>
                      <a:pt x="4400138" y="3336954"/>
                    </a:cubicBezTo>
                    <a:cubicBezTo>
                      <a:pt x="4394183" y="3348855"/>
                      <a:pt x="4385250" y="3357781"/>
                      <a:pt x="4376318" y="3363732"/>
                    </a:cubicBezTo>
                    <a:cubicBezTo>
                      <a:pt x="4376318" y="3363732"/>
                      <a:pt x="4376318" y="3363732"/>
                      <a:pt x="4331654" y="3408363"/>
                    </a:cubicBezTo>
                    <a:cubicBezTo>
                      <a:pt x="4331654" y="3408363"/>
                      <a:pt x="4331654" y="3408363"/>
                      <a:pt x="4275080" y="3351831"/>
                    </a:cubicBezTo>
                    <a:cubicBezTo>
                      <a:pt x="4161932" y="3238765"/>
                      <a:pt x="3974345" y="3051315"/>
                      <a:pt x="3953502" y="3030487"/>
                    </a:cubicBezTo>
                    <a:cubicBezTo>
                      <a:pt x="3920748" y="3003709"/>
                      <a:pt x="3914793" y="2959077"/>
                      <a:pt x="3938614" y="2923373"/>
                    </a:cubicBezTo>
                    <a:cubicBezTo>
                      <a:pt x="3965412" y="2890643"/>
                      <a:pt x="4013053" y="2881717"/>
                      <a:pt x="4048784" y="2908496"/>
                    </a:cubicBezTo>
                    <a:cubicBezTo>
                      <a:pt x="4054739" y="2911471"/>
                      <a:pt x="4063672" y="2917422"/>
                      <a:pt x="4257214" y="3110823"/>
                    </a:cubicBezTo>
                    <a:cubicBezTo>
                      <a:pt x="4257214" y="3110823"/>
                      <a:pt x="4257214" y="3110823"/>
                      <a:pt x="4257214" y="1527909"/>
                    </a:cubicBezTo>
                    <a:cubicBezTo>
                      <a:pt x="4257214" y="1527909"/>
                      <a:pt x="4257214" y="1527909"/>
                      <a:pt x="3075116" y="1527909"/>
                    </a:cubicBezTo>
                    <a:cubicBezTo>
                      <a:pt x="3033430" y="1527909"/>
                      <a:pt x="2997699" y="1495180"/>
                      <a:pt x="2997699" y="1450549"/>
                    </a:cubicBezTo>
                    <a:cubicBezTo>
                      <a:pt x="2997699" y="1408893"/>
                      <a:pt x="3033430" y="1373188"/>
                      <a:pt x="3075116" y="1373188"/>
                    </a:cubicBezTo>
                    <a:close/>
                    <a:moveTo>
                      <a:pt x="1464174" y="669925"/>
                    </a:moveTo>
                    <a:cubicBezTo>
                      <a:pt x="1038949" y="669925"/>
                      <a:pt x="694236" y="1014993"/>
                      <a:pt x="694236" y="1440657"/>
                    </a:cubicBezTo>
                    <a:cubicBezTo>
                      <a:pt x="694236" y="1866321"/>
                      <a:pt x="1038949" y="2211389"/>
                      <a:pt x="1464174" y="2211389"/>
                    </a:cubicBezTo>
                    <a:cubicBezTo>
                      <a:pt x="1889399" y="2211389"/>
                      <a:pt x="2234112" y="1866321"/>
                      <a:pt x="2234112" y="1440657"/>
                    </a:cubicBezTo>
                    <a:cubicBezTo>
                      <a:pt x="2234112" y="1014993"/>
                      <a:pt x="1889399" y="669925"/>
                      <a:pt x="1464174" y="669925"/>
                    </a:cubicBezTo>
                    <a:close/>
                    <a:moveTo>
                      <a:pt x="1465761" y="533400"/>
                    </a:moveTo>
                    <a:cubicBezTo>
                      <a:pt x="1967263" y="533400"/>
                      <a:pt x="2373811" y="939948"/>
                      <a:pt x="2373811" y="1441450"/>
                    </a:cubicBezTo>
                    <a:cubicBezTo>
                      <a:pt x="2373811" y="1942952"/>
                      <a:pt x="1967263" y="2349500"/>
                      <a:pt x="1465761" y="2349500"/>
                    </a:cubicBezTo>
                    <a:cubicBezTo>
                      <a:pt x="964259" y="2349500"/>
                      <a:pt x="557711" y="1942952"/>
                      <a:pt x="557711" y="1441450"/>
                    </a:cubicBezTo>
                    <a:cubicBezTo>
                      <a:pt x="557711" y="939948"/>
                      <a:pt x="964259" y="533400"/>
                      <a:pt x="1465761" y="533400"/>
                    </a:cubicBezTo>
                    <a:close/>
                    <a:moveTo>
                      <a:pt x="1333910" y="142875"/>
                    </a:moveTo>
                    <a:cubicBezTo>
                      <a:pt x="1333910" y="142875"/>
                      <a:pt x="1333910" y="142875"/>
                      <a:pt x="1232714" y="416804"/>
                    </a:cubicBezTo>
                    <a:cubicBezTo>
                      <a:pt x="1232714" y="416804"/>
                      <a:pt x="1232714" y="416804"/>
                      <a:pt x="1196998" y="425736"/>
                    </a:cubicBezTo>
                    <a:cubicBezTo>
                      <a:pt x="1131519" y="440624"/>
                      <a:pt x="1071992" y="461466"/>
                      <a:pt x="1009489" y="488263"/>
                    </a:cubicBezTo>
                    <a:cubicBezTo>
                      <a:pt x="1009489" y="488263"/>
                      <a:pt x="1009489" y="488263"/>
                      <a:pt x="979726" y="503152"/>
                    </a:cubicBezTo>
                    <a:cubicBezTo>
                      <a:pt x="979726" y="503152"/>
                      <a:pt x="979726" y="503152"/>
                      <a:pt x="732690" y="363209"/>
                    </a:cubicBezTo>
                    <a:cubicBezTo>
                      <a:pt x="682092" y="401916"/>
                      <a:pt x="631494" y="440624"/>
                      <a:pt x="628518" y="443601"/>
                    </a:cubicBezTo>
                    <a:cubicBezTo>
                      <a:pt x="628518" y="443601"/>
                      <a:pt x="577920" y="485287"/>
                      <a:pt x="530299" y="532926"/>
                    </a:cubicBezTo>
                    <a:cubicBezTo>
                      <a:pt x="530299" y="532926"/>
                      <a:pt x="530299" y="532926"/>
                      <a:pt x="619589" y="777080"/>
                    </a:cubicBezTo>
                    <a:cubicBezTo>
                      <a:pt x="619589" y="777080"/>
                      <a:pt x="619589" y="777080"/>
                      <a:pt x="592802" y="806854"/>
                    </a:cubicBezTo>
                    <a:cubicBezTo>
                      <a:pt x="542204" y="869382"/>
                      <a:pt x="500536" y="937864"/>
                      <a:pt x="467796" y="1009324"/>
                    </a:cubicBezTo>
                    <a:cubicBezTo>
                      <a:pt x="467796" y="1009324"/>
                      <a:pt x="467796" y="1009324"/>
                      <a:pt x="452914" y="1039098"/>
                    </a:cubicBezTo>
                    <a:cubicBezTo>
                      <a:pt x="452914" y="1039098"/>
                      <a:pt x="452914" y="1039098"/>
                      <a:pt x="211831" y="1086738"/>
                    </a:cubicBezTo>
                    <a:cubicBezTo>
                      <a:pt x="196949" y="1146289"/>
                      <a:pt x="185044" y="1205838"/>
                      <a:pt x="185044" y="1211793"/>
                    </a:cubicBezTo>
                    <a:cubicBezTo>
                      <a:pt x="185044" y="1214771"/>
                      <a:pt x="173139" y="1277297"/>
                      <a:pt x="167186" y="1345779"/>
                    </a:cubicBezTo>
                    <a:cubicBezTo>
                      <a:pt x="167186" y="1345779"/>
                      <a:pt x="167186" y="1345779"/>
                      <a:pt x="366601" y="1461902"/>
                    </a:cubicBezTo>
                    <a:cubicBezTo>
                      <a:pt x="366601" y="1461902"/>
                      <a:pt x="366601" y="1461902"/>
                      <a:pt x="369577" y="1500609"/>
                    </a:cubicBezTo>
                    <a:cubicBezTo>
                      <a:pt x="375530" y="1583978"/>
                      <a:pt x="390411" y="1673303"/>
                      <a:pt x="417198" y="1756673"/>
                    </a:cubicBezTo>
                    <a:cubicBezTo>
                      <a:pt x="417198" y="1756673"/>
                      <a:pt x="417198" y="1756673"/>
                      <a:pt x="429104" y="1789425"/>
                    </a:cubicBezTo>
                    <a:cubicBezTo>
                      <a:pt x="429104" y="1789425"/>
                      <a:pt x="429104" y="1789425"/>
                      <a:pt x="277311" y="1974029"/>
                    </a:cubicBezTo>
                    <a:cubicBezTo>
                      <a:pt x="304098" y="2033579"/>
                      <a:pt x="336837" y="2090151"/>
                      <a:pt x="336837" y="2090151"/>
                    </a:cubicBezTo>
                    <a:cubicBezTo>
                      <a:pt x="336837" y="2090151"/>
                      <a:pt x="369577" y="2146723"/>
                      <a:pt x="408269" y="2200318"/>
                    </a:cubicBezTo>
                    <a:cubicBezTo>
                      <a:pt x="408269" y="2200318"/>
                      <a:pt x="408269" y="2200318"/>
                      <a:pt x="658281" y="2161611"/>
                    </a:cubicBezTo>
                    <a:cubicBezTo>
                      <a:pt x="658281" y="2161611"/>
                      <a:pt x="658281" y="2161611"/>
                      <a:pt x="685068" y="2185431"/>
                    </a:cubicBezTo>
                    <a:cubicBezTo>
                      <a:pt x="735666" y="2236048"/>
                      <a:pt x="798169" y="2283688"/>
                      <a:pt x="863649" y="2325372"/>
                    </a:cubicBezTo>
                    <a:cubicBezTo>
                      <a:pt x="863649" y="2325372"/>
                      <a:pt x="863649" y="2325372"/>
                      <a:pt x="896388" y="2346215"/>
                    </a:cubicBezTo>
                    <a:cubicBezTo>
                      <a:pt x="896388" y="2346215"/>
                      <a:pt x="896388" y="2346215"/>
                      <a:pt x="896388" y="2611211"/>
                    </a:cubicBezTo>
                    <a:cubicBezTo>
                      <a:pt x="955915" y="2638008"/>
                      <a:pt x="1018418" y="2661828"/>
                      <a:pt x="1018418" y="2661828"/>
                    </a:cubicBezTo>
                    <a:cubicBezTo>
                      <a:pt x="1018418" y="2661828"/>
                      <a:pt x="1080921" y="2682671"/>
                      <a:pt x="1143424" y="2700536"/>
                    </a:cubicBezTo>
                    <a:cubicBezTo>
                      <a:pt x="1143424" y="2700536"/>
                      <a:pt x="1143424" y="2700536"/>
                      <a:pt x="1324981" y="2492112"/>
                    </a:cubicBezTo>
                    <a:cubicBezTo>
                      <a:pt x="1324981" y="2492112"/>
                      <a:pt x="1324981" y="2492112"/>
                      <a:pt x="1360697" y="2495089"/>
                    </a:cubicBezTo>
                    <a:cubicBezTo>
                      <a:pt x="1429152" y="2501044"/>
                      <a:pt x="1494632" y="2501044"/>
                      <a:pt x="1566064" y="2495089"/>
                    </a:cubicBezTo>
                    <a:cubicBezTo>
                      <a:pt x="1566064" y="2495089"/>
                      <a:pt x="1566064" y="2495089"/>
                      <a:pt x="1601780" y="2492112"/>
                    </a:cubicBezTo>
                    <a:cubicBezTo>
                      <a:pt x="1601780" y="2492112"/>
                      <a:pt x="1601780" y="2492112"/>
                      <a:pt x="1783336" y="2703513"/>
                    </a:cubicBezTo>
                    <a:cubicBezTo>
                      <a:pt x="1845839" y="2685648"/>
                      <a:pt x="1902390" y="2661828"/>
                      <a:pt x="1905366" y="2661828"/>
                    </a:cubicBezTo>
                    <a:cubicBezTo>
                      <a:pt x="1905366" y="2661828"/>
                      <a:pt x="1967869" y="2638008"/>
                      <a:pt x="2030372" y="2611211"/>
                    </a:cubicBezTo>
                    <a:cubicBezTo>
                      <a:pt x="2030372" y="2611211"/>
                      <a:pt x="2030372" y="2611211"/>
                      <a:pt x="2033348" y="2349192"/>
                    </a:cubicBezTo>
                    <a:cubicBezTo>
                      <a:pt x="2033348" y="2349192"/>
                      <a:pt x="2033348" y="2349192"/>
                      <a:pt x="2063112" y="2328350"/>
                    </a:cubicBezTo>
                    <a:cubicBezTo>
                      <a:pt x="2128591" y="2286665"/>
                      <a:pt x="2188118" y="2239025"/>
                      <a:pt x="2244668" y="2185431"/>
                    </a:cubicBezTo>
                    <a:cubicBezTo>
                      <a:pt x="2244668" y="2185431"/>
                      <a:pt x="2244668" y="2185431"/>
                      <a:pt x="2271455" y="2161611"/>
                    </a:cubicBezTo>
                    <a:cubicBezTo>
                      <a:pt x="2271455" y="2161611"/>
                      <a:pt x="2271455" y="2161611"/>
                      <a:pt x="2518491" y="2200318"/>
                    </a:cubicBezTo>
                    <a:cubicBezTo>
                      <a:pt x="2554207" y="2149701"/>
                      <a:pt x="2586947" y="2093129"/>
                      <a:pt x="2589923" y="2090151"/>
                    </a:cubicBezTo>
                    <a:cubicBezTo>
                      <a:pt x="2589923" y="2090151"/>
                      <a:pt x="2622663" y="2033579"/>
                      <a:pt x="2649450" y="1977007"/>
                    </a:cubicBezTo>
                    <a:cubicBezTo>
                      <a:pt x="2649450" y="1977007"/>
                      <a:pt x="2649450" y="1977007"/>
                      <a:pt x="2497657" y="1792402"/>
                    </a:cubicBezTo>
                    <a:cubicBezTo>
                      <a:pt x="2497657" y="1792402"/>
                      <a:pt x="2497657" y="1792402"/>
                      <a:pt x="2509562" y="1756673"/>
                    </a:cubicBezTo>
                    <a:cubicBezTo>
                      <a:pt x="2536349" y="1673303"/>
                      <a:pt x="2554207" y="1586956"/>
                      <a:pt x="2557183" y="1500609"/>
                    </a:cubicBezTo>
                    <a:cubicBezTo>
                      <a:pt x="2557183" y="1500609"/>
                      <a:pt x="2557183" y="1500609"/>
                      <a:pt x="2560160" y="1464879"/>
                    </a:cubicBezTo>
                    <a:cubicBezTo>
                      <a:pt x="2560160" y="1464879"/>
                      <a:pt x="2560160" y="1464879"/>
                      <a:pt x="2759574" y="1345779"/>
                    </a:cubicBezTo>
                    <a:cubicBezTo>
                      <a:pt x="2753621" y="1280275"/>
                      <a:pt x="2741716" y="1214771"/>
                      <a:pt x="2741716" y="1214771"/>
                    </a:cubicBezTo>
                    <a:cubicBezTo>
                      <a:pt x="2741716" y="1214771"/>
                      <a:pt x="2729811" y="1152243"/>
                      <a:pt x="2714929" y="1086738"/>
                    </a:cubicBezTo>
                    <a:cubicBezTo>
                      <a:pt x="2714929" y="1086738"/>
                      <a:pt x="2714929" y="1086738"/>
                      <a:pt x="2476822" y="1042076"/>
                    </a:cubicBezTo>
                    <a:cubicBezTo>
                      <a:pt x="2476822" y="1042076"/>
                      <a:pt x="2476822" y="1042076"/>
                      <a:pt x="2461941" y="1009324"/>
                    </a:cubicBezTo>
                    <a:cubicBezTo>
                      <a:pt x="2429201" y="940841"/>
                      <a:pt x="2384556" y="869382"/>
                      <a:pt x="2333958" y="806854"/>
                    </a:cubicBezTo>
                    <a:cubicBezTo>
                      <a:pt x="2333958" y="806854"/>
                      <a:pt x="2333958" y="806854"/>
                      <a:pt x="2310148" y="777080"/>
                    </a:cubicBezTo>
                    <a:cubicBezTo>
                      <a:pt x="2310148" y="777080"/>
                      <a:pt x="2310148" y="777080"/>
                      <a:pt x="2396461" y="532926"/>
                    </a:cubicBezTo>
                    <a:cubicBezTo>
                      <a:pt x="2348840" y="488263"/>
                      <a:pt x="2301218" y="446579"/>
                      <a:pt x="2298242" y="443601"/>
                    </a:cubicBezTo>
                    <a:cubicBezTo>
                      <a:pt x="2292289" y="440624"/>
                      <a:pt x="2247645" y="401916"/>
                      <a:pt x="2197047" y="363209"/>
                    </a:cubicBezTo>
                    <a:cubicBezTo>
                      <a:pt x="2197047" y="363209"/>
                      <a:pt x="2197047" y="363209"/>
                      <a:pt x="1950011" y="503152"/>
                    </a:cubicBezTo>
                    <a:cubicBezTo>
                      <a:pt x="1950011" y="503152"/>
                      <a:pt x="1950011" y="503152"/>
                      <a:pt x="1917271" y="488263"/>
                    </a:cubicBezTo>
                    <a:cubicBezTo>
                      <a:pt x="1860721" y="461466"/>
                      <a:pt x="1798218" y="440624"/>
                      <a:pt x="1732739" y="425736"/>
                    </a:cubicBezTo>
                    <a:cubicBezTo>
                      <a:pt x="1732739" y="425736"/>
                      <a:pt x="1732739" y="425736"/>
                      <a:pt x="1697023" y="416804"/>
                    </a:cubicBezTo>
                    <a:cubicBezTo>
                      <a:pt x="1697023" y="416804"/>
                      <a:pt x="1697023" y="416804"/>
                      <a:pt x="1595827" y="142875"/>
                    </a:cubicBezTo>
                    <a:cubicBezTo>
                      <a:pt x="1527371" y="142875"/>
                      <a:pt x="1464868" y="142875"/>
                      <a:pt x="1464868" y="142875"/>
                    </a:cubicBezTo>
                    <a:cubicBezTo>
                      <a:pt x="1464868" y="142875"/>
                      <a:pt x="1399389" y="142875"/>
                      <a:pt x="1333910" y="142875"/>
                    </a:cubicBezTo>
                    <a:close/>
                    <a:moveTo>
                      <a:pt x="1464868" y="0"/>
                    </a:moveTo>
                    <a:cubicBezTo>
                      <a:pt x="1470821" y="0"/>
                      <a:pt x="1569041" y="0"/>
                      <a:pt x="1655355" y="11906"/>
                    </a:cubicBezTo>
                    <a:cubicBezTo>
                      <a:pt x="1655355" y="11906"/>
                      <a:pt x="1655355" y="11906"/>
                      <a:pt x="1694048" y="17858"/>
                    </a:cubicBezTo>
                    <a:cubicBezTo>
                      <a:pt x="1694048" y="17858"/>
                      <a:pt x="1694048" y="17858"/>
                      <a:pt x="1801197" y="300612"/>
                    </a:cubicBezTo>
                    <a:cubicBezTo>
                      <a:pt x="1848819" y="315494"/>
                      <a:pt x="1896440" y="330376"/>
                      <a:pt x="1941086" y="348234"/>
                    </a:cubicBezTo>
                    <a:cubicBezTo>
                      <a:pt x="1941086" y="348234"/>
                      <a:pt x="1941086" y="348234"/>
                      <a:pt x="2203005" y="202392"/>
                    </a:cubicBezTo>
                    <a:cubicBezTo>
                      <a:pt x="2203005" y="202392"/>
                      <a:pt x="2203005" y="202392"/>
                      <a:pt x="2238721" y="226203"/>
                    </a:cubicBezTo>
                    <a:cubicBezTo>
                      <a:pt x="2310154" y="273825"/>
                      <a:pt x="2387539" y="339305"/>
                      <a:pt x="2387539" y="339305"/>
                    </a:cubicBezTo>
                    <a:cubicBezTo>
                      <a:pt x="2390516" y="342281"/>
                      <a:pt x="2467901" y="404784"/>
                      <a:pt x="2524452" y="467288"/>
                    </a:cubicBezTo>
                    <a:cubicBezTo>
                      <a:pt x="2524452" y="467288"/>
                      <a:pt x="2524452" y="467288"/>
                      <a:pt x="2554215" y="500028"/>
                    </a:cubicBezTo>
                    <a:cubicBezTo>
                      <a:pt x="2554215" y="500028"/>
                      <a:pt x="2554215" y="500028"/>
                      <a:pt x="2467901" y="753018"/>
                    </a:cubicBezTo>
                    <a:cubicBezTo>
                      <a:pt x="2503617" y="803616"/>
                      <a:pt x="2539333" y="860167"/>
                      <a:pt x="2572073" y="919694"/>
                    </a:cubicBezTo>
                    <a:cubicBezTo>
                      <a:pt x="2572073" y="919694"/>
                      <a:pt x="2572073" y="919694"/>
                      <a:pt x="2825064" y="964339"/>
                    </a:cubicBezTo>
                    <a:cubicBezTo>
                      <a:pt x="2825064" y="964339"/>
                      <a:pt x="2825064" y="964339"/>
                      <a:pt x="2836969" y="1006008"/>
                    </a:cubicBezTo>
                    <a:cubicBezTo>
                      <a:pt x="2863756" y="1089346"/>
                      <a:pt x="2878638" y="1187566"/>
                      <a:pt x="2878638" y="1190543"/>
                    </a:cubicBezTo>
                    <a:cubicBezTo>
                      <a:pt x="2878638" y="1190543"/>
                      <a:pt x="2896496" y="1291738"/>
                      <a:pt x="2899473" y="1378053"/>
                    </a:cubicBezTo>
                    <a:cubicBezTo>
                      <a:pt x="2899473" y="1378053"/>
                      <a:pt x="2899473" y="1378053"/>
                      <a:pt x="2902449" y="1419722"/>
                    </a:cubicBezTo>
                    <a:cubicBezTo>
                      <a:pt x="2902449" y="1419722"/>
                      <a:pt x="2902449" y="1419722"/>
                      <a:pt x="2691128" y="1547705"/>
                    </a:cubicBezTo>
                    <a:cubicBezTo>
                      <a:pt x="2685175" y="1619138"/>
                      <a:pt x="2676246" y="1690570"/>
                      <a:pt x="2655411" y="1762003"/>
                    </a:cubicBezTo>
                    <a:cubicBezTo>
                      <a:pt x="2655411" y="1762003"/>
                      <a:pt x="2655411" y="1762003"/>
                      <a:pt x="2810182" y="1952489"/>
                    </a:cubicBezTo>
                    <a:cubicBezTo>
                      <a:pt x="2810182" y="1952489"/>
                      <a:pt x="2810182" y="1952489"/>
                      <a:pt x="2792324" y="1988206"/>
                    </a:cubicBezTo>
                    <a:cubicBezTo>
                      <a:pt x="2759584" y="2071544"/>
                      <a:pt x="2708986" y="2160834"/>
                      <a:pt x="2706010" y="2160834"/>
                    </a:cubicBezTo>
                    <a:cubicBezTo>
                      <a:pt x="2703033" y="2169763"/>
                      <a:pt x="2655411" y="2250125"/>
                      <a:pt x="2604813" y="2318581"/>
                    </a:cubicBezTo>
                    <a:cubicBezTo>
                      <a:pt x="2604813" y="2318581"/>
                      <a:pt x="2604813" y="2318581"/>
                      <a:pt x="2581002" y="2351321"/>
                    </a:cubicBezTo>
                    <a:cubicBezTo>
                      <a:pt x="2581002" y="2351321"/>
                      <a:pt x="2581002" y="2351321"/>
                      <a:pt x="2313130" y="2309652"/>
                    </a:cubicBezTo>
                    <a:cubicBezTo>
                      <a:pt x="2271461" y="2351321"/>
                      <a:pt x="2220863" y="2390014"/>
                      <a:pt x="2170265" y="2422754"/>
                    </a:cubicBezTo>
                    <a:cubicBezTo>
                      <a:pt x="2170265" y="2422754"/>
                      <a:pt x="2170265" y="2422754"/>
                      <a:pt x="2164312" y="2699555"/>
                    </a:cubicBezTo>
                    <a:cubicBezTo>
                      <a:pt x="2164312" y="2699555"/>
                      <a:pt x="2164312" y="2699555"/>
                      <a:pt x="2128596" y="2717413"/>
                    </a:cubicBezTo>
                    <a:cubicBezTo>
                      <a:pt x="2054187" y="2756105"/>
                      <a:pt x="1958944" y="2791822"/>
                      <a:pt x="1952991" y="2791822"/>
                    </a:cubicBezTo>
                    <a:cubicBezTo>
                      <a:pt x="1950015" y="2794798"/>
                      <a:pt x="1857748" y="2824562"/>
                      <a:pt x="1774410" y="2845396"/>
                    </a:cubicBezTo>
                    <a:cubicBezTo>
                      <a:pt x="1774410" y="2845396"/>
                      <a:pt x="1774410" y="2845396"/>
                      <a:pt x="1732741" y="2854325"/>
                    </a:cubicBezTo>
                    <a:cubicBezTo>
                      <a:pt x="1732741" y="2854325"/>
                      <a:pt x="1732741" y="2854325"/>
                      <a:pt x="1542254" y="2634075"/>
                    </a:cubicBezTo>
                    <a:cubicBezTo>
                      <a:pt x="1488679" y="2637051"/>
                      <a:pt x="1438081" y="2637051"/>
                      <a:pt x="1384507" y="2634075"/>
                    </a:cubicBezTo>
                    <a:cubicBezTo>
                      <a:pt x="1384507" y="2634075"/>
                      <a:pt x="1384507" y="2634075"/>
                      <a:pt x="1194020" y="2854325"/>
                    </a:cubicBezTo>
                    <a:cubicBezTo>
                      <a:pt x="1194020" y="2854325"/>
                      <a:pt x="1194020" y="2854325"/>
                      <a:pt x="1152351" y="2845396"/>
                    </a:cubicBezTo>
                    <a:cubicBezTo>
                      <a:pt x="1069013" y="2824562"/>
                      <a:pt x="973769" y="2794798"/>
                      <a:pt x="970793" y="2791822"/>
                    </a:cubicBezTo>
                    <a:cubicBezTo>
                      <a:pt x="967817" y="2791822"/>
                      <a:pt x="875550" y="2756105"/>
                      <a:pt x="798164" y="2717413"/>
                    </a:cubicBezTo>
                    <a:cubicBezTo>
                      <a:pt x="798164" y="2717413"/>
                      <a:pt x="798164" y="2717413"/>
                      <a:pt x="759472" y="2696578"/>
                    </a:cubicBezTo>
                    <a:cubicBezTo>
                      <a:pt x="759472" y="2696578"/>
                      <a:pt x="759472" y="2696578"/>
                      <a:pt x="756495" y="2419777"/>
                    </a:cubicBezTo>
                    <a:cubicBezTo>
                      <a:pt x="705897" y="2387037"/>
                      <a:pt x="658275" y="2348345"/>
                      <a:pt x="613630" y="2306676"/>
                    </a:cubicBezTo>
                    <a:cubicBezTo>
                      <a:pt x="613630" y="2306676"/>
                      <a:pt x="613630" y="2306676"/>
                      <a:pt x="345758" y="2351321"/>
                    </a:cubicBezTo>
                    <a:cubicBezTo>
                      <a:pt x="345758" y="2351321"/>
                      <a:pt x="345758" y="2351321"/>
                      <a:pt x="321947" y="2315605"/>
                    </a:cubicBezTo>
                    <a:cubicBezTo>
                      <a:pt x="271349" y="2250125"/>
                      <a:pt x="223727" y="2169763"/>
                      <a:pt x="217774" y="2160834"/>
                    </a:cubicBezTo>
                    <a:cubicBezTo>
                      <a:pt x="217774" y="2154882"/>
                      <a:pt x="167176" y="2068567"/>
                      <a:pt x="131460" y="1988206"/>
                    </a:cubicBezTo>
                    <a:cubicBezTo>
                      <a:pt x="131460" y="1988206"/>
                      <a:pt x="131460" y="1988206"/>
                      <a:pt x="116578" y="1952489"/>
                    </a:cubicBezTo>
                    <a:cubicBezTo>
                      <a:pt x="116578" y="1952489"/>
                      <a:pt x="116578" y="1952489"/>
                      <a:pt x="274325" y="1759026"/>
                    </a:cubicBezTo>
                    <a:cubicBezTo>
                      <a:pt x="253491" y="1690570"/>
                      <a:pt x="241585" y="1616161"/>
                      <a:pt x="235633" y="1544729"/>
                    </a:cubicBezTo>
                    <a:cubicBezTo>
                      <a:pt x="235633" y="1544729"/>
                      <a:pt x="235633" y="1544729"/>
                      <a:pt x="24311" y="1419722"/>
                    </a:cubicBezTo>
                    <a:cubicBezTo>
                      <a:pt x="24311" y="1419722"/>
                      <a:pt x="24311" y="1419722"/>
                      <a:pt x="27287" y="1375077"/>
                    </a:cubicBezTo>
                    <a:cubicBezTo>
                      <a:pt x="30264" y="1288763"/>
                      <a:pt x="48122" y="1190543"/>
                      <a:pt x="48122" y="1187566"/>
                    </a:cubicBezTo>
                    <a:cubicBezTo>
                      <a:pt x="48122" y="1187566"/>
                      <a:pt x="65980" y="1089346"/>
                      <a:pt x="92767" y="1006008"/>
                    </a:cubicBezTo>
                    <a:cubicBezTo>
                      <a:pt x="92767" y="1006008"/>
                      <a:pt x="92767" y="1006008"/>
                      <a:pt x="104673" y="964339"/>
                    </a:cubicBezTo>
                    <a:cubicBezTo>
                      <a:pt x="104673" y="964339"/>
                      <a:pt x="104673" y="964339"/>
                      <a:pt x="357663" y="916718"/>
                    </a:cubicBezTo>
                    <a:cubicBezTo>
                      <a:pt x="387427" y="860167"/>
                      <a:pt x="423143" y="803616"/>
                      <a:pt x="464812" y="753018"/>
                    </a:cubicBezTo>
                    <a:cubicBezTo>
                      <a:pt x="464812" y="753018"/>
                      <a:pt x="464812" y="753018"/>
                      <a:pt x="372545" y="497051"/>
                    </a:cubicBezTo>
                    <a:cubicBezTo>
                      <a:pt x="372545" y="497051"/>
                      <a:pt x="372545" y="497051"/>
                      <a:pt x="402309" y="467288"/>
                    </a:cubicBezTo>
                    <a:cubicBezTo>
                      <a:pt x="461836" y="404784"/>
                      <a:pt x="536245" y="342281"/>
                      <a:pt x="539221" y="339305"/>
                    </a:cubicBezTo>
                    <a:cubicBezTo>
                      <a:pt x="542197" y="336328"/>
                      <a:pt x="619583" y="270848"/>
                      <a:pt x="693992" y="223227"/>
                    </a:cubicBezTo>
                    <a:cubicBezTo>
                      <a:pt x="693992" y="223227"/>
                      <a:pt x="693992" y="223227"/>
                      <a:pt x="726732" y="199416"/>
                    </a:cubicBezTo>
                    <a:cubicBezTo>
                      <a:pt x="726732" y="199416"/>
                      <a:pt x="726732" y="199416"/>
                      <a:pt x="985675" y="345257"/>
                    </a:cubicBezTo>
                    <a:cubicBezTo>
                      <a:pt x="1033297" y="330376"/>
                      <a:pt x="1080918" y="315494"/>
                      <a:pt x="1125564" y="300612"/>
                    </a:cubicBezTo>
                    <a:cubicBezTo>
                      <a:pt x="1125564" y="300612"/>
                      <a:pt x="1125564" y="300612"/>
                      <a:pt x="1235689" y="17858"/>
                    </a:cubicBezTo>
                    <a:cubicBezTo>
                      <a:pt x="1235689" y="17858"/>
                      <a:pt x="1235689" y="17858"/>
                      <a:pt x="1277358" y="11906"/>
                    </a:cubicBezTo>
                    <a:cubicBezTo>
                      <a:pt x="1360696" y="0"/>
                      <a:pt x="1461892" y="0"/>
                      <a:pt x="146486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135" name="Freeform 134"/>
              <p:cNvSpPr>
                <a:spLocks/>
              </p:cNvSpPr>
              <p:nvPr/>
            </p:nvSpPr>
            <p:spPr bwMode="auto">
              <a:xfrm>
                <a:off x="4449764" y="1741488"/>
                <a:ext cx="4068761" cy="4125913"/>
              </a:xfrm>
              <a:custGeom>
                <a:avLst/>
                <a:gdLst>
                  <a:gd name="connsiteX0" fmla="*/ 2733075 w 4068763"/>
                  <a:gd name="connsiteY0" fmla="*/ 2836862 h 4125912"/>
                  <a:gd name="connsiteX1" fmla="*/ 3851602 w 4068763"/>
                  <a:gd name="connsiteY1" fmla="*/ 2836862 h 4125912"/>
                  <a:gd name="connsiteX2" fmla="*/ 3860527 w 4068763"/>
                  <a:gd name="connsiteY2" fmla="*/ 2842816 h 4125912"/>
                  <a:gd name="connsiteX3" fmla="*/ 3851602 w 4068763"/>
                  <a:gd name="connsiteY3" fmla="*/ 2890449 h 4125912"/>
                  <a:gd name="connsiteX4" fmla="*/ 4006292 w 4068763"/>
                  <a:gd name="connsiteY4" fmla="*/ 3042277 h 4125912"/>
                  <a:gd name="connsiteX5" fmla="*/ 4059839 w 4068763"/>
                  <a:gd name="connsiteY5" fmla="*/ 3030369 h 4125912"/>
                  <a:gd name="connsiteX6" fmla="*/ 4068763 w 4068763"/>
                  <a:gd name="connsiteY6" fmla="*/ 3039300 h 4125912"/>
                  <a:gd name="connsiteX7" fmla="*/ 4068763 w 4068763"/>
                  <a:gd name="connsiteY7" fmla="*/ 3926452 h 4125912"/>
                  <a:gd name="connsiteX8" fmla="*/ 4059839 w 4068763"/>
                  <a:gd name="connsiteY8" fmla="*/ 3932406 h 4125912"/>
                  <a:gd name="connsiteX9" fmla="*/ 4006292 w 4068763"/>
                  <a:gd name="connsiteY9" fmla="*/ 3923475 h 4125912"/>
                  <a:gd name="connsiteX10" fmla="*/ 3851602 w 4068763"/>
                  <a:gd name="connsiteY10" fmla="*/ 4072326 h 4125912"/>
                  <a:gd name="connsiteX11" fmla="*/ 3857552 w 4068763"/>
                  <a:gd name="connsiteY11" fmla="*/ 4116981 h 4125912"/>
                  <a:gd name="connsiteX12" fmla="*/ 3851602 w 4068763"/>
                  <a:gd name="connsiteY12" fmla="*/ 4125912 h 4125912"/>
                  <a:gd name="connsiteX13" fmla="*/ 2733075 w 4068763"/>
                  <a:gd name="connsiteY13" fmla="*/ 4125912 h 4125912"/>
                  <a:gd name="connsiteX14" fmla="*/ 2730100 w 4068763"/>
                  <a:gd name="connsiteY14" fmla="*/ 4114004 h 4125912"/>
                  <a:gd name="connsiteX15" fmla="*/ 3042455 w 4068763"/>
                  <a:gd name="connsiteY15" fmla="*/ 3482876 h 4125912"/>
                  <a:gd name="connsiteX16" fmla="*/ 2730100 w 4068763"/>
                  <a:gd name="connsiteY16" fmla="*/ 2845793 h 4125912"/>
                  <a:gd name="connsiteX17" fmla="*/ 2733075 w 4068763"/>
                  <a:gd name="connsiteY17" fmla="*/ 2836862 h 4125912"/>
                  <a:gd name="connsiteX18" fmla="*/ 1232160 w 4068763"/>
                  <a:gd name="connsiteY18" fmla="*/ 2836862 h 4125912"/>
                  <a:gd name="connsiteX19" fmla="*/ 2348702 w 4068763"/>
                  <a:gd name="connsiteY19" fmla="*/ 2836862 h 4125912"/>
                  <a:gd name="connsiteX20" fmla="*/ 2354657 w 4068763"/>
                  <a:gd name="connsiteY20" fmla="*/ 2845793 h 4125912"/>
                  <a:gd name="connsiteX21" fmla="*/ 2045003 w 4068763"/>
                  <a:gd name="connsiteY21" fmla="*/ 3482876 h 4125912"/>
                  <a:gd name="connsiteX22" fmla="*/ 2354657 w 4068763"/>
                  <a:gd name="connsiteY22" fmla="*/ 4114004 h 4125912"/>
                  <a:gd name="connsiteX23" fmla="*/ 2348702 w 4068763"/>
                  <a:gd name="connsiteY23" fmla="*/ 4125912 h 4125912"/>
                  <a:gd name="connsiteX24" fmla="*/ 1235138 w 4068763"/>
                  <a:gd name="connsiteY24" fmla="*/ 4125912 h 4125912"/>
                  <a:gd name="connsiteX25" fmla="*/ 1229183 w 4068763"/>
                  <a:gd name="connsiteY25" fmla="*/ 4116981 h 4125912"/>
                  <a:gd name="connsiteX26" fmla="*/ 1235138 w 4068763"/>
                  <a:gd name="connsiteY26" fmla="*/ 4072326 h 4125912"/>
                  <a:gd name="connsiteX27" fmla="*/ 1080311 w 4068763"/>
                  <a:gd name="connsiteY27" fmla="*/ 3923475 h 4125912"/>
                  <a:gd name="connsiteX28" fmla="*/ 1029694 w 4068763"/>
                  <a:gd name="connsiteY28" fmla="*/ 3929429 h 4125912"/>
                  <a:gd name="connsiteX29" fmla="*/ 1020762 w 4068763"/>
                  <a:gd name="connsiteY29" fmla="*/ 3923475 h 4125912"/>
                  <a:gd name="connsiteX30" fmla="*/ 1020762 w 4068763"/>
                  <a:gd name="connsiteY30" fmla="*/ 3039300 h 4125912"/>
                  <a:gd name="connsiteX31" fmla="*/ 1029694 w 4068763"/>
                  <a:gd name="connsiteY31" fmla="*/ 3033346 h 4125912"/>
                  <a:gd name="connsiteX32" fmla="*/ 1080311 w 4068763"/>
                  <a:gd name="connsiteY32" fmla="*/ 3042277 h 4125912"/>
                  <a:gd name="connsiteX33" fmla="*/ 1235138 w 4068763"/>
                  <a:gd name="connsiteY33" fmla="*/ 2890449 h 4125912"/>
                  <a:gd name="connsiteX34" fmla="*/ 1229183 w 4068763"/>
                  <a:gd name="connsiteY34" fmla="*/ 2842816 h 4125912"/>
                  <a:gd name="connsiteX35" fmla="*/ 1232160 w 4068763"/>
                  <a:gd name="connsiteY35" fmla="*/ 2836862 h 4125912"/>
                  <a:gd name="connsiteX36" fmla="*/ 415132 w 4068763"/>
                  <a:gd name="connsiteY36" fmla="*/ 0 h 4125912"/>
                  <a:gd name="connsiteX37" fmla="*/ 830264 w 4068763"/>
                  <a:gd name="connsiteY37" fmla="*/ 411957 h 4125912"/>
                  <a:gd name="connsiteX38" fmla="*/ 415132 w 4068763"/>
                  <a:gd name="connsiteY38" fmla="*/ 823914 h 4125912"/>
                  <a:gd name="connsiteX39" fmla="*/ 0 w 4068763"/>
                  <a:gd name="connsiteY39" fmla="*/ 411957 h 4125912"/>
                  <a:gd name="connsiteX40" fmla="*/ 415132 w 4068763"/>
                  <a:gd name="connsiteY40" fmla="*/ 0 h 4125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4068763" h="4125912">
                    <a:moveTo>
                      <a:pt x="2733075" y="2836862"/>
                    </a:moveTo>
                    <a:cubicBezTo>
                      <a:pt x="2733075" y="2836862"/>
                      <a:pt x="2733075" y="2836862"/>
                      <a:pt x="3851602" y="2836862"/>
                    </a:cubicBezTo>
                    <a:cubicBezTo>
                      <a:pt x="3857552" y="2836862"/>
                      <a:pt x="3860527" y="2839839"/>
                      <a:pt x="3860527" y="2842816"/>
                    </a:cubicBezTo>
                    <a:cubicBezTo>
                      <a:pt x="3854577" y="2857701"/>
                      <a:pt x="3851602" y="2875564"/>
                      <a:pt x="3851602" y="2890449"/>
                    </a:cubicBezTo>
                    <a:cubicBezTo>
                      <a:pt x="3851602" y="2973805"/>
                      <a:pt x="3920023" y="3042277"/>
                      <a:pt x="4006292" y="3042277"/>
                    </a:cubicBezTo>
                    <a:cubicBezTo>
                      <a:pt x="4024141" y="3042277"/>
                      <a:pt x="4044965" y="3039300"/>
                      <a:pt x="4059839" y="3030369"/>
                    </a:cubicBezTo>
                    <a:cubicBezTo>
                      <a:pt x="4065788" y="3030369"/>
                      <a:pt x="4068763" y="3033346"/>
                      <a:pt x="4068763" y="3039300"/>
                    </a:cubicBezTo>
                    <a:cubicBezTo>
                      <a:pt x="4068763" y="3039300"/>
                      <a:pt x="4068763" y="3039300"/>
                      <a:pt x="4068763" y="3926452"/>
                    </a:cubicBezTo>
                    <a:cubicBezTo>
                      <a:pt x="4068763" y="3929429"/>
                      <a:pt x="4065788" y="3932406"/>
                      <a:pt x="4059839" y="3932406"/>
                    </a:cubicBezTo>
                    <a:cubicBezTo>
                      <a:pt x="4044965" y="3926452"/>
                      <a:pt x="4024141" y="3923475"/>
                      <a:pt x="4006292" y="3923475"/>
                    </a:cubicBezTo>
                    <a:cubicBezTo>
                      <a:pt x="3920023" y="3923475"/>
                      <a:pt x="3851602" y="3991946"/>
                      <a:pt x="3851602" y="4072326"/>
                    </a:cubicBezTo>
                    <a:cubicBezTo>
                      <a:pt x="3851602" y="4087211"/>
                      <a:pt x="3851602" y="4102096"/>
                      <a:pt x="3857552" y="4116981"/>
                    </a:cubicBezTo>
                    <a:cubicBezTo>
                      <a:pt x="3860527" y="4119958"/>
                      <a:pt x="3857552" y="4125912"/>
                      <a:pt x="3851602" y="4125912"/>
                    </a:cubicBezTo>
                    <a:cubicBezTo>
                      <a:pt x="3851602" y="4125912"/>
                      <a:pt x="3851602" y="4125912"/>
                      <a:pt x="2733075" y="4125912"/>
                    </a:cubicBezTo>
                    <a:cubicBezTo>
                      <a:pt x="2727125" y="4125912"/>
                      <a:pt x="2724150" y="4116981"/>
                      <a:pt x="2730100" y="4114004"/>
                    </a:cubicBezTo>
                    <a:cubicBezTo>
                      <a:pt x="2890739" y="4003854"/>
                      <a:pt x="3042455" y="3759739"/>
                      <a:pt x="3042455" y="3482876"/>
                    </a:cubicBezTo>
                    <a:cubicBezTo>
                      <a:pt x="3042455" y="3200059"/>
                      <a:pt x="2890739" y="2955943"/>
                      <a:pt x="2730100" y="2845793"/>
                    </a:cubicBezTo>
                    <a:cubicBezTo>
                      <a:pt x="2724150" y="2842816"/>
                      <a:pt x="2727125" y="2836862"/>
                      <a:pt x="2733075" y="2836862"/>
                    </a:cubicBezTo>
                    <a:close/>
                    <a:moveTo>
                      <a:pt x="1232160" y="2836862"/>
                    </a:moveTo>
                    <a:cubicBezTo>
                      <a:pt x="1232160" y="2836862"/>
                      <a:pt x="1232160" y="2836862"/>
                      <a:pt x="2348702" y="2836862"/>
                    </a:cubicBezTo>
                    <a:cubicBezTo>
                      <a:pt x="2357634" y="2836862"/>
                      <a:pt x="2360612" y="2842816"/>
                      <a:pt x="2354657" y="2845793"/>
                    </a:cubicBezTo>
                    <a:cubicBezTo>
                      <a:pt x="2196852" y="2955943"/>
                      <a:pt x="2045003" y="3200059"/>
                      <a:pt x="2045003" y="3482876"/>
                    </a:cubicBezTo>
                    <a:cubicBezTo>
                      <a:pt x="2045003" y="3759739"/>
                      <a:pt x="2196852" y="4003854"/>
                      <a:pt x="2354657" y="4114004"/>
                    </a:cubicBezTo>
                    <a:cubicBezTo>
                      <a:pt x="2360612" y="4116981"/>
                      <a:pt x="2357634" y="4125912"/>
                      <a:pt x="2348702" y="4125912"/>
                    </a:cubicBezTo>
                    <a:cubicBezTo>
                      <a:pt x="2348702" y="4125912"/>
                      <a:pt x="2348702" y="4125912"/>
                      <a:pt x="1235138" y="4125912"/>
                    </a:cubicBezTo>
                    <a:cubicBezTo>
                      <a:pt x="1232160" y="4125912"/>
                      <a:pt x="1229183" y="4119958"/>
                      <a:pt x="1229183" y="4116981"/>
                    </a:cubicBezTo>
                    <a:cubicBezTo>
                      <a:pt x="1232160" y="4102096"/>
                      <a:pt x="1235138" y="4087211"/>
                      <a:pt x="1235138" y="4072326"/>
                    </a:cubicBezTo>
                    <a:cubicBezTo>
                      <a:pt x="1235138" y="3991946"/>
                      <a:pt x="1166657" y="3923475"/>
                      <a:pt x="1080311" y="3923475"/>
                    </a:cubicBezTo>
                    <a:cubicBezTo>
                      <a:pt x="1062446" y="3923475"/>
                      <a:pt x="1044581" y="3926452"/>
                      <a:pt x="1029694" y="3929429"/>
                    </a:cubicBezTo>
                    <a:cubicBezTo>
                      <a:pt x="1026717" y="3932406"/>
                      <a:pt x="1020762" y="3929429"/>
                      <a:pt x="1020762" y="3923475"/>
                    </a:cubicBezTo>
                    <a:cubicBezTo>
                      <a:pt x="1020762" y="3923475"/>
                      <a:pt x="1020762" y="3923475"/>
                      <a:pt x="1020762" y="3039300"/>
                    </a:cubicBezTo>
                    <a:cubicBezTo>
                      <a:pt x="1020762" y="3033346"/>
                      <a:pt x="1026717" y="3030369"/>
                      <a:pt x="1029694" y="3033346"/>
                    </a:cubicBezTo>
                    <a:cubicBezTo>
                      <a:pt x="1044581" y="3039300"/>
                      <a:pt x="1062446" y="3042277"/>
                      <a:pt x="1080311" y="3042277"/>
                    </a:cubicBezTo>
                    <a:cubicBezTo>
                      <a:pt x="1166657" y="3042277"/>
                      <a:pt x="1235138" y="2973805"/>
                      <a:pt x="1235138" y="2890449"/>
                    </a:cubicBezTo>
                    <a:cubicBezTo>
                      <a:pt x="1235138" y="2875564"/>
                      <a:pt x="1232160" y="2857701"/>
                      <a:pt x="1229183" y="2842816"/>
                    </a:cubicBezTo>
                    <a:cubicBezTo>
                      <a:pt x="1226205" y="2839839"/>
                      <a:pt x="1229183" y="2836862"/>
                      <a:pt x="1232160" y="2836862"/>
                    </a:cubicBezTo>
                    <a:close/>
                    <a:moveTo>
                      <a:pt x="415132" y="0"/>
                    </a:moveTo>
                    <a:cubicBezTo>
                      <a:pt x="644403" y="0"/>
                      <a:pt x="830264" y="184439"/>
                      <a:pt x="830264" y="411957"/>
                    </a:cubicBezTo>
                    <a:cubicBezTo>
                      <a:pt x="830264" y="639475"/>
                      <a:pt x="644403" y="823914"/>
                      <a:pt x="415132" y="823914"/>
                    </a:cubicBezTo>
                    <a:cubicBezTo>
                      <a:pt x="185861" y="823914"/>
                      <a:pt x="0" y="639475"/>
                      <a:pt x="0" y="411957"/>
                    </a:cubicBezTo>
                    <a:cubicBezTo>
                      <a:pt x="0" y="184439"/>
                      <a:pt x="185861" y="0"/>
                      <a:pt x="415132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52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tx2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NavigationText"/>
          <p:cNvSpPr/>
          <p:nvPr/>
        </p:nvSpPr>
        <p:spPr>
          <a:xfrm>
            <a:off x="10049263" y="256093"/>
            <a:ext cx="1321797" cy="2580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9144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US" sz="1000" smtClean="0">
                <a:solidFill>
                  <a:srgbClr val="6F6F6F">
                    <a:lumMod val="10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fe and Health Sciences</a:t>
            </a:r>
            <a:endParaRPr lang="en-US" sz="1000" dirty="0" err="1" smtClean="0">
              <a:solidFill>
                <a:srgbClr val="6F6F6F">
                  <a:lumMod val="10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NavigationIcon"/>
          <p:cNvSpPr>
            <a:spLocks noChangeAspect="1"/>
          </p:cNvSpPr>
          <p:nvPr/>
        </p:nvSpPr>
        <p:spPr bwMode="auto">
          <a:xfrm>
            <a:off x="11644824" y="150750"/>
            <a:ext cx="457200" cy="330013"/>
          </a:xfrm>
          <a:custGeom>
            <a:avLst/>
            <a:gdLst>
              <a:gd name="connsiteX0" fmla="*/ 1209676 w 1506538"/>
              <a:gd name="connsiteY0" fmla="*/ 627063 h 1087438"/>
              <a:gd name="connsiteX1" fmla="*/ 1212851 w 1506538"/>
              <a:gd name="connsiteY1" fmla="*/ 628651 h 1087438"/>
              <a:gd name="connsiteX2" fmla="*/ 1217614 w 1506538"/>
              <a:gd name="connsiteY2" fmla="*/ 628651 h 1087438"/>
              <a:gd name="connsiteX3" fmla="*/ 1220789 w 1506538"/>
              <a:gd name="connsiteY3" fmla="*/ 631826 h 1087438"/>
              <a:gd name="connsiteX4" fmla="*/ 1222376 w 1506538"/>
              <a:gd name="connsiteY4" fmla="*/ 635001 h 1087438"/>
              <a:gd name="connsiteX5" fmla="*/ 1225551 w 1506538"/>
              <a:gd name="connsiteY5" fmla="*/ 638176 h 1087438"/>
              <a:gd name="connsiteX6" fmla="*/ 1225551 w 1506538"/>
              <a:gd name="connsiteY6" fmla="*/ 641351 h 1087438"/>
              <a:gd name="connsiteX7" fmla="*/ 1225551 w 1506538"/>
              <a:gd name="connsiteY7" fmla="*/ 644526 h 1087438"/>
              <a:gd name="connsiteX8" fmla="*/ 1225551 w 1506538"/>
              <a:gd name="connsiteY8" fmla="*/ 647701 h 1087438"/>
              <a:gd name="connsiteX9" fmla="*/ 1223964 w 1506538"/>
              <a:gd name="connsiteY9" fmla="*/ 650876 h 1087438"/>
              <a:gd name="connsiteX10" fmla="*/ 1222376 w 1506538"/>
              <a:gd name="connsiteY10" fmla="*/ 654051 h 1087438"/>
              <a:gd name="connsiteX11" fmla="*/ 1220789 w 1506538"/>
              <a:gd name="connsiteY11" fmla="*/ 655638 h 1087438"/>
              <a:gd name="connsiteX12" fmla="*/ 1217614 w 1506538"/>
              <a:gd name="connsiteY12" fmla="*/ 657226 h 1087438"/>
              <a:gd name="connsiteX13" fmla="*/ 1038226 w 1506538"/>
              <a:gd name="connsiteY13" fmla="*/ 760413 h 1087438"/>
              <a:gd name="connsiteX14" fmla="*/ 1035051 w 1506538"/>
              <a:gd name="connsiteY14" fmla="*/ 762001 h 1087438"/>
              <a:gd name="connsiteX15" fmla="*/ 1033463 w 1506538"/>
              <a:gd name="connsiteY15" fmla="*/ 763588 h 1087438"/>
              <a:gd name="connsiteX16" fmla="*/ 1028701 w 1506538"/>
              <a:gd name="connsiteY16" fmla="*/ 763588 h 1087438"/>
              <a:gd name="connsiteX17" fmla="*/ 1027113 w 1506538"/>
              <a:gd name="connsiteY17" fmla="*/ 762001 h 1087438"/>
              <a:gd name="connsiteX18" fmla="*/ 1022351 w 1506538"/>
              <a:gd name="connsiteY18" fmla="*/ 762001 h 1087438"/>
              <a:gd name="connsiteX19" fmla="*/ 1020763 w 1506538"/>
              <a:gd name="connsiteY19" fmla="*/ 758826 h 1087438"/>
              <a:gd name="connsiteX20" fmla="*/ 1019176 w 1506538"/>
              <a:gd name="connsiteY20" fmla="*/ 757238 h 1087438"/>
              <a:gd name="connsiteX21" fmla="*/ 1016001 w 1506538"/>
              <a:gd name="connsiteY21" fmla="*/ 754063 h 1087438"/>
              <a:gd name="connsiteX22" fmla="*/ 1014413 w 1506538"/>
              <a:gd name="connsiteY22" fmla="*/ 750888 h 1087438"/>
              <a:gd name="connsiteX23" fmla="*/ 1014413 w 1506538"/>
              <a:gd name="connsiteY23" fmla="*/ 749301 h 1087438"/>
              <a:gd name="connsiteX24" fmla="*/ 1014413 w 1506538"/>
              <a:gd name="connsiteY24" fmla="*/ 746126 h 1087438"/>
              <a:gd name="connsiteX25" fmla="*/ 1014413 w 1506538"/>
              <a:gd name="connsiteY25" fmla="*/ 741363 h 1087438"/>
              <a:gd name="connsiteX26" fmla="*/ 1014413 w 1506538"/>
              <a:gd name="connsiteY26" fmla="*/ 739776 h 1087438"/>
              <a:gd name="connsiteX27" fmla="*/ 1017588 w 1506538"/>
              <a:gd name="connsiteY27" fmla="*/ 736601 h 1087438"/>
              <a:gd name="connsiteX28" fmla="*/ 1019176 w 1506538"/>
              <a:gd name="connsiteY28" fmla="*/ 735013 h 1087438"/>
              <a:gd name="connsiteX29" fmla="*/ 1022351 w 1506538"/>
              <a:gd name="connsiteY29" fmla="*/ 731838 h 1087438"/>
              <a:gd name="connsiteX30" fmla="*/ 1200151 w 1506538"/>
              <a:gd name="connsiteY30" fmla="*/ 628651 h 1087438"/>
              <a:gd name="connsiteX31" fmla="*/ 1204914 w 1506538"/>
              <a:gd name="connsiteY31" fmla="*/ 628651 h 1087438"/>
              <a:gd name="connsiteX32" fmla="*/ 650876 w 1506538"/>
              <a:gd name="connsiteY32" fmla="*/ 627063 h 1087438"/>
              <a:gd name="connsiteX33" fmla="*/ 654051 w 1506538"/>
              <a:gd name="connsiteY33" fmla="*/ 628651 h 1087438"/>
              <a:gd name="connsiteX34" fmla="*/ 658814 w 1506538"/>
              <a:gd name="connsiteY34" fmla="*/ 628651 h 1087438"/>
              <a:gd name="connsiteX35" fmla="*/ 661989 w 1506538"/>
              <a:gd name="connsiteY35" fmla="*/ 631826 h 1087438"/>
              <a:gd name="connsiteX36" fmla="*/ 665164 w 1506538"/>
              <a:gd name="connsiteY36" fmla="*/ 635001 h 1087438"/>
              <a:gd name="connsiteX37" fmla="*/ 665164 w 1506538"/>
              <a:gd name="connsiteY37" fmla="*/ 638176 h 1087438"/>
              <a:gd name="connsiteX38" fmla="*/ 666751 w 1506538"/>
              <a:gd name="connsiteY38" fmla="*/ 641351 h 1087438"/>
              <a:gd name="connsiteX39" fmla="*/ 666751 w 1506538"/>
              <a:gd name="connsiteY39" fmla="*/ 644526 h 1087438"/>
              <a:gd name="connsiteX40" fmla="*/ 665164 w 1506538"/>
              <a:gd name="connsiteY40" fmla="*/ 647701 h 1087438"/>
              <a:gd name="connsiteX41" fmla="*/ 665164 w 1506538"/>
              <a:gd name="connsiteY41" fmla="*/ 650876 h 1087438"/>
              <a:gd name="connsiteX42" fmla="*/ 663576 w 1506538"/>
              <a:gd name="connsiteY42" fmla="*/ 654051 h 1087438"/>
              <a:gd name="connsiteX43" fmla="*/ 660401 w 1506538"/>
              <a:gd name="connsiteY43" fmla="*/ 655638 h 1087438"/>
              <a:gd name="connsiteX44" fmla="*/ 658814 w 1506538"/>
              <a:gd name="connsiteY44" fmla="*/ 657226 h 1087438"/>
              <a:gd name="connsiteX45" fmla="*/ 479426 w 1506538"/>
              <a:gd name="connsiteY45" fmla="*/ 760413 h 1087438"/>
              <a:gd name="connsiteX46" fmla="*/ 477838 w 1506538"/>
              <a:gd name="connsiteY46" fmla="*/ 762001 h 1087438"/>
              <a:gd name="connsiteX47" fmla="*/ 474663 w 1506538"/>
              <a:gd name="connsiteY47" fmla="*/ 763588 h 1087438"/>
              <a:gd name="connsiteX48" fmla="*/ 471488 w 1506538"/>
              <a:gd name="connsiteY48" fmla="*/ 763588 h 1087438"/>
              <a:gd name="connsiteX49" fmla="*/ 468313 w 1506538"/>
              <a:gd name="connsiteY49" fmla="*/ 762001 h 1087438"/>
              <a:gd name="connsiteX50" fmla="*/ 465138 w 1506538"/>
              <a:gd name="connsiteY50" fmla="*/ 762001 h 1087438"/>
              <a:gd name="connsiteX51" fmla="*/ 461963 w 1506538"/>
              <a:gd name="connsiteY51" fmla="*/ 758826 h 1087438"/>
              <a:gd name="connsiteX52" fmla="*/ 460376 w 1506538"/>
              <a:gd name="connsiteY52" fmla="*/ 757238 h 1087438"/>
              <a:gd name="connsiteX53" fmla="*/ 457201 w 1506538"/>
              <a:gd name="connsiteY53" fmla="*/ 754063 h 1087438"/>
              <a:gd name="connsiteX54" fmla="*/ 457201 w 1506538"/>
              <a:gd name="connsiteY54" fmla="*/ 750888 h 1087438"/>
              <a:gd name="connsiteX55" fmla="*/ 455613 w 1506538"/>
              <a:gd name="connsiteY55" fmla="*/ 749301 h 1087438"/>
              <a:gd name="connsiteX56" fmla="*/ 455613 w 1506538"/>
              <a:gd name="connsiteY56" fmla="*/ 746126 h 1087438"/>
              <a:gd name="connsiteX57" fmla="*/ 455613 w 1506538"/>
              <a:gd name="connsiteY57" fmla="*/ 741363 h 1087438"/>
              <a:gd name="connsiteX58" fmla="*/ 457201 w 1506538"/>
              <a:gd name="connsiteY58" fmla="*/ 739776 h 1087438"/>
              <a:gd name="connsiteX59" fmla="*/ 458788 w 1506538"/>
              <a:gd name="connsiteY59" fmla="*/ 736601 h 1087438"/>
              <a:gd name="connsiteX60" fmla="*/ 461963 w 1506538"/>
              <a:gd name="connsiteY60" fmla="*/ 735013 h 1087438"/>
              <a:gd name="connsiteX61" fmla="*/ 463551 w 1506538"/>
              <a:gd name="connsiteY61" fmla="*/ 731838 h 1087438"/>
              <a:gd name="connsiteX62" fmla="*/ 642939 w 1506538"/>
              <a:gd name="connsiteY62" fmla="*/ 628651 h 1087438"/>
              <a:gd name="connsiteX63" fmla="*/ 646114 w 1506538"/>
              <a:gd name="connsiteY63" fmla="*/ 628651 h 1087438"/>
              <a:gd name="connsiteX64" fmla="*/ 254000 w 1506538"/>
              <a:gd name="connsiteY64" fmla="*/ 423863 h 1087438"/>
              <a:gd name="connsiteX65" fmla="*/ 257176 w 1506538"/>
              <a:gd name="connsiteY65" fmla="*/ 423863 h 1087438"/>
              <a:gd name="connsiteX66" fmla="*/ 260351 w 1506538"/>
              <a:gd name="connsiteY66" fmla="*/ 423863 h 1087438"/>
              <a:gd name="connsiteX67" fmla="*/ 263526 w 1506538"/>
              <a:gd name="connsiteY67" fmla="*/ 425451 h 1087438"/>
              <a:gd name="connsiteX68" fmla="*/ 266701 w 1506538"/>
              <a:gd name="connsiteY68" fmla="*/ 427038 h 1087438"/>
              <a:gd name="connsiteX69" fmla="*/ 268288 w 1506538"/>
              <a:gd name="connsiteY69" fmla="*/ 428626 h 1087438"/>
              <a:gd name="connsiteX70" fmla="*/ 271463 w 1506538"/>
              <a:gd name="connsiteY70" fmla="*/ 431801 h 1087438"/>
              <a:gd name="connsiteX71" fmla="*/ 271463 w 1506538"/>
              <a:gd name="connsiteY71" fmla="*/ 434976 h 1087438"/>
              <a:gd name="connsiteX72" fmla="*/ 273051 w 1506538"/>
              <a:gd name="connsiteY72" fmla="*/ 436563 h 1087438"/>
              <a:gd name="connsiteX73" fmla="*/ 273051 w 1506538"/>
              <a:gd name="connsiteY73" fmla="*/ 441326 h 1087438"/>
              <a:gd name="connsiteX74" fmla="*/ 273051 w 1506538"/>
              <a:gd name="connsiteY74" fmla="*/ 646114 h 1087438"/>
              <a:gd name="connsiteX75" fmla="*/ 273051 w 1506538"/>
              <a:gd name="connsiteY75" fmla="*/ 650876 h 1087438"/>
              <a:gd name="connsiteX76" fmla="*/ 271463 w 1506538"/>
              <a:gd name="connsiteY76" fmla="*/ 652464 h 1087438"/>
              <a:gd name="connsiteX77" fmla="*/ 269876 w 1506538"/>
              <a:gd name="connsiteY77" fmla="*/ 655639 h 1087438"/>
              <a:gd name="connsiteX78" fmla="*/ 268288 w 1506538"/>
              <a:gd name="connsiteY78" fmla="*/ 658814 h 1087438"/>
              <a:gd name="connsiteX79" fmla="*/ 265113 w 1506538"/>
              <a:gd name="connsiteY79" fmla="*/ 660401 h 1087438"/>
              <a:gd name="connsiteX80" fmla="*/ 263526 w 1506538"/>
              <a:gd name="connsiteY80" fmla="*/ 661989 h 1087438"/>
              <a:gd name="connsiteX81" fmla="*/ 260351 w 1506538"/>
              <a:gd name="connsiteY81" fmla="*/ 663576 h 1087438"/>
              <a:gd name="connsiteX82" fmla="*/ 257176 w 1506538"/>
              <a:gd name="connsiteY82" fmla="*/ 663576 h 1087438"/>
              <a:gd name="connsiteX83" fmla="*/ 252413 w 1506538"/>
              <a:gd name="connsiteY83" fmla="*/ 663576 h 1087438"/>
              <a:gd name="connsiteX84" fmla="*/ 249238 w 1506538"/>
              <a:gd name="connsiteY84" fmla="*/ 661989 h 1087438"/>
              <a:gd name="connsiteX85" fmla="*/ 244475 w 1506538"/>
              <a:gd name="connsiteY85" fmla="*/ 658814 h 1087438"/>
              <a:gd name="connsiteX86" fmla="*/ 242888 w 1506538"/>
              <a:gd name="connsiteY86" fmla="*/ 655639 h 1087438"/>
              <a:gd name="connsiteX87" fmla="*/ 241300 w 1506538"/>
              <a:gd name="connsiteY87" fmla="*/ 650876 h 1087438"/>
              <a:gd name="connsiteX88" fmla="*/ 239713 w 1506538"/>
              <a:gd name="connsiteY88" fmla="*/ 646114 h 1087438"/>
              <a:gd name="connsiteX89" fmla="*/ 241300 w 1506538"/>
              <a:gd name="connsiteY89" fmla="*/ 441326 h 1087438"/>
              <a:gd name="connsiteX90" fmla="*/ 241300 w 1506538"/>
              <a:gd name="connsiteY90" fmla="*/ 436563 h 1087438"/>
              <a:gd name="connsiteX91" fmla="*/ 242888 w 1506538"/>
              <a:gd name="connsiteY91" fmla="*/ 434976 h 1087438"/>
              <a:gd name="connsiteX92" fmla="*/ 242888 w 1506538"/>
              <a:gd name="connsiteY92" fmla="*/ 431801 h 1087438"/>
              <a:gd name="connsiteX93" fmla="*/ 246063 w 1506538"/>
              <a:gd name="connsiteY93" fmla="*/ 428626 h 1087438"/>
              <a:gd name="connsiteX94" fmla="*/ 247650 w 1506538"/>
              <a:gd name="connsiteY94" fmla="*/ 427038 h 1087438"/>
              <a:gd name="connsiteX95" fmla="*/ 250825 w 1506538"/>
              <a:gd name="connsiteY95" fmla="*/ 425451 h 1087438"/>
              <a:gd name="connsiteX96" fmla="*/ 1027113 w 1506538"/>
              <a:gd name="connsiteY96" fmla="*/ 323850 h 1087438"/>
              <a:gd name="connsiteX97" fmla="*/ 1028701 w 1506538"/>
              <a:gd name="connsiteY97" fmla="*/ 323850 h 1087438"/>
              <a:gd name="connsiteX98" fmla="*/ 1033463 w 1506538"/>
              <a:gd name="connsiteY98" fmla="*/ 323850 h 1087438"/>
              <a:gd name="connsiteX99" fmla="*/ 1035051 w 1506538"/>
              <a:gd name="connsiteY99" fmla="*/ 323850 h 1087438"/>
              <a:gd name="connsiteX100" fmla="*/ 1038226 w 1506538"/>
              <a:gd name="connsiteY100" fmla="*/ 325438 h 1087438"/>
              <a:gd name="connsiteX101" fmla="*/ 1217614 w 1506538"/>
              <a:gd name="connsiteY101" fmla="*/ 427038 h 1087438"/>
              <a:gd name="connsiteX102" fmla="*/ 1220789 w 1506538"/>
              <a:gd name="connsiteY102" fmla="*/ 428625 h 1087438"/>
              <a:gd name="connsiteX103" fmla="*/ 1222376 w 1506538"/>
              <a:gd name="connsiteY103" fmla="*/ 431800 h 1087438"/>
              <a:gd name="connsiteX104" fmla="*/ 1223964 w 1506538"/>
              <a:gd name="connsiteY104" fmla="*/ 434975 h 1087438"/>
              <a:gd name="connsiteX105" fmla="*/ 1225551 w 1506538"/>
              <a:gd name="connsiteY105" fmla="*/ 436563 h 1087438"/>
              <a:gd name="connsiteX106" fmla="*/ 1225551 w 1506538"/>
              <a:gd name="connsiteY106" fmla="*/ 441325 h 1087438"/>
              <a:gd name="connsiteX107" fmla="*/ 1225551 w 1506538"/>
              <a:gd name="connsiteY107" fmla="*/ 442913 h 1087438"/>
              <a:gd name="connsiteX108" fmla="*/ 1225551 w 1506538"/>
              <a:gd name="connsiteY108" fmla="*/ 446088 h 1087438"/>
              <a:gd name="connsiteX109" fmla="*/ 1222376 w 1506538"/>
              <a:gd name="connsiteY109" fmla="*/ 450850 h 1087438"/>
              <a:gd name="connsiteX110" fmla="*/ 1220789 w 1506538"/>
              <a:gd name="connsiteY110" fmla="*/ 452438 h 1087438"/>
              <a:gd name="connsiteX111" fmla="*/ 1217614 w 1506538"/>
              <a:gd name="connsiteY111" fmla="*/ 455613 h 1087438"/>
              <a:gd name="connsiteX112" fmla="*/ 1212851 w 1506538"/>
              <a:gd name="connsiteY112" fmla="*/ 457200 h 1087438"/>
              <a:gd name="connsiteX113" fmla="*/ 1209676 w 1506538"/>
              <a:gd name="connsiteY113" fmla="*/ 457200 h 1087438"/>
              <a:gd name="connsiteX114" fmla="*/ 1204914 w 1506538"/>
              <a:gd name="connsiteY114" fmla="*/ 457200 h 1087438"/>
              <a:gd name="connsiteX115" fmla="*/ 1200151 w 1506538"/>
              <a:gd name="connsiteY115" fmla="*/ 455613 h 1087438"/>
              <a:gd name="connsiteX116" fmla="*/ 1022351 w 1506538"/>
              <a:gd name="connsiteY116" fmla="*/ 352425 h 1087438"/>
              <a:gd name="connsiteX117" fmla="*/ 1019176 w 1506538"/>
              <a:gd name="connsiteY117" fmla="*/ 350838 h 1087438"/>
              <a:gd name="connsiteX118" fmla="*/ 1017588 w 1506538"/>
              <a:gd name="connsiteY118" fmla="*/ 349250 h 1087438"/>
              <a:gd name="connsiteX119" fmla="*/ 1014413 w 1506538"/>
              <a:gd name="connsiteY119" fmla="*/ 346075 h 1087438"/>
              <a:gd name="connsiteX120" fmla="*/ 1014413 w 1506538"/>
              <a:gd name="connsiteY120" fmla="*/ 342900 h 1087438"/>
              <a:gd name="connsiteX121" fmla="*/ 1014413 w 1506538"/>
              <a:gd name="connsiteY121" fmla="*/ 341313 h 1087438"/>
              <a:gd name="connsiteX122" fmla="*/ 1014413 w 1506538"/>
              <a:gd name="connsiteY122" fmla="*/ 338138 h 1087438"/>
              <a:gd name="connsiteX123" fmla="*/ 1014413 w 1506538"/>
              <a:gd name="connsiteY123" fmla="*/ 334963 h 1087438"/>
              <a:gd name="connsiteX124" fmla="*/ 1016001 w 1506538"/>
              <a:gd name="connsiteY124" fmla="*/ 330200 h 1087438"/>
              <a:gd name="connsiteX125" fmla="*/ 1019176 w 1506538"/>
              <a:gd name="connsiteY125" fmla="*/ 328613 h 1087438"/>
              <a:gd name="connsiteX126" fmla="*/ 1020763 w 1506538"/>
              <a:gd name="connsiteY126" fmla="*/ 327025 h 1087438"/>
              <a:gd name="connsiteX127" fmla="*/ 1022351 w 1506538"/>
              <a:gd name="connsiteY127" fmla="*/ 325438 h 1087438"/>
              <a:gd name="connsiteX128" fmla="*/ 468313 w 1506538"/>
              <a:gd name="connsiteY128" fmla="*/ 323850 h 1087438"/>
              <a:gd name="connsiteX129" fmla="*/ 471488 w 1506538"/>
              <a:gd name="connsiteY129" fmla="*/ 323850 h 1087438"/>
              <a:gd name="connsiteX130" fmla="*/ 474663 w 1506538"/>
              <a:gd name="connsiteY130" fmla="*/ 323850 h 1087438"/>
              <a:gd name="connsiteX131" fmla="*/ 477838 w 1506538"/>
              <a:gd name="connsiteY131" fmla="*/ 323850 h 1087438"/>
              <a:gd name="connsiteX132" fmla="*/ 479426 w 1506538"/>
              <a:gd name="connsiteY132" fmla="*/ 325438 h 1087438"/>
              <a:gd name="connsiteX133" fmla="*/ 658814 w 1506538"/>
              <a:gd name="connsiteY133" fmla="*/ 427038 h 1087438"/>
              <a:gd name="connsiteX134" fmla="*/ 660401 w 1506538"/>
              <a:gd name="connsiteY134" fmla="*/ 428625 h 1087438"/>
              <a:gd name="connsiteX135" fmla="*/ 663576 w 1506538"/>
              <a:gd name="connsiteY135" fmla="*/ 431800 h 1087438"/>
              <a:gd name="connsiteX136" fmla="*/ 665164 w 1506538"/>
              <a:gd name="connsiteY136" fmla="*/ 434975 h 1087438"/>
              <a:gd name="connsiteX137" fmla="*/ 665164 w 1506538"/>
              <a:gd name="connsiteY137" fmla="*/ 436563 h 1087438"/>
              <a:gd name="connsiteX138" fmla="*/ 666751 w 1506538"/>
              <a:gd name="connsiteY138" fmla="*/ 441325 h 1087438"/>
              <a:gd name="connsiteX139" fmla="*/ 666751 w 1506538"/>
              <a:gd name="connsiteY139" fmla="*/ 442913 h 1087438"/>
              <a:gd name="connsiteX140" fmla="*/ 665164 w 1506538"/>
              <a:gd name="connsiteY140" fmla="*/ 446088 h 1087438"/>
              <a:gd name="connsiteX141" fmla="*/ 665164 w 1506538"/>
              <a:gd name="connsiteY141" fmla="*/ 450850 h 1087438"/>
              <a:gd name="connsiteX142" fmla="*/ 661989 w 1506538"/>
              <a:gd name="connsiteY142" fmla="*/ 452438 h 1087438"/>
              <a:gd name="connsiteX143" fmla="*/ 658814 w 1506538"/>
              <a:gd name="connsiteY143" fmla="*/ 455613 h 1087438"/>
              <a:gd name="connsiteX144" fmla="*/ 654051 w 1506538"/>
              <a:gd name="connsiteY144" fmla="*/ 457200 h 1087438"/>
              <a:gd name="connsiteX145" fmla="*/ 650876 w 1506538"/>
              <a:gd name="connsiteY145" fmla="*/ 457200 h 1087438"/>
              <a:gd name="connsiteX146" fmla="*/ 646114 w 1506538"/>
              <a:gd name="connsiteY146" fmla="*/ 457200 h 1087438"/>
              <a:gd name="connsiteX147" fmla="*/ 642939 w 1506538"/>
              <a:gd name="connsiteY147" fmla="*/ 455613 h 1087438"/>
              <a:gd name="connsiteX148" fmla="*/ 463551 w 1506538"/>
              <a:gd name="connsiteY148" fmla="*/ 352425 h 1087438"/>
              <a:gd name="connsiteX149" fmla="*/ 461963 w 1506538"/>
              <a:gd name="connsiteY149" fmla="*/ 350838 h 1087438"/>
              <a:gd name="connsiteX150" fmla="*/ 458788 w 1506538"/>
              <a:gd name="connsiteY150" fmla="*/ 349250 h 1087438"/>
              <a:gd name="connsiteX151" fmla="*/ 457201 w 1506538"/>
              <a:gd name="connsiteY151" fmla="*/ 346075 h 1087438"/>
              <a:gd name="connsiteX152" fmla="*/ 455613 w 1506538"/>
              <a:gd name="connsiteY152" fmla="*/ 342900 h 1087438"/>
              <a:gd name="connsiteX153" fmla="*/ 455613 w 1506538"/>
              <a:gd name="connsiteY153" fmla="*/ 341313 h 1087438"/>
              <a:gd name="connsiteX154" fmla="*/ 455613 w 1506538"/>
              <a:gd name="connsiteY154" fmla="*/ 338138 h 1087438"/>
              <a:gd name="connsiteX155" fmla="*/ 457201 w 1506538"/>
              <a:gd name="connsiteY155" fmla="*/ 334963 h 1087438"/>
              <a:gd name="connsiteX156" fmla="*/ 457201 w 1506538"/>
              <a:gd name="connsiteY156" fmla="*/ 330200 h 1087438"/>
              <a:gd name="connsiteX157" fmla="*/ 460376 w 1506538"/>
              <a:gd name="connsiteY157" fmla="*/ 328613 h 1087438"/>
              <a:gd name="connsiteX158" fmla="*/ 461963 w 1506538"/>
              <a:gd name="connsiteY158" fmla="*/ 327025 h 1087438"/>
              <a:gd name="connsiteX159" fmla="*/ 465138 w 1506538"/>
              <a:gd name="connsiteY159" fmla="*/ 325438 h 1087438"/>
              <a:gd name="connsiteX160" fmla="*/ 1036638 w 1506538"/>
              <a:gd name="connsiteY160" fmla="*/ 231775 h 1087438"/>
              <a:gd name="connsiteX161" fmla="*/ 904876 w 1506538"/>
              <a:gd name="connsiteY161" fmla="*/ 307975 h 1087438"/>
              <a:gd name="connsiteX162" fmla="*/ 850901 w 1506538"/>
              <a:gd name="connsiteY162" fmla="*/ 341313 h 1087438"/>
              <a:gd name="connsiteX163" fmla="*/ 769938 w 1506538"/>
              <a:gd name="connsiteY163" fmla="*/ 387350 h 1087438"/>
              <a:gd name="connsiteX164" fmla="*/ 769938 w 1506538"/>
              <a:gd name="connsiteY164" fmla="*/ 473075 h 1087438"/>
              <a:gd name="connsiteX165" fmla="*/ 769938 w 1506538"/>
              <a:gd name="connsiteY165" fmla="*/ 614363 h 1087438"/>
              <a:gd name="connsiteX166" fmla="*/ 769938 w 1506538"/>
              <a:gd name="connsiteY166" fmla="*/ 700088 h 1087438"/>
              <a:gd name="connsiteX167" fmla="*/ 814388 w 1506538"/>
              <a:gd name="connsiteY167" fmla="*/ 725488 h 1087438"/>
              <a:gd name="connsiteX168" fmla="*/ 850901 w 1506538"/>
              <a:gd name="connsiteY168" fmla="*/ 747713 h 1087438"/>
              <a:gd name="connsiteX169" fmla="*/ 1036638 w 1506538"/>
              <a:gd name="connsiteY169" fmla="*/ 855663 h 1087438"/>
              <a:gd name="connsiteX170" fmla="*/ 1109663 w 1506538"/>
              <a:gd name="connsiteY170" fmla="*/ 812801 h 1087438"/>
              <a:gd name="connsiteX171" fmla="*/ 1303338 w 1506538"/>
              <a:gd name="connsiteY171" fmla="*/ 700088 h 1087438"/>
              <a:gd name="connsiteX172" fmla="*/ 1303338 w 1506538"/>
              <a:gd name="connsiteY172" fmla="*/ 614363 h 1087438"/>
              <a:gd name="connsiteX173" fmla="*/ 1303338 w 1506538"/>
              <a:gd name="connsiteY173" fmla="*/ 473075 h 1087438"/>
              <a:gd name="connsiteX174" fmla="*/ 1303338 w 1506538"/>
              <a:gd name="connsiteY174" fmla="*/ 387350 h 1087438"/>
              <a:gd name="connsiteX175" fmla="*/ 1109663 w 1506538"/>
              <a:gd name="connsiteY175" fmla="*/ 274638 h 1087438"/>
              <a:gd name="connsiteX176" fmla="*/ 469900 w 1506538"/>
              <a:gd name="connsiteY176" fmla="*/ 231775 h 1087438"/>
              <a:gd name="connsiteX177" fmla="*/ 396875 w 1506538"/>
              <a:gd name="connsiteY177" fmla="*/ 274638 h 1087438"/>
              <a:gd name="connsiteX178" fmla="*/ 203200 w 1506538"/>
              <a:gd name="connsiteY178" fmla="*/ 387350 h 1087438"/>
              <a:gd name="connsiteX179" fmla="*/ 203200 w 1506538"/>
              <a:gd name="connsiteY179" fmla="*/ 473075 h 1087438"/>
              <a:gd name="connsiteX180" fmla="*/ 203200 w 1506538"/>
              <a:gd name="connsiteY180" fmla="*/ 614363 h 1087438"/>
              <a:gd name="connsiteX181" fmla="*/ 203200 w 1506538"/>
              <a:gd name="connsiteY181" fmla="*/ 700088 h 1087438"/>
              <a:gd name="connsiteX182" fmla="*/ 396875 w 1506538"/>
              <a:gd name="connsiteY182" fmla="*/ 812801 h 1087438"/>
              <a:gd name="connsiteX183" fmla="*/ 469900 w 1506538"/>
              <a:gd name="connsiteY183" fmla="*/ 855663 h 1087438"/>
              <a:gd name="connsiteX184" fmla="*/ 601663 w 1506538"/>
              <a:gd name="connsiteY184" fmla="*/ 779463 h 1087438"/>
              <a:gd name="connsiteX185" fmla="*/ 655638 w 1506538"/>
              <a:gd name="connsiteY185" fmla="*/ 746126 h 1087438"/>
              <a:gd name="connsiteX186" fmla="*/ 736600 w 1506538"/>
              <a:gd name="connsiteY186" fmla="*/ 700088 h 1087438"/>
              <a:gd name="connsiteX187" fmla="*/ 736600 w 1506538"/>
              <a:gd name="connsiteY187" fmla="*/ 614363 h 1087438"/>
              <a:gd name="connsiteX188" fmla="*/ 736600 w 1506538"/>
              <a:gd name="connsiteY188" fmla="*/ 473075 h 1087438"/>
              <a:gd name="connsiteX189" fmla="*/ 736600 w 1506538"/>
              <a:gd name="connsiteY189" fmla="*/ 387350 h 1087438"/>
              <a:gd name="connsiteX190" fmla="*/ 655638 w 1506538"/>
              <a:gd name="connsiteY190" fmla="*/ 341313 h 1087438"/>
              <a:gd name="connsiteX191" fmla="*/ 601663 w 1506538"/>
              <a:gd name="connsiteY191" fmla="*/ 307975 h 1087438"/>
              <a:gd name="connsiteX192" fmla="*/ 465138 w 1506538"/>
              <a:gd name="connsiteY192" fmla="*/ 0 h 1087438"/>
              <a:gd name="connsiteX193" fmla="*/ 469900 w 1506538"/>
              <a:gd name="connsiteY193" fmla="*/ 0 h 1087438"/>
              <a:gd name="connsiteX194" fmla="*/ 473075 w 1506538"/>
              <a:gd name="connsiteY194" fmla="*/ 0 h 1087438"/>
              <a:gd name="connsiteX195" fmla="*/ 476250 w 1506538"/>
              <a:gd name="connsiteY195" fmla="*/ 0 h 1087438"/>
              <a:gd name="connsiteX196" fmla="*/ 477838 w 1506538"/>
              <a:gd name="connsiteY196" fmla="*/ 1588 h 1087438"/>
              <a:gd name="connsiteX197" fmla="*/ 479425 w 1506538"/>
              <a:gd name="connsiteY197" fmla="*/ 4763 h 1087438"/>
              <a:gd name="connsiteX198" fmla="*/ 481013 w 1506538"/>
              <a:gd name="connsiteY198" fmla="*/ 6350 h 1087438"/>
              <a:gd name="connsiteX199" fmla="*/ 484188 w 1506538"/>
              <a:gd name="connsiteY199" fmla="*/ 7938 h 1087438"/>
              <a:gd name="connsiteX200" fmla="*/ 484188 w 1506538"/>
              <a:gd name="connsiteY200" fmla="*/ 9525 h 1087438"/>
              <a:gd name="connsiteX201" fmla="*/ 485775 w 1506538"/>
              <a:gd name="connsiteY201" fmla="*/ 12700 h 1087438"/>
              <a:gd name="connsiteX202" fmla="*/ 485775 w 1506538"/>
              <a:gd name="connsiteY202" fmla="*/ 15875 h 1087438"/>
              <a:gd name="connsiteX203" fmla="*/ 485775 w 1506538"/>
              <a:gd name="connsiteY203" fmla="*/ 203200 h 1087438"/>
              <a:gd name="connsiteX204" fmla="*/ 752475 w 1506538"/>
              <a:gd name="connsiteY204" fmla="*/ 358775 h 1087438"/>
              <a:gd name="connsiteX205" fmla="*/ 1020763 w 1506538"/>
              <a:gd name="connsiteY205" fmla="*/ 203200 h 1087438"/>
              <a:gd name="connsiteX206" fmla="*/ 1020763 w 1506538"/>
              <a:gd name="connsiteY206" fmla="*/ 15875 h 1087438"/>
              <a:gd name="connsiteX207" fmla="*/ 1020763 w 1506538"/>
              <a:gd name="connsiteY207" fmla="*/ 12700 h 1087438"/>
              <a:gd name="connsiteX208" fmla="*/ 1022351 w 1506538"/>
              <a:gd name="connsiteY208" fmla="*/ 9525 h 1087438"/>
              <a:gd name="connsiteX209" fmla="*/ 1022351 w 1506538"/>
              <a:gd name="connsiteY209" fmla="*/ 7938 h 1087438"/>
              <a:gd name="connsiteX210" fmla="*/ 1025526 w 1506538"/>
              <a:gd name="connsiteY210" fmla="*/ 6350 h 1087438"/>
              <a:gd name="connsiteX211" fmla="*/ 1027113 w 1506538"/>
              <a:gd name="connsiteY211" fmla="*/ 4763 h 1087438"/>
              <a:gd name="connsiteX212" fmla="*/ 1028701 w 1506538"/>
              <a:gd name="connsiteY212" fmla="*/ 1588 h 1087438"/>
              <a:gd name="connsiteX213" fmla="*/ 1030288 w 1506538"/>
              <a:gd name="connsiteY213" fmla="*/ 0 h 1087438"/>
              <a:gd name="connsiteX214" fmla="*/ 1033463 w 1506538"/>
              <a:gd name="connsiteY214" fmla="*/ 0 h 1087438"/>
              <a:gd name="connsiteX215" fmla="*/ 1036638 w 1506538"/>
              <a:gd name="connsiteY215" fmla="*/ 0 h 1087438"/>
              <a:gd name="connsiteX216" fmla="*/ 1041401 w 1506538"/>
              <a:gd name="connsiteY216" fmla="*/ 0 h 1087438"/>
              <a:gd name="connsiteX217" fmla="*/ 1042988 w 1506538"/>
              <a:gd name="connsiteY217" fmla="*/ 1588 h 1087438"/>
              <a:gd name="connsiteX218" fmla="*/ 1047751 w 1506538"/>
              <a:gd name="connsiteY218" fmla="*/ 4763 h 1087438"/>
              <a:gd name="connsiteX219" fmla="*/ 1049338 w 1506538"/>
              <a:gd name="connsiteY219" fmla="*/ 6350 h 1087438"/>
              <a:gd name="connsiteX220" fmla="*/ 1050926 w 1506538"/>
              <a:gd name="connsiteY220" fmla="*/ 9525 h 1087438"/>
              <a:gd name="connsiteX221" fmla="*/ 1050926 w 1506538"/>
              <a:gd name="connsiteY221" fmla="*/ 12700 h 1087438"/>
              <a:gd name="connsiteX222" fmla="*/ 1052513 w 1506538"/>
              <a:gd name="connsiteY222" fmla="*/ 15875 h 1087438"/>
              <a:gd name="connsiteX223" fmla="*/ 1052513 w 1506538"/>
              <a:gd name="connsiteY223" fmla="*/ 203200 h 1087438"/>
              <a:gd name="connsiteX224" fmla="*/ 1209676 w 1506538"/>
              <a:gd name="connsiteY224" fmla="*/ 295275 h 1087438"/>
              <a:gd name="connsiteX225" fmla="*/ 1320801 w 1506538"/>
              <a:gd name="connsiteY225" fmla="*/ 358775 h 1087438"/>
              <a:gd name="connsiteX226" fmla="*/ 1482726 w 1506538"/>
              <a:gd name="connsiteY226" fmla="*/ 265113 h 1087438"/>
              <a:gd name="connsiteX227" fmla="*/ 1485901 w 1506538"/>
              <a:gd name="connsiteY227" fmla="*/ 263525 h 1087438"/>
              <a:gd name="connsiteX228" fmla="*/ 1490663 w 1506538"/>
              <a:gd name="connsiteY228" fmla="*/ 263525 h 1087438"/>
              <a:gd name="connsiteX229" fmla="*/ 1495426 w 1506538"/>
              <a:gd name="connsiteY229" fmla="*/ 263525 h 1087438"/>
              <a:gd name="connsiteX230" fmla="*/ 1498601 w 1506538"/>
              <a:gd name="connsiteY230" fmla="*/ 265113 h 1087438"/>
              <a:gd name="connsiteX231" fmla="*/ 1501776 w 1506538"/>
              <a:gd name="connsiteY231" fmla="*/ 266700 h 1087438"/>
              <a:gd name="connsiteX232" fmla="*/ 1504951 w 1506538"/>
              <a:gd name="connsiteY232" fmla="*/ 271463 h 1087438"/>
              <a:gd name="connsiteX233" fmla="*/ 1506538 w 1506538"/>
              <a:gd name="connsiteY233" fmla="*/ 274638 h 1087438"/>
              <a:gd name="connsiteX234" fmla="*/ 1506538 w 1506538"/>
              <a:gd name="connsiteY234" fmla="*/ 277813 h 1087438"/>
              <a:gd name="connsiteX235" fmla="*/ 1506538 w 1506538"/>
              <a:gd name="connsiteY235" fmla="*/ 280988 h 1087438"/>
              <a:gd name="connsiteX236" fmla="*/ 1506538 w 1506538"/>
              <a:gd name="connsiteY236" fmla="*/ 284163 h 1087438"/>
              <a:gd name="connsiteX237" fmla="*/ 1504951 w 1506538"/>
              <a:gd name="connsiteY237" fmla="*/ 285750 h 1087438"/>
              <a:gd name="connsiteX238" fmla="*/ 1504951 w 1506538"/>
              <a:gd name="connsiteY238" fmla="*/ 288925 h 1087438"/>
              <a:gd name="connsiteX239" fmla="*/ 1501776 w 1506538"/>
              <a:gd name="connsiteY239" fmla="*/ 292100 h 1087438"/>
              <a:gd name="connsiteX240" fmla="*/ 1498601 w 1506538"/>
              <a:gd name="connsiteY240" fmla="*/ 293688 h 1087438"/>
              <a:gd name="connsiteX241" fmla="*/ 1338263 w 1506538"/>
              <a:gd name="connsiteY241" fmla="*/ 387350 h 1087438"/>
              <a:gd name="connsiteX242" fmla="*/ 1338263 w 1506538"/>
              <a:gd name="connsiteY242" fmla="*/ 471488 h 1087438"/>
              <a:gd name="connsiteX243" fmla="*/ 1338263 w 1506538"/>
              <a:gd name="connsiteY243" fmla="*/ 615950 h 1087438"/>
              <a:gd name="connsiteX244" fmla="*/ 1338263 w 1506538"/>
              <a:gd name="connsiteY244" fmla="*/ 700088 h 1087438"/>
              <a:gd name="connsiteX245" fmla="*/ 1498601 w 1506538"/>
              <a:gd name="connsiteY245" fmla="*/ 793751 h 1087438"/>
              <a:gd name="connsiteX246" fmla="*/ 1501776 w 1506538"/>
              <a:gd name="connsiteY246" fmla="*/ 795338 h 1087438"/>
              <a:gd name="connsiteX247" fmla="*/ 1504951 w 1506538"/>
              <a:gd name="connsiteY247" fmla="*/ 798513 h 1087438"/>
              <a:gd name="connsiteX248" fmla="*/ 1504951 w 1506538"/>
              <a:gd name="connsiteY248" fmla="*/ 801688 h 1087438"/>
              <a:gd name="connsiteX249" fmla="*/ 1506538 w 1506538"/>
              <a:gd name="connsiteY249" fmla="*/ 803276 h 1087438"/>
              <a:gd name="connsiteX250" fmla="*/ 1506538 w 1506538"/>
              <a:gd name="connsiteY250" fmla="*/ 806451 h 1087438"/>
              <a:gd name="connsiteX251" fmla="*/ 1506538 w 1506538"/>
              <a:gd name="connsiteY251" fmla="*/ 809626 h 1087438"/>
              <a:gd name="connsiteX252" fmla="*/ 1506538 w 1506538"/>
              <a:gd name="connsiteY252" fmla="*/ 812801 h 1087438"/>
              <a:gd name="connsiteX253" fmla="*/ 1504951 w 1506538"/>
              <a:gd name="connsiteY253" fmla="*/ 815976 h 1087438"/>
              <a:gd name="connsiteX254" fmla="*/ 1501776 w 1506538"/>
              <a:gd name="connsiteY254" fmla="*/ 819151 h 1087438"/>
              <a:gd name="connsiteX255" fmla="*/ 1498601 w 1506538"/>
              <a:gd name="connsiteY255" fmla="*/ 822326 h 1087438"/>
              <a:gd name="connsiteX256" fmla="*/ 1495426 w 1506538"/>
              <a:gd name="connsiteY256" fmla="*/ 823913 h 1087438"/>
              <a:gd name="connsiteX257" fmla="*/ 1490663 w 1506538"/>
              <a:gd name="connsiteY257" fmla="*/ 823913 h 1087438"/>
              <a:gd name="connsiteX258" fmla="*/ 1485901 w 1506538"/>
              <a:gd name="connsiteY258" fmla="*/ 823913 h 1087438"/>
              <a:gd name="connsiteX259" fmla="*/ 1482726 w 1506538"/>
              <a:gd name="connsiteY259" fmla="*/ 822326 h 1087438"/>
              <a:gd name="connsiteX260" fmla="*/ 1320801 w 1506538"/>
              <a:gd name="connsiteY260" fmla="*/ 728663 h 1087438"/>
              <a:gd name="connsiteX261" fmla="*/ 1209676 w 1506538"/>
              <a:gd name="connsiteY261" fmla="*/ 792163 h 1087438"/>
              <a:gd name="connsiteX262" fmla="*/ 1052513 w 1506538"/>
              <a:gd name="connsiteY262" fmla="*/ 884238 h 1087438"/>
              <a:gd name="connsiteX263" fmla="*/ 1052513 w 1506538"/>
              <a:gd name="connsiteY263" fmla="*/ 1071563 h 1087438"/>
              <a:gd name="connsiteX264" fmla="*/ 1050926 w 1506538"/>
              <a:gd name="connsiteY264" fmla="*/ 1074738 h 1087438"/>
              <a:gd name="connsiteX265" fmla="*/ 1050926 w 1506538"/>
              <a:gd name="connsiteY265" fmla="*/ 1077913 h 1087438"/>
              <a:gd name="connsiteX266" fmla="*/ 1049338 w 1506538"/>
              <a:gd name="connsiteY266" fmla="*/ 1081088 h 1087438"/>
              <a:gd name="connsiteX267" fmla="*/ 1047751 w 1506538"/>
              <a:gd name="connsiteY267" fmla="*/ 1082676 h 1087438"/>
              <a:gd name="connsiteX268" fmla="*/ 1042988 w 1506538"/>
              <a:gd name="connsiteY268" fmla="*/ 1085851 h 1087438"/>
              <a:gd name="connsiteX269" fmla="*/ 1041401 w 1506538"/>
              <a:gd name="connsiteY269" fmla="*/ 1087438 h 1087438"/>
              <a:gd name="connsiteX270" fmla="*/ 1036638 w 1506538"/>
              <a:gd name="connsiteY270" fmla="*/ 1087438 h 1087438"/>
              <a:gd name="connsiteX271" fmla="*/ 1033463 w 1506538"/>
              <a:gd name="connsiteY271" fmla="*/ 1087438 h 1087438"/>
              <a:gd name="connsiteX272" fmla="*/ 1030288 w 1506538"/>
              <a:gd name="connsiteY272" fmla="*/ 1087438 h 1087438"/>
              <a:gd name="connsiteX273" fmla="*/ 1028701 w 1506538"/>
              <a:gd name="connsiteY273" fmla="*/ 1085851 h 1087438"/>
              <a:gd name="connsiteX274" fmla="*/ 1027113 w 1506538"/>
              <a:gd name="connsiteY274" fmla="*/ 1082676 h 1087438"/>
              <a:gd name="connsiteX275" fmla="*/ 1025526 w 1506538"/>
              <a:gd name="connsiteY275" fmla="*/ 1081088 h 1087438"/>
              <a:gd name="connsiteX276" fmla="*/ 1022351 w 1506538"/>
              <a:gd name="connsiteY276" fmla="*/ 1079501 h 1087438"/>
              <a:gd name="connsiteX277" fmla="*/ 1022351 w 1506538"/>
              <a:gd name="connsiteY277" fmla="*/ 1077913 h 1087438"/>
              <a:gd name="connsiteX278" fmla="*/ 1020763 w 1506538"/>
              <a:gd name="connsiteY278" fmla="*/ 1074738 h 1087438"/>
              <a:gd name="connsiteX279" fmla="*/ 1020763 w 1506538"/>
              <a:gd name="connsiteY279" fmla="*/ 1071563 h 1087438"/>
              <a:gd name="connsiteX280" fmla="*/ 1020763 w 1506538"/>
              <a:gd name="connsiteY280" fmla="*/ 884238 h 1087438"/>
              <a:gd name="connsiteX281" fmla="*/ 752475 w 1506538"/>
              <a:gd name="connsiteY281" fmla="*/ 727075 h 1087438"/>
              <a:gd name="connsiteX282" fmla="*/ 485775 w 1506538"/>
              <a:gd name="connsiteY282" fmla="*/ 884238 h 1087438"/>
              <a:gd name="connsiteX283" fmla="*/ 485775 w 1506538"/>
              <a:gd name="connsiteY283" fmla="*/ 1071563 h 1087438"/>
              <a:gd name="connsiteX284" fmla="*/ 485775 w 1506538"/>
              <a:gd name="connsiteY284" fmla="*/ 1074738 h 1087438"/>
              <a:gd name="connsiteX285" fmla="*/ 484188 w 1506538"/>
              <a:gd name="connsiteY285" fmla="*/ 1077913 h 1087438"/>
              <a:gd name="connsiteX286" fmla="*/ 484188 w 1506538"/>
              <a:gd name="connsiteY286" fmla="*/ 1079501 h 1087438"/>
              <a:gd name="connsiteX287" fmla="*/ 481013 w 1506538"/>
              <a:gd name="connsiteY287" fmla="*/ 1081088 h 1087438"/>
              <a:gd name="connsiteX288" fmla="*/ 479425 w 1506538"/>
              <a:gd name="connsiteY288" fmla="*/ 1082676 h 1087438"/>
              <a:gd name="connsiteX289" fmla="*/ 477838 w 1506538"/>
              <a:gd name="connsiteY289" fmla="*/ 1085851 h 1087438"/>
              <a:gd name="connsiteX290" fmla="*/ 476250 w 1506538"/>
              <a:gd name="connsiteY290" fmla="*/ 1087438 h 1087438"/>
              <a:gd name="connsiteX291" fmla="*/ 473075 w 1506538"/>
              <a:gd name="connsiteY291" fmla="*/ 1087438 h 1087438"/>
              <a:gd name="connsiteX292" fmla="*/ 469900 w 1506538"/>
              <a:gd name="connsiteY292" fmla="*/ 1087438 h 1087438"/>
              <a:gd name="connsiteX293" fmla="*/ 465138 w 1506538"/>
              <a:gd name="connsiteY293" fmla="*/ 1087438 h 1087438"/>
              <a:gd name="connsiteX294" fmla="*/ 461963 w 1506538"/>
              <a:gd name="connsiteY294" fmla="*/ 1085851 h 1087438"/>
              <a:gd name="connsiteX295" fmla="*/ 458788 w 1506538"/>
              <a:gd name="connsiteY295" fmla="*/ 1082676 h 1087438"/>
              <a:gd name="connsiteX296" fmla="*/ 457200 w 1506538"/>
              <a:gd name="connsiteY296" fmla="*/ 1081088 h 1087438"/>
              <a:gd name="connsiteX297" fmla="*/ 455613 w 1506538"/>
              <a:gd name="connsiteY297" fmla="*/ 1077913 h 1087438"/>
              <a:gd name="connsiteX298" fmla="*/ 455613 w 1506538"/>
              <a:gd name="connsiteY298" fmla="*/ 1074738 h 1087438"/>
              <a:gd name="connsiteX299" fmla="*/ 454025 w 1506538"/>
              <a:gd name="connsiteY299" fmla="*/ 1071563 h 1087438"/>
              <a:gd name="connsiteX300" fmla="*/ 454025 w 1506538"/>
              <a:gd name="connsiteY300" fmla="*/ 884238 h 1087438"/>
              <a:gd name="connsiteX301" fmla="*/ 296863 w 1506538"/>
              <a:gd name="connsiteY301" fmla="*/ 792163 h 1087438"/>
              <a:gd name="connsiteX302" fmla="*/ 185738 w 1506538"/>
              <a:gd name="connsiteY302" fmla="*/ 728663 h 1087438"/>
              <a:gd name="connsiteX303" fmla="*/ 23813 w 1506538"/>
              <a:gd name="connsiteY303" fmla="*/ 822326 h 1087438"/>
              <a:gd name="connsiteX304" fmla="*/ 20638 w 1506538"/>
              <a:gd name="connsiteY304" fmla="*/ 823913 h 1087438"/>
              <a:gd name="connsiteX305" fmla="*/ 15875 w 1506538"/>
              <a:gd name="connsiteY305" fmla="*/ 823913 h 1087438"/>
              <a:gd name="connsiteX306" fmla="*/ 11113 w 1506538"/>
              <a:gd name="connsiteY306" fmla="*/ 823913 h 1087438"/>
              <a:gd name="connsiteX307" fmla="*/ 7938 w 1506538"/>
              <a:gd name="connsiteY307" fmla="*/ 822326 h 1087438"/>
              <a:gd name="connsiteX308" fmla="*/ 4763 w 1506538"/>
              <a:gd name="connsiteY308" fmla="*/ 819151 h 1087438"/>
              <a:gd name="connsiteX309" fmla="*/ 1588 w 1506538"/>
              <a:gd name="connsiteY309" fmla="*/ 815976 h 1087438"/>
              <a:gd name="connsiteX310" fmla="*/ 0 w 1506538"/>
              <a:gd name="connsiteY310" fmla="*/ 812801 h 1087438"/>
              <a:gd name="connsiteX311" fmla="*/ 0 w 1506538"/>
              <a:gd name="connsiteY311" fmla="*/ 809626 h 1087438"/>
              <a:gd name="connsiteX312" fmla="*/ 0 w 1506538"/>
              <a:gd name="connsiteY312" fmla="*/ 806451 h 1087438"/>
              <a:gd name="connsiteX313" fmla="*/ 0 w 1506538"/>
              <a:gd name="connsiteY313" fmla="*/ 803276 h 1087438"/>
              <a:gd name="connsiteX314" fmla="*/ 1588 w 1506538"/>
              <a:gd name="connsiteY314" fmla="*/ 801688 h 1087438"/>
              <a:gd name="connsiteX315" fmla="*/ 1588 w 1506538"/>
              <a:gd name="connsiteY315" fmla="*/ 798513 h 1087438"/>
              <a:gd name="connsiteX316" fmla="*/ 4763 w 1506538"/>
              <a:gd name="connsiteY316" fmla="*/ 795338 h 1087438"/>
              <a:gd name="connsiteX317" fmla="*/ 7938 w 1506538"/>
              <a:gd name="connsiteY317" fmla="*/ 793751 h 1087438"/>
              <a:gd name="connsiteX318" fmla="*/ 168275 w 1506538"/>
              <a:gd name="connsiteY318" fmla="*/ 700088 h 1087438"/>
              <a:gd name="connsiteX319" fmla="*/ 168275 w 1506538"/>
              <a:gd name="connsiteY319" fmla="*/ 615950 h 1087438"/>
              <a:gd name="connsiteX320" fmla="*/ 168275 w 1506538"/>
              <a:gd name="connsiteY320" fmla="*/ 471488 h 1087438"/>
              <a:gd name="connsiteX321" fmla="*/ 168275 w 1506538"/>
              <a:gd name="connsiteY321" fmla="*/ 387350 h 1087438"/>
              <a:gd name="connsiteX322" fmla="*/ 7938 w 1506538"/>
              <a:gd name="connsiteY322" fmla="*/ 293688 h 1087438"/>
              <a:gd name="connsiteX323" fmla="*/ 4763 w 1506538"/>
              <a:gd name="connsiteY323" fmla="*/ 292100 h 1087438"/>
              <a:gd name="connsiteX324" fmla="*/ 1588 w 1506538"/>
              <a:gd name="connsiteY324" fmla="*/ 288925 h 1087438"/>
              <a:gd name="connsiteX325" fmla="*/ 1588 w 1506538"/>
              <a:gd name="connsiteY325" fmla="*/ 285750 h 1087438"/>
              <a:gd name="connsiteX326" fmla="*/ 0 w 1506538"/>
              <a:gd name="connsiteY326" fmla="*/ 284163 h 1087438"/>
              <a:gd name="connsiteX327" fmla="*/ 0 w 1506538"/>
              <a:gd name="connsiteY327" fmla="*/ 280988 h 1087438"/>
              <a:gd name="connsiteX328" fmla="*/ 0 w 1506538"/>
              <a:gd name="connsiteY328" fmla="*/ 277813 h 1087438"/>
              <a:gd name="connsiteX329" fmla="*/ 0 w 1506538"/>
              <a:gd name="connsiteY329" fmla="*/ 274638 h 1087438"/>
              <a:gd name="connsiteX330" fmla="*/ 1588 w 1506538"/>
              <a:gd name="connsiteY330" fmla="*/ 271463 h 1087438"/>
              <a:gd name="connsiteX331" fmla="*/ 4763 w 1506538"/>
              <a:gd name="connsiteY331" fmla="*/ 266700 h 1087438"/>
              <a:gd name="connsiteX332" fmla="*/ 7938 w 1506538"/>
              <a:gd name="connsiteY332" fmla="*/ 265113 h 1087438"/>
              <a:gd name="connsiteX333" fmla="*/ 11113 w 1506538"/>
              <a:gd name="connsiteY333" fmla="*/ 263525 h 1087438"/>
              <a:gd name="connsiteX334" fmla="*/ 15875 w 1506538"/>
              <a:gd name="connsiteY334" fmla="*/ 263525 h 1087438"/>
              <a:gd name="connsiteX335" fmla="*/ 20638 w 1506538"/>
              <a:gd name="connsiteY335" fmla="*/ 263525 h 1087438"/>
              <a:gd name="connsiteX336" fmla="*/ 23813 w 1506538"/>
              <a:gd name="connsiteY336" fmla="*/ 265113 h 1087438"/>
              <a:gd name="connsiteX337" fmla="*/ 185738 w 1506538"/>
              <a:gd name="connsiteY337" fmla="*/ 358775 h 1087438"/>
              <a:gd name="connsiteX338" fmla="*/ 296863 w 1506538"/>
              <a:gd name="connsiteY338" fmla="*/ 295275 h 1087438"/>
              <a:gd name="connsiteX339" fmla="*/ 454025 w 1506538"/>
              <a:gd name="connsiteY339" fmla="*/ 203200 h 1087438"/>
              <a:gd name="connsiteX340" fmla="*/ 454025 w 1506538"/>
              <a:gd name="connsiteY340" fmla="*/ 15875 h 1087438"/>
              <a:gd name="connsiteX341" fmla="*/ 455613 w 1506538"/>
              <a:gd name="connsiteY341" fmla="*/ 12700 h 1087438"/>
              <a:gd name="connsiteX342" fmla="*/ 455613 w 1506538"/>
              <a:gd name="connsiteY342" fmla="*/ 9525 h 1087438"/>
              <a:gd name="connsiteX343" fmla="*/ 457200 w 1506538"/>
              <a:gd name="connsiteY343" fmla="*/ 6350 h 1087438"/>
              <a:gd name="connsiteX344" fmla="*/ 458788 w 1506538"/>
              <a:gd name="connsiteY344" fmla="*/ 4763 h 1087438"/>
              <a:gd name="connsiteX345" fmla="*/ 461963 w 1506538"/>
              <a:gd name="connsiteY345" fmla="*/ 1588 h 1087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</a:cxnLst>
            <a:rect l="l" t="t" r="r" b="b"/>
            <a:pathLst>
              <a:path w="1506538" h="1087438">
                <a:moveTo>
                  <a:pt x="1209676" y="627063"/>
                </a:moveTo>
                <a:lnTo>
                  <a:pt x="1212851" y="628651"/>
                </a:lnTo>
                <a:lnTo>
                  <a:pt x="1217614" y="628651"/>
                </a:lnTo>
                <a:lnTo>
                  <a:pt x="1220789" y="631826"/>
                </a:lnTo>
                <a:lnTo>
                  <a:pt x="1222376" y="635001"/>
                </a:lnTo>
                <a:lnTo>
                  <a:pt x="1225551" y="638176"/>
                </a:lnTo>
                <a:lnTo>
                  <a:pt x="1225551" y="641351"/>
                </a:lnTo>
                <a:lnTo>
                  <a:pt x="1225551" y="644526"/>
                </a:lnTo>
                <a:lnTo>
                  <a:pt x="1225551" y="647701"/>
                </a:lnTo>
                <a:lnTo>
                  <a:pt x="1223964" y="650876"/>
                </a:lnTo>
                <a:lnTo>
                  <a:pt x="1222376" y="654051"/>
                </a:lnTo>
                <a:lnTo>
                  <a:pt x="1220789" y="655638"/>
                </a:lnTo>
                <a:lnTo>
                  <a:pt x="1217614" y="657226"/>
                </a:lnTo>
                <a:lnTo>
                  <a:pt x="1038226" y="760413"/>
                </a:lnTo>
                <a:lnTo>
                  <a:pt x="1035051" y="762001"/>
                </a:lnTo>
                <a:lnTo>
                  <a:pt x="1033463" y="763588"/>
                </a:lnTo>
                <a:lnTo>
                  <a:pt x="1028701" y="763588"/>
                </a:lnTo>
                <a:lnTo>
                  <a:pt x="1027113" y="762001"/>
                </a:lnTo>
                <a:lnTo>
                  <a:pt x="1022351" y="762001"/>
                </a:lnTo>
                <a:lnTo>
                  <a:pt x="1020763" y="758826"/>
                </a:lnTo>
                <a:lnTo>
                  <a:pt x="1019176" y="757238"/>
                </a:lnTo>
                <a:lnTo>
                  <a:pt x="1016001" y="754063"/>
                </a:lnTo>
                <a:lnTo>
                  <a:pt x="1014413" y="750888"/>
                </a:lnTo>
                <a:lnTo>
                  <a:pt x="1014413" y="749301"/>
                </a:lnTo>
                <a:lnTo>
                  <a:pt x="1014413" y="746126"/>
                </a:lnTo>
                <a:lnTo>
                  <a:pt x="1014413" y="741363"/>
                </a:lnTo>
                <a:lnTo>
                  <a:pt x="1014413" y="739776"/>
                </a:lnTo>
                <a:lnTo>
                  <a:pt x="1017588" y="736601"/>
                </a:lnTo>
                <a:lnTo>
                  <a:pt x="1019176" y="735013"/>
                </a:lnTo>
                <a:lnTo>
                  <a:pt x="1022351" y="731838"/>
                </a:lnTo>
                <a:lnTo>
                  <a:pt x="1200151" y="628651"/>
                </a:lnTo>
                <a:lnTo>
                  <a:pt x="1204914" y="628651"/>
                </a:lnTo>
                <a:close/>
                <a:moveTo>
                  <a:pt x="650876" y="627063"/>
                </a:moveTo>
                <a:lnTo>
                  <a:pt x="654051" y="628651"/>
                </a:lnTo>
                <a:lnTo>
                  <a:pt x="658814" y="628651"/>
                </a:lnTo>
                <a:lnTo>
                  <a:pt x="661989" y="631826"/>
                </a:lnTo>
                <a:lnTo>
                  <a:pt x="665164" y="635001"/>
                </a:lnTo>
                <a:lnTo>
                  <a:pt x="665164" y="638176"/>
                </a:lnTo>
                <a:lnTo>
                  <a:pt x="666751" y="641351"/>
                </a:lnTo>
                <a:lnTo>
                  <a:pt x="666751" y="644526"/>
                </a:lnTo>
                <a:lnTo>
                  <a:pt x="665164" y="647701"/>
                </a:lnTo>
                <a:lnTo>
                  <a:pt x="665164" y="650876"/>
                </a:lnTo>
                <a:lnTo>
                  <a:pt x="663576" y="654051"/>
                </a:lnTo>
                <a:lnTo>
                  <a:pt x="660401" y="655638"/>
                </a:lnTo>
                <a:lnTo>
                  <a:pt x="658814" y="657226"/>
                </a:lnTo>
                <a:lnTo>
                  <a:pt x="479426" y="760413"/>
                </a:lnTo>
                <a:lnTo>
                  <a:pt x="477838" y="762001"/>
                </a:lnTo>
                <a:lnTo>
                  <a:pt x="474663" y="763588"/>
                </a:lnTo>
                <a:lnTo>
                  <a:pt x="471488" y="763588"/>
                </a:lnTo>
                <a:lnTo>
                  <a:pt x="468313" y="762001"/>
                </a:lnTo>
                <a:lnTo>
                  <a:pt x="465138" y="762001"/>
                </a:lnTo>
                <a:lnTo>
                  <a:pt x="461963" y="758826"/>
                </a:lnTo>
                <a:lnTo>
                  <a:pt x="460376" y="757238"/>
                </a:lnTo>
                <a:lnTo>
                  <a:pt x="457201" y="754063"/>
                </a:lnTo>
                <a:lnTo>
                  <a:pt x="457201" y="750888"/>
                </a:lnTo>
                <a:lnTo>
                  <a:pt x="455613" y="749301"/>
                </a:lnTo>
                <a:lnTo>
                  <a:pt x="455613" y="746126"/>
                </a:lnTo>
                <a:lnTo>
                  <a:pt x="455613" y="741363"/>
                </a:lnTo>
                <a:lnTo>
                  <a:pt x="457201" y="739776"/>
                </a:lnTo>
                <a:lnTo>
                  <a:pt x="458788" y="736601"/>
                </a:lnTo>
                <a:lnTo>
                  <a:pt x="461963" y="735013"/>
                </a:lnTo>
                <a:lnTo>
                  <a:pt x="463551" y="731838"/>
                </a:lnTo>
                <a:lnTo>
                  <a:pt x="642939" y="628651"/>
                </a:lnTo>
                <a:lnTo>
                  <a:pt x="646114" y="628651"/>
                </a:lnTo>
                <a:close/>
                <a:moveTo>
                  <a:pt x="254000" y="423863"/>
                </a:moveTo>
                <a:lnTo>
                  <a:pt x="257176" y="423863"/>
                </a:lnTo>
                <a:lnTo>
                  <a:pt x="260351" y="423863"/>
                </a:lnTo>
                <a:lnTo>
                  <a:pt x="263526" y="425451"/>
                </a:lnTo>
                <a:lnTo>
                  <a:pt x="266701" y="427038"/>
                </a:lnTo>
                <a:lnTo>
                  <a:pt x="268288" y="428626"/>
                </a:lnTo>
                <a:lnTo>
                  <a:pt x="271463" y="431801"/>
                </a:lnTo>
                <a:lnTo>
                  <a:pt x="271463" y="434976"/>
                </a:lnTo>
                <a:lnTo>
                  <a:pt x="273051" y="436563"/>
                </a:lnTo>
                <a:lnTo>
                  <a:pt x="273051" y="441326"/>
                </a:lnTo>
                <a:lnTo>
                  <a:pt x="273051" y="646114"/>
                </a:lnTo>
                <a:lnTo>
                  <a:pt x="273051" y="650876"/>
                </a:lnTo>
                <a:lnTo>
                  <a:pt x="271463" y="652464"/>
                </a:lnTo>
                <a:lnTo>
                  <a:pt x="269876" y="655639"/>
                </a:lnTo>
                <a:lnTo>
                  <a:pt x="268288" y="658814"/>
                </a:lnTo>
                <a:lnTo>
                  <a:pt x="265113" y="660401"/>
                </a:lnTo>
                <a:lnTo>
                  <a:pt x="263526" y="661989"/>
                </a:lnTo>
                <a:lnTo>
                  <a:pt x="260351" y="663576"/>
                </a:lnTo>
                <a:lnTo>
                  <a:pt x="257176" y="663576"/>
                </a:lnTo>
                <a:lnTo>
                  <a:pt x="252413" y="663576"/>
                </a:lnTo>
                <a:lnTo>
                  <a:pt x="249238" y="661989"/>
                </a:lnTo>
                <a:lnTo>
                  <a:pt x="244475" y="658814"/>
                </a:lnTo>
                <a:lnTo>
                  <a:pt x="242888" y="655639"/>
                </a:lnTo>
                <a:lnTo>
                  <a:pt x="241300" y="650876"/>
                </a:lnTo>
                <a:lnTo>
                  <a:pt x="239713" y="646114"/>
                </a:lnTo>
                <a:lnTo>
                  <a:pt x="241300" y="441326"/>
                </a:lnTo>
                <a:lnTo>
                  <a:pt x="241300" y="436563"/>
                </a:lnTo>
                <a:lnTo>
                  <a:pt x="242888" y="434976"/>
                </a:lnTo>
                <a:lnTo>
                  <a:pt x="242888" y="431801"/>
                </a:lnTo>
                <a:lnTo>
                  <a:pt x="246063" y="428626"/>
                </a:lnTo>
                <a:lnTo>
                  <a:pt x="247650" y="427038"/>
                </a:lnTo>
                <a:lnTo>
                  <a:pt x="250825" y="425451"/>
                </a:lnTo>
                <a:close/>
                <a:moveTo>
                  <a:pt x="1027113" y="323850"/>
                </a:moveTo>
                <a:lnTo>
                  <a:pt x="1028701" y="323850"/>
                </a:lnTo>
                <a:lnTo>
                  <a:pt x="1033463" y="323850"/>
                </a:lnTo>
                <a:lnTo>
                  <a:pt x="1035051" y="323850"/>
                </a:lnTo>
                <a:lnTo>
                  <a:pt x="1038226" y="325438"/>
                </a:lnTo>
                <a:lnTo>
                  <a:pt x="1217614" y="427038"/>
                </a:lnTo>
                <a:lnTo>
                  <a:pt x="1220789" y="428625"/>
                </a:lnTo>
                <a:lnTo>
                  <a:pt x="1222376" y="431800"/>
                </a:lnTo>
                <a:lnTo>
                  <a:pt x="1223964" y="434975"/>
                </a:lnTo>
                <a:lnTo>
                  <a:pt x="1225551" y="436563"/>
                </a:lnTo>
                <a:lnTo>
                  <a:pt x="1225551" y="441325"/>
                </a:lnTo>
                <a:lnTo>
                  <a:pt x="1225551" y="442913"/>
                </a:lnTo>
                <a:lnTo>
                  <a:pt x="1225551" y="446088"/>
                </a:lnTo>
                <a:lnTo>
                  <a:pt x="1222376" y="450850"/>
                </a:lnTo>
                <a:lnTo>
                  <a:pt x="1220789" y="452438"/>
                </a:lnTo>
                <a:lnTo>
                  <a:pt x="1217614" y="455613"/>
                </a:lnTo>
                <a:lnTo>
                  <a:pt x="1212851" y="457200"/>
                </a:lnTo>
                <a:lnTo>
                  <a:pt x="1209676" y="457200"/>
                </a:lnTo>
                <a:lnTo>
                  <a:pt x="1204914" y="457200"/>
                </a:lnTo>
                <a:lnTo>
                  <a:pt x="1200151" y="455613"/>
                </a:lnTo>
                <a:lnTo>
                  <a:pt x="1022351" y="352425"/>
                </a:lnTo>
                <a:lnTo>
                  <a:pt x="1019176" y="350838"/>
                </a:lnTo>
                <a:lnTo>
                  <a:pt x="1017588" y="349250"/>
                </a:lnTo>
                <a:lnTo>
                  <a:pt x="1014413" y="346075"/>
                </a:lnTo>
                <a:lnTo>
                  <a:pt x="1014413" y="342900"/>
                </a:lnTo>
                <a:lnTo>
                  <a:pt x="1014413" y="341313"/>
                </a:lnTo>
                <a:lnTo>
                  <a:pt x="1014413" y="338138"/>
                </a:lnTo>
                <a:lnTo>
                  <a:pt x="1014413" y="334963"/>
                </a:lnTo>
                <a:lnTo>
                  <a:pt x="1016001" y="330200"/>
                </a:lnTo>
                <a:lnTo>
                  <a:pt x="1019176" y="328613"/>
                </a:lnTo>
                <a:lnTo>
                  <a:pt x="1020763" y="327025"/>
                </a:lnTo>
                <a:lnTo>
                  <a:pt x="1022351" y="325438"/>
                </a:lnTo>
                <a:close/>
                <a:moveTo>
                  <a:pt x="468313" y="323850"/>
                </a:moveTo>
                <a:lnTo>
                  <a:pt x="471488" y="323850"/>
                </a:lnTo>
                <a:lnTo>
                  <a:pt x="474663" y="323850"/>
                </a:lnTo>
                <a:lnTo>
                  <a:pt x="477838" y="323850"/>
                </a:lnTo>
                <a:lnTo>
                  <a:pt x="479426" y="325438"/>
                </a:lnTo>
                <a:lnTo>
                  <a:pt x="658814" y="427038"/>
                </a:lnTo>
                <a:lnTo>
                  <a:pt x="660401" y="428625"/>
                </a:lnTo>
                <a:lnTo>
                  <a:pt x="663576" y="431800"/>
                </a:lnTo>
                <a:lnTo>
                  <a:pt x="665164" y="434975"/>
                </a:lnTo>
                <a:lnTo>
                  <a:pt x="665164" y="436563"/>
                </a:lnTo>
                <a:lnTo>
                  <a:pt x="666751" y="441325"/>
                </a:lnTo>
                <a:lnTo>
                  <a:pt x="666751" y="442913"/>
                </a:lnTo>
                <a:lnTo>
                  <a:pt x="665164" y="446088"/>
                </a:lnTo>
                <a:lnTo>
                  <a:pt x="665164" y="450850"/>
                </a:lnTo>
                <a:lnTo>
                  <a:pt x="661989" y="452438"/>
                </a:lnTo>
                <a:lnTo>
                  <a:pt x="658814" y="455613"/>
                </a:lnTo>
                <a:lnTo>
                  <a:pt x="654051" y="457200"/>
                </a:lnTo>
                <a:lnTo>
                  <a:pt x="650876" y="457200"/>
                </a:lnTo>
                <a:lnTo>
                  <a:pt x="646114" y="457200"/>
                </a:lnTo>
                <a:lnTo>
                  <a:pt x="642939" y="455613"/>
                </a:lnTo>
                <a:lnTo>
                  <a:pt x="463551" y="352425"/>
                </a:lnTo>
                <a:lnTo>
                  <a:pt x="461963" y="350838"/>
                </a:lnTo>
                <a:lnTo>
                  <a:pt x="458788" y="349250"/>
                </a:lnTo>
                <a:lnTo>
                  <a:pt x="457201" y="346075"/>
                </a:lnTo>
                <a:lnTo>
                  <a:pt x="455613" y="342900"/>
                </a:lnTo>
                <a:lnTo>
                  <a:pt x="455613" y="341313"/>
                </a:lnTo>
                <a:lnTo>
                  <a:pt x="455613" y="338138"/>
                </a:lnTo>
                <a:lnTo>
                  <a:pt x="457201" y="334963"/>
                </a:lnTo>
                <a:lnTo>
                  <a:pt x="457201" y="330200"/>
                </a:lnTo>
                <a:lnTo>
                  <a:pt x="460376" y="328613"/>
                </a:lnTo>
                <a:lnTo>
                  <a:pt x="461963" y="327025"/>
                </a:lnTo>
                <a:lnTo>
                  <a:pt x="465138" y="325438"/>
                </a:lnTo>
                <a:close/>
                <a:moveTo>
                  <a:pt x="1036638" y="231775"/>
                </a:moveTo>
                <a:lnTo>
                  <a:pt x="904876" y="307975"/>
                </a:lnTo>
                <a:lnTo>
                  <a:pt x="850901" y="341313"/>
                </a:lnTo>
                <a:lnTo>
                  <a:pt x="769938" y="387350"/>
                </a:lnTo>
                <a:lnTo>
                  <a:pt x="769938" y="473075"/>
                </a:lnTo>
                <a:lnTo>
                  <a:pt x="769938" y="614363"/>
                </a:lnTo>
                <a:lnTo>
                  <a:pt x="769938" y="700088"/>
                </a:lnTo>
                <a:lnTo>
                  <a:pt x="814388" y="725488"/>
                </a:lnTo>
                <a:lnTo>
                  <a:pt x="850901" y="747713"/>
                </a:lnTo>
                <a:lnTo>
                  <a:pt x="1036638" y="855663"/>
                </a:lnTo>
                <a:lnTo>
                  <a:pt x="1109663" y="812801"/>
                </a:lnTo>
                <a:lnTo>
                  <a:pt x="1303338" y="700088"/>
                </a:lnTo>
                <a:lnTo>
                  <a:pt x="1303338" y="614363"/>
                </a:lnTo>
                <a:lnTo>
                  <a:pt x="1303338" y="473075"/>
                </a:lnTo>
                <a:lnTo>
                  <a:pt x="1303338" y="387350"/>
                </a:lnTo>
                <a:lnTo>
                  <a:pt x="1109663" y="274638"/>
                </a:lnTo>
                <a:close/>
                <a:moveTo>
                  <a:pt x="469900" y="231775"/>
                </a:moveTo>
                <a:lnTo>
                  <a:pt x="396875" y="274638"/>
                </a:lnTo>
                <a:lnTo>
                  <a:pt x="203200" y="387350"/>
                </a:lnTo>
                <a:lnTo>
                  <a:pt x="203200" y="473075"/>
                </a:lnTo>
                <a:lnTo>
                  <a:pt x="203200" y="614363"/>
                </a:lnTo>
                <a:lnTo>
                  <a:pt x="203200" y="700088"/>
                </a:lnTo>
                <a:lnTo>
                  <a:pt x="396875" y="812801"/>
                </a:lnTo>
                <a:lnTo>
                  <a:pt x="469900" y="855663"/>
                </a:lnTo>
                <a:lnTo>
                  <a:pt x="601663" y="779463"/>
                </a:lnTo>
                <a:lnTo>
                  <a:pt x="655638" y="746126"/>
                </a:lnTo>
                <a:lnTo>
                  <a:pt x="736600" y="700088"/>
                </a:lnTo>
                <a:lnTo>
                  <a:pt x="736600" y="614363"/>
                </a:lnTo>
                <a:lnTo>
                  <a:pt x="736600" y="473075"/>
                </a:lnTo>
                <a:lnTo>
                  <a:pt x="736600" y="387350"/>
                </a:lnTo>
                <a:lnTo>
                  <a:pt x="655638" y="341313"/>
                </a:lnTo>
                <a:lnTo>
                  <a:pt x="601663" y="307975"/>
                </a:lnTo>
                <a:close/>
                <a:moveTo>
                  <a:pt x="465138" y="0"/>
                </a:moveTo>
                <a:lnTo>
                  <a:pt x="469900" y="0"/>
                </a:lnTo>
                <a:lnTo>
                  <a:pt x="473075" y="0"/>
                </a:lnTo>
                <a:lnTo>
                  <a:pt x="476250" y="0"/>
                </a:lnTo>
                <a:lnTo>
                  <a:pt x="477838" y="1588"/>
                </a:lnTo>
                <a:lnTo>
                  <a:pt x="479425" y="4763"/>
                </a:lnTo>
                <a:lnTo>
                  <a:pt x="481013" y="6350"/>
                </a:lnTo>
                <a:lnTo>
                  <a:pt x="484188" y="7938"/>
                </a:lnTo>
                <a:lnTo>
                  <a:pt x="484188" y="9525"/>
                </a:lnTo>
                <a:lnTo>
                  <a:pt x="485775" y="12700"/>
                </a:lnTo>
                <a:lnTo>
                  <a:pt x="485775" y="15875"/>
                </a:lnTo>
                <a:lnTo>
                  <a:pt x="485775" y="203200"/>
                </a:lnTo>
                <a:lnTo>
                  <a:pt x="752475" y="358775"/>
                </a:lnTo>
                <a:lnTo>
                  <a:pt x="1020763" y="203200"/>
                </a:lnTo>
                <a:lnTo>
                  <a:pt x="1020763" y="15875"/>
                </a:lnTo>
                <a:lnTo>
                  <a:pt x="1020763" y="12700"/>
                </a:lnTo>
                <a:lnTo>
                  <a:pt x="1022351" y="9525"/>
                </a:lnTo>
                <a:lnTo>
                  <a:pt x="1022351" y="7938"/>
                </a:lnTo>
                <a:lnTo>
                  <a:pt x="1025526" y="6350"/>
                </a:lnTo>
                <a:lnTo>
                  <a:pt x="1027113" y="4763"/>
                </a:lnTo>
                <a:lnTo>
                  <a:pt x="1028701" y="1588"/>
                </a:lnTo>
                <a:lnTo>
                  <a:pt x="1030288" y="0"/>
                </a:lnTo>
                <a:lnTo>
                  <a:pt x="1033463" y="0"/>
                </a:lnTo>
                <a:lnTo>
                  <a:pt x="1036638" y="0"/>
                </a:lnTo>
                <a:lnTo>
                  <a:pt x="1041401" y="0"/>
                </a:lnTo>
                <a:lnTo>
                  <a:pt x="1042988" y="1588"/>
                </a:lnTo>
                <a:lnTo>
                  <a:pt x="1047751" y="4763"/>
                </a:lnTo>
                <a:lnTo>
                  <a:pt x="1049338" y="6350"/>
                </a:lnTo>
                <a:lnTo>
                  <a:pt x="1050926" y="9525"/>
                </a:lnTo>
                <a:lnTo>
                  <a:pt x="1050926" y="12700"/>
                </a:lnTo>
                <a:lnTo>
                  <a:pt x="1052513" y="15875"/>
                </a:lnTo>
                <a:lnTo>
                  <a:pt x="1052513" y="203200"/>
                </a:lnTo>
                <a:lnTo>
                  <a:pt x="1209676" y="295275"/>
                </a:lnTo>
                <a:lnTo>
                  <a:pt x="1320801" y="358775"/>
                </a:lnTo>
                <a:lnTo>
                  <a:pt x="1482726" y="265113"/>
                </a:lnTo>
                <a:lnTo>
                  <a:pt x="1485901" y="263525"/>
                </a:lnTo>
                <a:lnTo>
                  <a:pt x="1490663" y="263525"/>
                </a:lnTo>
                <a:lnTo>
                  <a:pt x="1495426" y="263525"/>
                </a:lnTo>
                <a:lnTo>
                  <a:pt x="1498601" y="265113"/>
                </a:lnTo>
                <a:lnTo>
                  <a:pt x="1501776" y="266700"/>
                </a:lnTo>
                <a:lnTo>
                  <a:pt x="1504951" y="271463"/>
                </a:lnTo>
                <a:lnTo>
                  <a:pt x="1506538" y="274638"/>
                </a:lnTo>
                <a:lnTo>
                  <a:pt x="1506538" y="277813"/>
                </a:lnTo>
                <a:lnTo>
                  <a:pt x="1506538" y="280988"/>
                </a:lnTo>
                <a:lnTo>
                  <a:pt x="1506538" y="284163"/>
                </a:lnTo>
                <a:lnTo>
                  <a:pt x="1504951" y="285750"/>
                </a:lnTo>
                <a:lnTo>
                  <a:pt x="1504951" y="288925"/>
                </a:lnTo>
                <a:lnTo>
                  <a:pt x="1501776" y="292100"/>
                </a:lnTo>
                <a:lnTo>
                  <a:pt x="1498601" y="293688"/>
                </a:lnTo>
                <a:lnTo>
                  <a:pt x="1338263" y="387350"/>
                </a:lnTo>
                <a:lnTo>
                  <a:pt x="1338263" y="471488"/>
                </a:lnTo>
                <a:lnTo>
                  <a:pt x="1338263" y="615950"/>
                </a:lnTo>
                <a:lnTo>
                  <a:pt x="1338263" y="700088"/>
                </a:lnTo>
                <a:lnTo>
                  <a:pt x="1498601" y="793751"/>
                </a:lnTo>
                <a:lnTo>
                  <a:pt x="1501776" y="795338"/>
                </a:lnTo>
                <a:lnTo>
                  <a:pt x="1504951" y="798513"/>
                </a:lnTo>
                <a:lnTo>
                  <a:pt x="1504951" y="801688"/>
                </a:lnTo>
                <a:lnTo>
                  <a:pt x="1506538" y="803276"/>
                </a:lnTo>
                <a:lnTo>
                  <a:pt x="1506538" y="806451"/>
                </a:lnTo>
                <a:lnTo>
                  <a:pt x="1506538" y="809626"/>
                </a:lnTo>
                <a:lnTo>
                  <a:pt x="1506538" y="812801"/>
                </a:lnTo>
                <a:lnTo>
                  <a:pt x="1504951" y="815976"/>
                </a:lnTo>
                <a:lnTo>
                  <a:pt x="1501776" y="819151"/>
                </a:lnTo>
                <a:lnTo>
                  <a:pt x="1498601" y="822326"/>
                </a:lnTo>
                <a:lnTo>
                  <a:pt x="1495426" y="823913"/>
                </a:lnTo>
                <a:lnTo>
                  <a:pt x="1490663" y="823913"/>
                </a:lnTo>
                <a:lnTo>
                  <a:pt x="1485901" y="823913"/>
                </a:lnTo>
                <a:lnTo>
                  <a:pt x="1482726" y="822326"/>
                </a:lnTo>
                <a:lnTo>
                  <a:pt x="1320801" y="728663"/>
                </a:lnTo>
                <a:lnTo>
                  <a:pt x="1209676" y="792163"/>
                </a:lnTo>
                <a:lnTo>
                  <a:pt x="1052513" y="884238"/>
                </a:lnTo>
                <a:lnTo>
                  <a:pt x="1052513" y="1071563"/>
                </a:lnTo>
                <a:lnTo>
                  <a:pt x="1050926" y="1074738"/>
                </a:lnTo>
                <a:lnTo>
                  <a:pt x="1050926" y="1077913"/>
                </a:lnTo>
                <a:lnTo>
                  <a:pt x="1049338" y="1081088"/>
                </a:lnTo>
                <a:lnTo>
                  <a:pt x="1047751" y="1082676"/>
                </a:lnTo>
                <a:lnTo>
                  <a:pt x="1042988" y="1085851"/>
                </a:lnTo>
                <a:lnTo>
                  <a:pt x="1041401" y="1087438"/>
                </a:lnTo>
                <a:lnTo>
                  <a:pt x="1036638" y="1087438"/>
                </a:lnTo>
                <a:lnTo>
                  <a:pt x="1033463" y="1087438"/>
                </a:lnTo>
                <a:lnTo>
                  <a:pt x="1030288" y="1087438"/>
                </a:lnTo>
                <a:lnTo>
                  <a:pt x="1028701" y="1085851"/>
                </a:lnTo>
                <a:lnTo>
                  <a:pt x="1027113" y="1082676"/>
                </a:lnTo>
                <a:lnTo>
                  <a:pt x="1025526" y="1081088"/>
                </a:lnTo>
                <a:lnTo>
                  <a:pt x="1022351" y="1079501"/>
                </a:lnTo>
                <a:lnTo>
                  <a:pt x="1022351" y="1077913"/>
                </a:lnTo>
                <a:lnTo>
                  <a:pt x="1020763" y="1074738"/>
                </a:lnTo>
                <a:lnTo>
                  <a:pt x="1020763" y="1071563"/>
                </a:lnTo>
                <a:lnTo>
                  <a:pt x="1020763" y="884238"/>
                </a:lnTo>
                <a:lnTo>
                  <a:pt x="752475" y="727075"/>
                </a:lnTo>
                <a:lnTo>
                  <a:pt x="485775" y="884238"/>
                </a:lnTo>
                <a:lnTo>
                  <a:pt x="485775" y="1071563"/>
                </a:lnTo>
                <a:lnTo>
                  <a:pt x="485775" y="1074738"/>
                </a:lnTo>
                <a:lnTo>
                  <a:pt x="484188" y="1077913"/>
                </a:lnTo>
                <a:lnTo>
                  <a:pt x="484188" y="1079501"/>
                </a:lnTo>
                <a:lnTo>
                  <a:pt x="481013" y="1081088"/>
                </a:lnTo>
                <a:lnTo>
                  <a:pt x="479425" y="1082676"/>
                </a:lnTo>
                <a:lnTo>
                  <a:pt x="477838" y="1085851"/>
                </a:lnTo>
                <a:lnTo>
                  <a:pt x="476250" y="1087438"/>
                </a:lnTo>
                <a:lnTo>
                  <a:pt x="473075" y="1087438"/>
                </a:lnTo>
                <a:lnTo>
                  <a:pt x="469900" y="1087438"/>
                </a:lnTo>
                <a:lnTo>
                  <a:pt x="465138" y="1087438"/>
                </a:lnTo>
                <a:lnTo>
                  <a:pt x="461963" y="1085851"/>
                </a:lnTo>
                <a:lnTo>
                  <a:pt x="458788" y="1082676"/>
                </a:lnTo>
                <a:lnTo>
                  <a:pt x="457200" y="1081088"/>
                </a:lnTo>
                <a:lnTo>
                  <a:pt x="455613" y="1077913"/>
                </a:lnTo>
                <a:lnTo>
                  <a:pt x="455613" y="1074738"/>
                </a:lnTo>
                <a:lnTo>
                  <a:pt x="454025" y="1071563"/>
                </a:lnTo>
                <a:lnTo>
                  <a:pt x="454025" y="884238"/>
                </a:lnTo>
                <a:lnTo>
                  <a:pt x="296863" y="792163"/>
                </a:lnTo>
                <a:lnTo>
                  <a:pt x="185738" y="728663"/>
                </a:lnTo>
                <a:lnTo>
                  <a:pt x="23813" y="822326"/>
                </a:lnTo>
                <a:lnTo>
                  <a:pt x="20638" y="823913"/>
                </a:lnTo>
                <a:lnTo>
                  <a:pt x="15875" y="823913"/>
                </a:lnTo>
                <a:lnTo>
                  <a:pt x="11113" y="823913"/>
                </a:lnTo>
                <a:lnTo>
                  <a:pt x="7938" y="822326"/>
                </a:lnTo>
                <a:lnTo>
                  <a:pt x="4763" y="819151"/>
                </a:lnTo>
                <a:lnTo>
                  <a:pt x="1588" y="815976"/>
                </a:lnTo>
                <a:lnTo>
                  <a:pt x="0" y="812801"/>
                </a:lnTo>
                <a:lnTo>
                  <a:pt x="0" y="809626"/>
                </a:lnTo>
                <a:lnTo>
                  <a:pt x="0" y="806451"/>
                </a:lnTo>
                <a:lnTo>
                  <a:pt x="0" y="803276"/>
                </a:lnTo>
                <a:lnTo>
                  <a:pt x="1588" y="801688"/>
                </a:lnTo>
                <a:lnTo>
                  <a:pt x="1588" y="798513"/>
                </a:lnTo>
                <a:lnTo>
                  <a:pt x="4763" y="795338"/>
                </a:lnTo>
                <a:lnTo>
                  <a:pt x="7938" y="793751"/>
                </a:lnTo>
                <a:lnTo>
                  <a:pt x="168275" y="700088"/>
                </a:lnTo>
                <a:lnTo>
                  <a:pt x="168275" y="615950"/>
                </a:lnTo>
                <a:lnTo>
                  <a:pt x="168275" y="471488"/>
                </a:lnTo>
                <a:lnTo>
                  <a:pt x="168275" y="387350"/>
                </a:lnTo>
                <a:lnTo>
                  <a:pt x="7938" y="293688"/>
                </a:lnTo>
                <a:lnTo>
                  <a:pt x="4763" y="292100"/>
                </a:lnTo>
                <a:lnTo>
                  <a:pt x="1588" y="288925"/>
                </a:lnTo>
                <a:lnTo>
                  <a:pt x="1588" y="285750"/>
                </a:lnTo>
                <a:lnTo>
                  <a:pt x="0" y="284163"/>
                </a:lnTo>
                <a:lnTo>
                  <a:pt x="0" y="280988"/>
                </a:lnTo>
                <a:lnTo>
                  <a:pt x="0" y="277813"/>
                </a:lnTo>
                <a:lnTo>
                  <a:pt x="0" y="274638"/>
                </a:lnTo>
                <a:lnTo>
                  <a:pt x="1588" y="271463"/>
                </a:lnTo>
                <a:lnTo>
                  <a:pt x="4763" y="266700"/>
                </a:lnTo>
                <a:lnTo>
                  <a:pt x="7938" y="265113"/>
                </a:lnTo>
                <a:lnTo>
                  <a:pt x="11113" y="263525"/>
                </a:lnTo>
                <a:lnTo>
                  <a:pt x="15875" y="263525"/>
                </a:lnTo>
                <a:lnTo>
                  <a:pt x="20638" y="263525"/>
                </a:lnTo>
                <a:lnTo>
                  <a:pt x="23813" y="265113"/>
                </a:lnTo>
                <a:lnTo>
                  <a:pt x="185738" y="358775"/>
                </a:lnTo>
                <a:lnTo>
                  <a:pt x="296863" y="295275"/>
                </a:lnTo>
                <a:lnTo>
                  <a:pt x="454025" y="203200"/>
                </a:lnTo>
                <a:lnTo>
                  <a:pt x="454025" y="15875"/>
                </a:lnTo>
                <a:lnTo>
                  <a:pt x="455613" y="12700"/>
                </a:lnTo>
                <a:lnTo>
                  <a:pt x="455613" y="9525"/>
                </a:lnTo>
                <a:lnTo>
                  <a:pt x="457200" y="6350"/>
                </a:lnTo>
                <a:lnTo>
                  <a:pt x="458788" y="4763"/>
                </a:lnTo>
                <a:lnTo>
                  <a:pt x="461963" y="1588"/>
                </a:lnTo>
                <a:close/>
              </a:path>
            </a:pathLst>
          </a:custGeom>
          <a:solidFill>
            <a:schemeClr val="bg1">
              <a:lumMod val="10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600">
              <a:solidFill>
                <a:schemeClr val="tx2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7950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4402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51" name="think-cell Slide" r:id="rId5" imgW="471" imgH="472" progId="TCLayout.ActiveDocument.1">
                  <p:embed/>
                </p:oleObj>
              </mc:Choice>
              <mc:Fallback>
                <p:oleObj name="think-cell Slide" r:id="rId5" imgW="471" imgH="47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 err="1" smtClean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</p:spPr>
        <p:txBody>
          <a:bodyPr>
            <a:spAutoFit/>
          </a:bodyPr>
          <a:lstStyle/>
          <a:p>
            <a:r>
              <a:rPr lang="en-US" dirty="0" smtClean="0"/>
              <a:t>INDUSTRY Workshop surfaced key gaps and challenges</a:t>
            </a:r>
            <a:endParaRPr lang="en-US" sz="1600" cap="none" dirty="0">
              <a:latin typeface="+mn-lt"/>
            </a:endParaRPr>
          </a:p>
        </p:txBody>
      </p:sp>
      <p:sp>
        <p:nvSpPr>
          <p:cNvPr id="67" name="ee4pContent1"/>
          <p:cNvSpPr txBox="1"/>
          <p:nvPr/>
        </p:nvSpPr>
        <p:spPr>
          <a:xfrm>
            <a:off x="629399" y="3361948"/>
            <a:ext cx="2320349" cy="1231106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0" tIns="0" rIns="0" bIns="0" rtlCol="0" anchor="t" anchorCtr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2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24000" lvl="1" indent="-216000">
              <a:buClr>
                <a:srgbClr val="1F4174"/>
              </a:buClr>
              <a:buSzPct val="100000"/>
              <a:buFont typeface="Trebuchet MS" panose="020B0603020202020204" pitchFamily="34" charset="0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1F4174"/>
              </a:buClr>
              <a:buSzPct val="100000"/>
              <a:buFont typeface="Trebuchet MS" panose="020B0603020202020204" pitchFamily="34" charset="0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1F4174"/>
                </a:solidFill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1F4174"/>
              </a:buClr>
              <a:buSzPct val="100000"/>
              <a:buFont typeface="Trebuchet MS" panose="020B0603020202020204" pitchFamily="34" charset="0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6600">
                <a:solidFill>
                  <a:srgbClr val="1F4174"/>
                </a:solidFill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1F4174"/>
                </a:solidFill>
              </a:defRPr>
            </a:lvl9pPr>
          </a:lstStyle>
          <a:p>
            <a:r>
              <a:rPr lang="en-US" sz="1600" dirty="0" smtClean="0">
                <a:solidFill>
                  <a:srgbClr val="000000">
                    <a:lumMod val="100000"/>
                  </a:srgbClr>
                </a:solidFill>
              </a:rPr>
              <a:t>Lack of seasoned biotech executives with drug development expertise</a:t>
            </a:r>
            <a:endParaRPr lang="en-US" sz="1600" dirty="0">
              <a:solidFill>
                <a:srgbClr val="000000">
                  <a:lumMod val="100000"/>
                </a:srgbClr>
              </a:solidFill>
            </a:endParaRPr>
          </a:p>
        </p:txBody>
      </p:sp>
      <p:sp>
        <p:nvSpPr>
          <p:cNvPr id="47" name="ee4pContent2"/>
          <p:cNvSpPr txBox="1"/>
          <p:nvPr/>
        </p:nvSpPr>
        <p:spPr>
          <a:xfrm>
            <a:off x="6386380" y="3361948"/>
            <a:ext cx="5176970" cy="9819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0" rIns="0" bIns="0" rtlCol="0" anchor="t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2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24000" lvl="1" indent="-216000">
              <a:buClr>
                <a:srgbClr val="1F4174"/>
              </a:buClr>
              <a:buSzPct val="100000"/>
              <a:buFont typeface="Trebuchet MS" panose="020B0603020202020204" pitchFamily="34" charset="0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1F4174"/>
              </a:buClr>
              <a:buSzPct val="100000"/>
              <a:buFont typeface="Trebuchet MS" panose="020B0603020202020204" pitchFamily="34" charset="0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1F4174"/>
                </a:solidFill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1F4174"/>
              </a:buClr>
              <a:buSzPct val="100000"/>
              <a:buFont typeface="Trebuchet MS" panose="020B0603020202020204" pitchFamily="34" charset="0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6600">
                <a:solidFill>
                  <a:srgbClr val="1F4174"/>
                </a:solidFill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1F4174"/>
                </a:solidFill>
              </a:defRPr>
            </a:lvl9pPr>
          </a:lstStyle>
          <a:p>
            <a:r>
              <a:rPr lang="en-US" sz="1600" dirty="0" smtClean="0">
                <a:solidFill>
                  <a:srgbClr val="000000">
                    <a:lumMod val="100000"/>
                  </a:srgbClr>
                </a:solidFill>
              </a:rPr>
              <a:t>Low corporate integration with and awareness of local R&amp;D assets and startups</a:t>
            </a:r>
          </a:p>
          <a:p>
            <a:pPr marL="432000" lvl="1" indent="-288000">
              <a:buClr>
                <a:srgbClr val="1F4174">
                  <a:lumMod val="100000"/>
                </a:srgbClr>
              </a:buClr>
            </a:pPr>
            <a:r>
              <a:rPr lang="en-US" sz="1600" dirty="0" smtClean="0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</a:rPr>
              <a:t>High geographic fragmentation between R&amp;D and industry</a:t>
            </a:r>
          </a:p>
          <a:p>
            <a:pPr marL="432000" lvl="1" indent="-288000">
              <a:buClr>
                <a:srgbClr val="1F4174">
                  <a:lumMod val="100000"/>
                </a:srgbClr>
              </a:buClr>
            </a:pPr>
            <a:r>
              <a:rPr lang="en-US" sz="1600" dirty="0" smtClean="0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</a:rPr>
              <a:t>Corporates </a:t>
            </a:r>
            <a:r>
              <a:rPr lang="en-US" sz="1600" dirty="0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</a:rPr>
              <a:t>and researchers in Chicago rely on other cities' infrastructure</a:t>
            </a:r>
          </a:p>
          <a:p>
            <a:pPr>
              <a:buNone/>
            </a:pPr>
            <a:endParaRPr lang="en-US" sz="1600" dirty="0">
              <a:solidFill>
                <a:srgbClr val="000000">
                  <a:lumMod val="100000"/>
                </a:srgbClr>
              </a:solidFill>
            </a:endParaRPr>
          </a:p>
        </p:txBody>
      </p:sp>
      <p:sp>
        <p:nvSpPr>
          <p:cNvPr id="48" name="ee4pContent3"/>
          <p:cNvSpPr txBox="1"/>
          <p:nvPr/>
        </p:nvSpPr>
        <p:spPr>
          <a:xfrm>
            <a:off x="3637388" y="3361948"/>
            <a:ext cx="2320349" cy="101602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0" rIns="0" bIns="0" rtlCol="0" anchor="t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2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24000" lvl="1" indent="-216000">
              <a:buClr>
                <a:srgbClr val="1F4174"/>
              </a:buClr>
              <a:buSzPct val="100000"/>
              <a:buFont typeface="Trebuchet MS" panose="020B0603020202020204" pitchFamily="34" charset="0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1F4174"/>
              </a:buClr>
              <a:buSzPct val="100000"/>
              <a:buFont typeface="Trebuchet MS" panose="020B0603020202020204" pitchFamily="34" charset="0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1F4174"/>
                </a:solidFill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1F4174"/>
              </a:buClr>
              <a:buSzPct val="100000"/>
              <a:buFont typeface="Trebuchet MS" panose="020B0603020202020204" pitchFamily="34" charset="0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6600">
                <a:solidFill>
                  <a:srgbClr val="1F4174"/>
                </a:solidFill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1F4174"/>
                </a:solidFill>
              </a:defRPr>
            </a:lvl9pPr>
          </a:lstStyle>
          <a:p>
            <a:r>
              <a:rPr lang="en-US" sz="1600" smtClean="0">
                <a:solidFill>
                  <a:srgbClr val="000000">
                    <a:lumMod val="100000"/>
                  </a:srgbClr>
                </a:solidFill>
              </a:rPr>
              <a:t>Limited infrastructure, incl. wet lab space and specialized prof. resources</a:t>
            </a:r>
            <a:endParaRPr lang="en-US" sz="1600" dirty="0">
              <a:solidFill>
                <a:srgbClr val="000000">
                  <a:lumMod val="100000"/>
                </a:srgbClr>
              </a:solidFill>
            </a:endParaRPr>
          </a:p>
        </p:txBody>
      </p:sp>
      <p:sp>
        <p:nvSpPr>
          <p:cNvPr id="55" name="ee4pHeader1"/>
          <p:cNvSpPr txBox="1"/>
          <p:nvPr/>
        </p:nvSpPr>
        <p:spPr>
          <a:xfrm>
            <a:off x="629400" y="2331146"/>
            <a:ext cx="2198458" cy="759600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sz="2000" dirty="0" smtClean="0">
                <a:solidFill>
                  <a:srgbClr val="1F4174">
                    <a:lumMod val="100000"/>
                  </a:srgbClr>
                </a:solidFill>
                <a:latin typeface="Arial Black" panose="020B0A04020102020204" pitchFamily="34" charset="0"/>
              </a:rPr>
              <a:t>Talent</a:t>
            </a:r>
            <a:endParaRPr lang="en-US" sz="2000" dirty="0">
              <a:solidFill>
                <a:srgbClr val="1F4174">
                  <a:lumMod val="100000"/>
                </a:srgbClr>
              </a:solidFill>
              <a:latin typeface="Arial Black" panose="020B0A04020102020204" pitchFamily="34" charset="0"/>
            </a:endParaRPr>
          </a:p>
        </p:txBody>
      </p:sp>
      <p:sp>
        <p:nvSpPr>
          <p:cNvPr id="56" name="ee4pHeader2"/>
          <p:cNvSpPr txBox="1"/>
          <p:nvPr/>
        </p:nvSpPr>
        <p:spPr>
          <a:xfrm>
            <a:off x="6386381" y="2331146"/>
            <a:ext cx="2198458" cy="759600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sz="2000" dirty="0" smtClean="0">
                <a:solidFill>
                  <a:srgbClr val="1F4174">
                    <a:lumMod val="100000"/>
                  </a:srgbClr>
                </a:solidFill>
                <a:latin typeface="Arial Black" panose="020B0A04020102020204" pitchFamily="34" charset="0"/>
              </a:rPr>
              <a:t>Connectivity</a:t>
            </a:r>
            <a:endParaRPr lang="en-US" sz="2000" dirty="0">
              <a:solidFill>
                <a:srgbClr val="1F4174">
                  <a:lumMod val="100000"/>
                </a:srgbClr>
              </a:solidFill>
              <a:latin typeface="Arial Black" panose="020B0A04020102020204" pitchFamily="34" charset="0"/>
            </a:endParaRPr>
          </a:p>
        </p:txBody>
      </p:sp>
      <p:sp>
        <p:nvSpPr>
          <p:cNvPr id="57" name="ee4pHeader3"/>
          <p:cNvSpPr txBox="1"/>
          <p:nvPr/>
        </p:nvSpPr>
        <p:spPr>
          <a:xfrm>
            <a:off x="3637389" y="2331146"/>
            <a:ext cx="2198458" cy="759600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sz="2000" dirty="0" smtClean="0">
                <a:solidFill>
                  <a:srgbClr val="1F4174">
                    <a:lumMod val="100000"/>
                  </a:srgbClr>
                </a:solidFill>
                <a:latin typeface="Arial Black" panose="020B0A04020102020204" pitchFamily="34" charset="0"/>
              </a:rPr>
              <a:t>Resourcing</a:t>
            </a:r>
            <a:endParaRPr lang="en-US" sz="2000" dirty="0">
              <a:solidFill>
                <a:srgbClr val="1F4174">
                  <a:lumMod val="100000"/>
                </a:srgbClr>
              </a:solidFill>
              <a:latin typeface="Arial Black" panose="020B0A04020102020204" pitchFamily="34" charset="0"/>
            </a:endParaRPr>
          </a:p>
        </p:txBody>
      </p:sp>
      <p:sp>
        <p:nvSpPr>
          <p:cNvPr id="66" name="ee4pHeader4"/>
          <p:cNvSpPr txBox="1"/>
          <p:nvPr/>
        </p:nvSpPr>
        <p:spPr>
          <a:xfrm>
            <a:off x="9364741" y="2331146"/>
            <a:ext cx="2437617" cy="759600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sz="2000" dirty="0" smtClean="0">
                <a:solidFill>
                  <a:srgbClr val="1F4174">
                    <a:lumMod val="100000"/>
                  </a:srgbClr>
                </a:solidFill>
                <a:latin typeface="Arial Black" panose="020B0A04020102020204" pitchFamily="34" charset="0"/>
              </a:rPr>
              <a:t>Strategic agenda</a:t>
            </a:r>
            <a:endParaRPr lang="en-US" sz="2000" dirty="0">
              <a:solidFill>
                <a:srgbClr val="1F4174">
                  <a:lumMod val="100000"/>
                </a:srgbClr>
              </a:solidFill>
              <a:latin typeface="Arial Black" panose="020B0A04020102020204" pitchFamily="34" charset="0"/>
            </a:endParaRPr>
          </a:p>
        </p:txBody>
      </p:sp>
      <p:sp>
        <p:nvSpPr>
          <p:cNvPr id="46" name="ee4pContent1"/>
          <p:cNvSpPr txBox="1"/>
          <p:nvPr/>
        </p:nvSpPr>
        <p:spPr>
          <a:xfrm>
            <a:off x="629400" y="4929786"/>
            <a:ext cx="2198458" cy="86470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0" rIns="0" bIns="0" rtlCol="0" anchor="t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2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24000" lvl="1" indent="-216000">
              <a:buClr>
                <a:srgbClr val="1F4174"/>
              </a:buClr>
              <a:buSzPct val="100000"/>
              <a:buFont typeface="Trebuchet MS" panose="020B0603020202020204" pitchFamily="34" charset="0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1F4174"/>
              </a:buClr>
              <a:buSzPct val="100000"/>
              <a:buFont typeface="Trebuchet MS" panose="020B0603020202020204" pitchFamily="34" charset="0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1F4174"/>
                </a:solidFill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1F4174"/>
              </a:buClr>
              <a:buSzPct val="100000"/>
              <a:buFont typeface="Trebuchet MS" panose="020B0603020202020204" pitchFamily="34" charset="0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6600">
                <a:solidFill>
                  <a:srgbClr val="1F4174"/>
                </a:solidFill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1F4174"/>
                </a:solidFill>
              </a:defRPr>
            </a:lvl9pPr>
          </a:lstStyle>
          <a:p>
            <a:r>
              <a:rPr lang="en-US" sz="1600" dirty="0" smtClean="0"/>
              <a:t>Low retention of graduate and startup talent</a:t>
            </a:r>
            <a:endParaRPr lang="en-US" sz="1600" dirty="0"/>
          </a:p>
        </p:txBody>
      </p:sp>
      <p:sp>
        <p:nvSpPr>
          <p:cNvPr id="71" name="Oval 20"/>
          <p:cNvSpPr>
            <a:spLocks noChangeAspect="1" noChangeArrowheads="1"/>
          </p:cNvSpPr>
          <p:nvPr/>
        </p:nvSpPr>
        <p:spPr bwMode="auto">
          <a:xfrm>
            <a:off x="629400" y="4929786"/>
            <a:ext cx="306910" cy="306910"/>
          </a:xfrm>
          <a:prstGeom prst="ellipse">
            <a:avLst/>
          </a:prstGeom>
          <a:solidFill>
            <a:schemeClr val="tx2">
              <a:lumMod val="100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dirty="0" smtClean="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</a:t>
            </a:r>
            <a:endParaRPr lang="en-US" sz="1200" dirty="0">
              <a:solidFill>
                <a:srgbClr val="FFFFFF">
                  <a:lumMod val="100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3" name="Oval 20"/>
          <p:cNvSpPr>
            <a:spLocks noChangeAspect="1" noChangeArrowheads="1"/>
          </p:cNvSpPr>
          <p:nvPr/>
        </p:nvSpPr>
        <p:spPr bwMode="auto">
          <a:xfrm>
            <a:off x="629400" y="3361948"/>
            <a:ext cx="306910" cy="306910"/>
          </a:xfrm>
          <a:prstGeom prst="ellipse">
            <a:avLst/>
          </a:prstGeom>
          <a:solidFill>
            <a:schemeClr val="tx2">
              <a:lumMod val="100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dirty="0" smtClean="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</a:t>
            </a:r>
            <a:endParaRPr lang="en-US" sz="1200" dirty="0">
              <a:solidFill>
                <a:srgbClr val="FFFFFF">
                  <a:lumMod val="100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7" name="Oval 20"/>
          <p:cNvSpPr>
            <a:spLocks noChangeAspect="1" noChangeArrowheads="1"/>
          </p:cNvSpPr>
          <p:nvPr/>
        </p:nvSpPr>
        <p:spPr bwMode="auto">
          <a:xfrm>
            <a:off x="6386381" y="3361948"/>
            <a:ext cx="306910" cy="306910"/>
          </a:xfrm>
          <a:prstGeom prst="ellipse">
            <a:avLst/>
          </a:prstGeom>
          <a:solidFill>
            <a:schemeClr val="tx2">
              <a:lumMod val="100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dirty="0" smtClean="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5</a:t>
            </a:r>
            <a:endParaRPr lang="en-US" sz="1200" dirty="0">
              <a:solidFill>
                <a:srgbClr val="FFFFFF">
                  <a:lumMod val="100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1" name="Oval 20"/>
          <p:cNvSpPr>
            <a:spLocks noChangeAspect="1" noChangeArrowheads="1"/>
          </p:cNvSpPr>
          <p:nvPr/>
        </p:nvSpPr>
        <p:spPr bwMode="auto">
          <a:xfrm>
            <a:off x="3637389" y="3361948"/>
            <a:ext cx="306910" cy="306910"/>
          </a:xfrm>
          <a:prstGeom prst="ellipse">
            <a:avLst/>
          </a:prstGeom>
          <a:solidFill>
            <a:schemeClr val="tx2">
              <a:lumMod val="100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dirty="0" smtClean="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3</a:t>
            </a:r>
            <a:endParaRPr lang="en-US" sz="1200" dirty="0">
              <a:solidFill>
                <a:srgbClr val="FFFFFF">
                  <a:lumMod val="100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82" name="Group 19">
            <a:extLst>
              <a:ext uri="{FF2B5EF4-FFF2-40B4-BE49-F238E27FC236}">
                <a16:creationId xmlns:a16="http://schemas.microsoft.com/office/drawing/2014/main" xmlns="" id="{B2BDCBC9-AD64-46C7-9C25-7BE4D612758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71792" y="1747396"/>
            <a:ext cx="929035" cy="929896"/>
            <a:chOff x="1682" y="0"/>
            <a:chExt cx="4316" cy="4320"/>
          </a:xfrm>
        </p:grpSpPr>
        <p:sp>
          <p:nvSpPr>
            <p:cNvPr id="83" name="AutoShape 18">
              <a:extLst>
                <a:ext uri="{FF2B5EF4-FFF2-40B4-BE49-F238E27FC236}">
                  <a16:creationId xmlns:a16="http://schemas.microsoft.com/office/drawing/2014/main" xmlns="" id="{D66828EB-2B5A-4B7C-B5FE-ED4AA9BC1D8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Freeform 20">
              <a:extLst>
                <a:ext uri="{FF2B5EF4-FFF2-40B4-BE49-F238E27FC236}">
                  <a16:creationId xmlns:a16="http://schemas.microsoft.com/office/drawing/2014/main" xmlns="" id="{9A4C7BA0-0AAF-4521-8F78-FD6D83AF25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54" y="1273"/>
              <a:ext cx="2772" cy="2548"/>
            </a:xfrm>
            <a:custGeom>
              <a:avLst/>
              <a:gdLst>
                <a:gd name="T0" fmla="*/ 1125 w 1480"/>
                <a:gd name="T1" fmla="*/ 456 h 1359"/>
                <a:gd name="T2" fmla="*/ 1152 w 1480"/>
                <a:gd name="T3" fmla="*/ 539 h 1359"/>
                <a:gd name="T4" fmla="*/ 1036 w 1480"/>
                <a:gd name="T5" fmla="*/ 573 h 1359"/>
                <a:gd name="T6" fmla="*/ 577 w 1480"/>
                <a:gd name="T7" fmla="*/ 301 h 1359"/>
                <a:gd name="T8" fmla="*/ 540 w 1480"/>
                <a:gd name="T9" fmla="*/ 323 h 1359"/>
                <a:gd name="T10" fmla="*/ 391 w 1480"/>
                <a:gd name="T11" fmla="*/ 541 h 1359"/>
                <a:gd name="T12" fmla="*/ 370 w 1480"/>
                <a:gd name="T13" fmla="*/ 384 h 1359"/>
                <a:gd name="T14" fmla="*/ 748 w 1480"/>
                <a:gd name="T15" fmla="*/ 0 h 1359"/>
                <a:gd name="T16" fmla="*/ 1126 w 1480"/>
                <a:gd name="T17" fmla="*/ 384 h 1359"/>
                <a:gd name="T18" fmla="*/ 1125 w 1480"/>
                <a:gd name="T19" fmla="*/ 456 h 1359"/>
                <a:gd name="T20" fmla="*/ 745 w 1480"/>
                <a:gd name="T21" fmla="*/ 1212 h 1359"/>
                <a:gd name="T22" fmla="*/ 735 w 1480"/>
                <a:gd name="T23" fmla="*/ 1212 h 1359"/>
                <a:gd name="T24" fmla="*/ 501 w 1480"/>
                <a:gd name="T25" fmla="*/ 1021 h 1359"/>
                <a:gd name="T26" fmla="*/ 501 w 1480"/>
                <a:gd name="T27" fmla="*/ 1021 h 1359"/>
                <a:gd name="T28" fmla="*/ 183 w 1480"/>
                <a:gd name="T29" fmla="*/ 1075 h 1359"/>
                <a:gd name="T30" fmla="*/ 4 w 1480"/>
                <a:gd name="T31" fmla="*/ 1335 h 1359"/>
                <a:gd name="T32" fmla="*/ 21 w 1480"/>
                <a:gd name="T33" fmla="*/ 1359 h 1359"/>
                <a:gd name="T34" fmla="*/ 1459 w 1480"/>
                <a:gd name="T35" fmla="*/ 1359 h 1359"/>
                <a:gd name="T36" fmla="*/ 1476 w 1480"/>
                <a:gd name="T37" fmla="*/ 1335 h 1359"/>
                <a:gd name="T38" fmla="*/ 1297 w 1480"/>
                <a:gd name="T39" fmla="*/ 1075 h 1359"/>
                <a:gd name="T40" fmla="*/ 979 w 1480"/>
                <a:gd name="T41" fmla="*/ 1021 h 1359"/>
                <a:gd name="T42" fmla="*/ 979 w 1480"/>
                <a:gd name="T43" fmla="*/ 1021 h 1359"/>
                <a:gd name="T44" fmla="*/ 745 w 1480"/>
                <a:gd name="T45" fmla="*/ 1212 h 1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480" h="1359">
                  <a:moveTo>
                    <a:pt x="1125" y="456"/>
                  </a:moveTo>
                  <a:cubicBezTo>
                    <a:pt x="1123" y="476"/>
                    <a:pt x="1130" y="507"/>
                    <a:pt x="1152" y="539"/>
                  </a:cubicBezTo>
                  <a:cubicBezTo>
                    <a:pt x="1152" y="539"/>
                    <a:pt x="1074" y="594"/>
                    <a:pt x="1036" y="573"/>
                  </a:cubicBezTo>
                  <a:cubicBezTo>
                    <a:pt x="993" y="549"/>
                    <a:pt x="813" y="300"/>
                    <a:pt x="577" y="301"/>
                  </a:cubicBezTo>
                  <a:cubicBezTo>
                    <a:pt x="577" y="301"/>
                    <a:pt x="551" y="315"/>
                    <a:pt x="540" y="323"/>
                  </a:cubicBezTo>
                  <a:cubicBezTo>
                    <a:pt x="433" y="395"/>
                    <a:pt x="428" y="575"/>
                    <a:pt x="391" y="541"/>
                  </a:cubicBezTo>
                  <a:cubicBezTo>
                    <a:pt x="377" y="525"/>
                    <a:pt x="370" y="431"/>
                    <a:pt x="370" y="384"/>
                  </a:cubicBezTo>
                  <a:cubicBezTo>
                    <a:pt x="370" y="172"/>
                    <a:pt x="534" y="0"/>
                    <a:pt x="748" y="0"/>
                  </a:cubicBezTo>
                  <a:cubicBezTo>
                    <a:pt x="962" y="0"/>
                    <a:pt x="1126" y="172"/>
                    <a:pt x="1126" y="384"/>
                  </a:cubicBezTo>
                  <a:cubicBezTo>
                    <a:pt x="1126" y="409"/>
                    <a:pt x="1127" y="433"/>
                    <a:pt x="1125" y="456"/>
                  </a:cubicBezTo>
                  <a:close/>
                  <a:moveTo>
                    <a:pt x="745" y="1212"/>
                  </a:moveTo>
                  <a:cubicBezTo>
                    <a:pt x="742" y="1215"/>
                    <a:pt x="738" y="1215"/>
                    <a:pt x="735" y="1212"/>
                  </a:cubicBezTo>
                  <a:cubicBezTo>
                    <a:pt x="660" y="1152"/>
                    <a:pt x="501" y="1021"/>
                    <a:pt x="501" y="1021"/>
                  </a:cubicBezTo>
                  <a:cubicBezTo>
                    <a:pt x="501" y="1021"/>
                    <a:pt x="501" y="1021"/>
                    <a:pt x="501" y="1021"/>
                  </a:cubicBezTo>
                  <a:cubicBezTo>
                    <a:pt x="501" y="1021"/>
                    <a:pt x="294" y="1023"/>
                    <a:pt x="183" y="1075"/>
                  </a:cubicBezTo>
                  <a:cubicBezTo>
                    <a:pt x="93" y="1116"/>
                    <a:pt x="27" y="1274"/>
                    <a:pt x="4" y="1335"/>
                  </a:cubicBezTo>
                  <a:cubicBezTo>
                    <a:pt x="0" y="1346"/>
                    <a:pt x="9" y="1359"/>
                    <a:pt x="21" y="1359"/>
                  </a:cubicBezTo>
                  <a:cubicBezTo>
                    <a:pt x="1459" y="1359"/>
                    <a:pt x="1459" y="1359"/>
                    <a:pt x="1459" y="1359"/>
                  </a:cubicBezTo>
                  <a:cubicBezTo>
                    <a:pt x="1471" y="1359"/>
                    <a:pt x="1480" y="1346"/>
                    <a:pt x="1476" y="1335"/>
                  </a:cubicBezTo>
                  <a:cubicBezTo>
                    <a:pt x="1453" y="1274"/>
                    <a:pt x="1387" y="1116"/>
                    <a:pt x="1297" y="1075"/>
                  </a:cubicBezTo>
                  <a:cubicBezTo>
                    <a:pt x="1186" y="1023"/>
                    <a:pt x="979" y="1021"/>
                    <a:pt x="979" y="1021"/>
                  </a:cubicBezTo>
                  <a:cubicBezTo>
                    <a:pt x="979" y="1021"/>
                    <a:pt x="979" y="1021"/>
                    <a:pt x="979" y="1021"/>
                  </a:cubicBezTo>
                  <a:cubicBezTo>
                    <a:pt x="979" y="1021"/>
                    <a:pt x="847" y="1130"/>
                    <a:pt x="745" y="121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Freeform 21">
              <a:extLst>
                <a:ext uri="{FF2B5EF4-FFF2-40B4-BE49-F238E27FC236}">
                  <a16:creationId xmlns:a16="http://schemas.microsoft.com/office/drawing/2014/main" xmlns="" id="{081DFDF9-FAE4-4BE7-BDD0-B1CE42F8EA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88" y="396"/>
              <a:ext cx="2904" cy="2835"/>
            </a:xfrm>
            <a:custGeom>
              <a:avLst/>
              <a:gdLst>
                <a:gd name="T0" fmla="*/ 390 w 1550"/>
                <a:gd name="T1" fmla="*/ 1015 h 1512"/>
                <a:gd name="T2" fmla="*/ 434 w 1550"/>
                <a:gd name="T3" fmla="*/ 1051 h 1512"/>
                <a:gd name="T4" fmla="*/ 483 w 1550"/>
                <a:gd name="T5" fmla="*/ 1121 h 1512"/>
                <a:gd name="T6" fmla="*/ 776 w 1550"/>
                <a:gd name="T7" fmla="*/ 1451 h 1512"/>
                <a:gd name="T8" fmla="*/ 1068 w 1550"/>
                <a:gd name="T9" fmla="*/ 1121 h 1512"/>
                <a:gd name="T10" fmla="*/ 1107 w 1550"/>
                <a:gd name="T11" fmla="*/ 1082 h 1512"/>
                <a:gd name="T12" fmla="*/ 1106 w 1550"/>
                <a:gd name="T13" fmla="*/ 1145 h 1512"/>
                <a:gd name="T14" fmla="*/ 977 w 1550"/>
                <a:gd name="T15" fmla="*/ 1400 h 1512"/>
                <a:gd name="T16" fmla="*/ 933 w 1550"/>
                <a:gd name="T17" fmla="*/ 1499 h 1512"/>
                <a:gd name="T18" fmla="*/ 776 w 1550"/>
                <a:gd name="T19" fmla="*/ 1495 h 1512"/>
                <a:gd name="T20" fmla="*/ 633 w 1550"/>
                <a:gd name="T21" fmla="*/ 1512 h 1512"/>
                <a:gd name="T22" fmla="*/ 589 w 1550"/>
                <a:gd name="T23" fmla="*/ 1411 h 1512"/>
                <a:gd name="T24" fmla="*/ 446 w 1550"/>
                <a:gd name="T25" fmla="*/ 1146 h 1512"/>
                <a:gd name="T26" fmla="*/ 774 w 1550"/>
                <a:gd name="T27" fmla="*/ 0 h 1512"/>
                <a:gd name="T28" fmla="*/ 774 w 1550"/>
                <a:gd name="T29" fmla="*/ 0 h 1512"/>
                <a:gd name="T30" fmla="*/ 721 w 1550"/>
                <a:gd name="T31" fmla="*/ 117 h 1512"/>
                <a:gd name="T32" fmla="*/ 687 w 1550"/>
                <a:gd name="T33" fmla="*/ 222 h 1512"/>
                <a:gd name="T34" fmla="*/ 774 w 1550"/>
                <a:gd name="T35" fmla="*/ 288 h 1512"/>
                <a:gd name="T36" fmla="*/ 863 w 1550"/>
                <a:gd name="T37" fmla="*/ 222 h 1512"/>
                <a:gd name="T38" fmla="*/ 829 w 1550"/>
                <a:gd name="T39" fmla="*/ 117 h 1512"/>
                <a:gd name="T40" fmla="*/ 336 w 1550"/>
                <a:gd name="T41" fmla="*/ 175 h 1512"/>
                <a:gd name="T42" fmla="*/ 336 w 1550"/>
                <a:gd name="T43" fmla="*/ 175 h 1512"/>
                <a:gd name="T44" fmla="*/ 294 w 1550"/>
                <a:gd name="T45" fmla="*/ 264 h 1512"/>
                <a:gd name="T46" fmla="*/ 269 w 1550"/>
                <a:gd name="T47" fmla="*/ 342 h 1512"/>
                <a:gd name="T48" fmla="*/ 336 w 1550"/>
                <a:gd name="T49" fmla="*/ 390 h 1512"/>
                <a:gd name="T50" fmla="*/ 406 w 1550"/>
                <a:gd name="T51" fmla="*/ 342 h 1512"/>
                <a:gd name="T52" fmla="*/ 380 w 1550"/>
                <a:gd name="T53" fmla="*/ 264 h 1512"/>
                <a:gd name="T54" fmla="*/ 94 w 1550"/>
                <a:gd name="T55" fmla="*/ 450 h 1512"/>
                <a:gd name="T56" fmla="*/ 94 w 1550"/>
                <a:gd name="T57" fmla="*/ 450 h 1512"/>
                <a:gd name="T58" fmla="*/ 64 w 1550"/>
                <a:gd name="T59" fmla="*/ 509 h 1512"/>
                <a:gd name="T60" fmla="*/ 46 w 1550"/>
                <a:gd name="T61" fmla="*/ 563 h 1512"/>
                <a:gd name="T62" fmla="*/ 94 w 1550"/>
                <a:gd name="T63" fmla="*/ 595 h 1512"/>
                <a:gd name="T64" fmla="*/ 142 w 1550"/>
                <a:gd name="T65" fmla="*/ 563 h 1512"/>
                <a:gd name="T66" fmla="*/ 123 w 1550"/>
                <a:gd name="T67" fmla="*/ 509 h 1512"/>
                <a:gd name="T68" fmla="*/ 1456 w 1550"/>
                <a:gd name="T69" fmla="*/ 450 h 1512"/>
                <a:gd name="T70" fmla="*/ 1456 w 1550"/>
                <a:gd name="T71" fmla="*/ 450 h 1512"/>
                <a:gd name="T72" fmla="*/ 1429 w 1550"/>
                <a:gd name="T73" fmla="*/ 509 h 1512"/>
                <a:gd name="T74" fmla="*/ 1411 w 1550"/>
                <a:gd name="T75" fmla="*/ 563 h 1512"/>
                <a:gd name="T76" fmla="*/ 1456 w 1550"/>
                <a:gd name="T77" fmla="*/ 595 h 1512"/>
                <a:gd name="T78" fmla="*/ 1504 w 1550"/>
                <a:gd name="T79" fmla="*/ 563 h 1512"/>
                <a:gd name="T80" fmla="*/ 1488 w 1550"/>
                <a:gd name="T81" fmla="*/ 509 h 1512"/>
                <a:gd name="T82" fmla="*/ 1212 w 1550"/>
                <a:gd name="T83" fmla="*/ 175 h 1512"/>
                <a:gd name="T84" fmla="*/ 1212 w 1550"/>
                <a:gd name="T85" fmla="*/ 175 h 1512"/>
                <a:gd name="T86" fmla="*/ 1170 w 1550"/>
                <a:gd name="T87" fmla="*/ 264 h 1512"/>
                <a:gd name="T88" fmla="*/ 1141 w 1550"/>
                <a:gd name="T89" fmla="*/ 342 h 1512"/>
                <a:gd name="T90" fmla="*/ 1212 w 1550"/>
                <a:gd name="T91" fmla="*/ 390 h 1512"/>
                <a:gd name="T92" fmla="*/ 1282 w 1550"/>
                <a:gd name="T93" fmla="*/ 342 h 1512"/>
                <a:gd name="T94" fmla="*/ 1255 w 1550"/>
                <a:gd name="T95" fmla="*/ 264 h 1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50" h="1512">
                  <a:moveTo>
                    <a:pt x="387" y="1024"/>
                  </a:moveTo>
                  <a:cubicBezTo>
                    <a:pt x="388" y="1021"/>
                    <a:pt x="388" y="1018"/>
                    <a:pt x="390" y="1015"/>
                  </a:cubicBezTo>
                  <a:cubicBezTo>
                    <a:pt x="393" y="1023"/>
                    <a:pt x="397" y="1030"/>
                    <a:pt x="401" y="1037"/>
                  </a:cubicBezTo>
                  <a:cubicBezTo>
                    <a:pt x="411" y="1050"/>
                    <a:pt x="426" y="1051"/>
                    <a:pt x="434" y="1051"/>
                  </a:cubicBezTo>
                  <a:cubicBezTo>
                    <a:pt x="439" y="1073"/>
                    <a:pt x="449" y="1101"/>
                    <a:pt x="470" y="1108"/>
                  </a:cubicBezTo>
                  <a:cubicBezTo>
                    <a:pt x="476" y="1111"/>
                    <a:pt x="481" y="1115"/>
                    <a:pt x="483" y="1121"/>
                  </a:cubicBezTo>
                  <a:cubicBezTo>
                    <a:pt x="518" y="1210"/>
                    <a:pt x="576" y="1343"/>
                    <a:pt x="597" y="1362"/>
                  </a:cubicBezTo>
                  <a:cubicBezTo>
                    <a:pt x="632" y="1392"/>
                    <a:pt x="726" y="1451"/>
                    <a:pt x="776" y="1451"/>
                  </a:cubicBezTo>
                  <a:cubicBezTo>
                    <a:pt x="825" y="1451"/>
                    <a:pt x="919" y="1392"/>
                    <a:pt x="954" y="1362"/>
                  </a:cubicBezTo>
                  <a:cubicBezTo>
                    <a:pt x="975" y="1343"/>
                    <a:pt x="1033" y="1210"/>
                    <a:pt x="1068" y="1121"/>
                  </a:cubicBezTo>
                  <a:cubicBezTo>
                    <a:pt x="1070" y="1116"/>
                    <a:pt x="1073" y="1112"/>
                    <a:pt x="1078" y="1110"/>
                  </a:cubicBezTo>
                  <a:cubicBezTo>
                    <a:pt x="1092" y="1103"/>
                    <a:pt x="1101" y="1093"/>
                    <a:pt x="1107" y="1082"/>
                  </a:cubicBezTo>
                  <a:cubicBezTo>
                    <a:pt x="1125" y="1080"/>
                    <a:pt x="1144" y="1073"/>
                    <a:pt x="1160" y="1065"/>
                  </a:cubicBezTo>
                  <a:cubicBezTo>
                    <a:pt x="1155" y="1087"/>
                    <a:pt x="1141" y="1123"/>
                    <a:pt x="1106" y="1145"/>
                  </a:cubicBezTo>
                  <a:cubicBezTo>
                    <a:pt x="1086" y="1194"/>
                    <a:pt x="1018" y="1363"/>
                    <a:pt x="983" y="1394"/>
                  </a:cubicBezTo>
                  <a:cubicBezTo>
                    <a:pt x="981" y="1396"/>
                    <a:pt x="979" y="1398"/>
                    <a:pt x="977" y="1400"/>
                  </a:cubicBezTo>
                  <a:cubicBezTo>
                    <a:pt x="977" y="1463"/>
                    <a:pt x="977" y="1463"/>
                    <a:pt x="977" y="1463"/>
                  </a:cubicBezTo>
                  <a:cubicBezTo>
                    <a:pt x="968" y="1470"/>
                    <a:pt x="952" y="1483"/>
                    <a:pt x="933" y="1499"/>
                  </a:cubicBezTo>
                  <a:cubicBezTo>
                    <a:pt x="933" y="1432"/>
                    <a:pt x="933" y="1432"/>
                    <a:pt x="933" y="1432"/>
                  </a:cubicBezTo>
                  <a:cubicBezTo>
                    <a:pt x="885" y="1463"/>
                    <a:pt x="821" y="1495"/>
                    <a:pt x="776" y="1495"/>
                  </a:cubicBezTo>
                  <a:cubicBezTo>
                    <a:pt x="735" y="1495"/>
                    <a:pt x="679" y="1469"/>
                    <a:pt x="633" y="1441"/>
                  </a:cubicBezTo>
                  <a:cubicBezTo>
                    <a:pt x="633" y="1512"/>
                    <a:pt x="633" y="1512"/>
                    <a:pt x="633" y="1512"/>
                  </a:cubicBezTo>
                  <a:cubicBezTo>
                    <a:pt x="616" y="1498"/>
                    <a:pt x="601" y="1486"/>
                    <a:pt x="589" y="1476"/>
                  </a:cubicBezTo>
                  <a:cubicBezTo>
                    <a:pt x="589" y="1411"/>
                    <a:pt x="589" y="1411"/>
                    <a:pt x="589" y="1411"/>
                  </a:cubicBezTo>
                  <a:cubicBezTo>
                    <a:pt x="581" y="1405"/>
                    <a:pt x="574" y="1399"/>
                    <a:pt x="568" y="1394"/>
                  </a:cubicBezTo>
                  <a:cubicBezTo>
                    <a:pt x="534" y="1364"/>
                    <a:pt x="466" y="1197"/>
                    <a:pt x="446" y="1146"/>
                  </a:cubicBezTo>
                  <a:cubicBezTo>
                    <a:pt x="397" y="1120"/>
                    <a:pt x="387" y="1049"/>
                    <a:pt x="387" y="1024"/>
                  </a:cubicBezTo>
                  <a:close/>
                  <a:moveTo>
                    <a:pt x="774" y="0"/>
                  </a:moveTo>
                  <a:cubicBezTo>
                    <a:pt x="774" y="0"/>
                    <a:pt x="774" y="0"/>
                    <a:pt x="774" y="0"/>
                  </a:cubicBezTo>
                  <a:cubicBezTo>
                    <a:pt x="774" y="0"/>
                    <a:pt x="774" y="0"/>
                    <a:pt x="774" y="0"/>
                  </a:cubicBezTo>
                  <a:cubicBezTo>
                    <a:pt x="774" y="0"/>
                    <a:pt x="774" y="0"/>
                    <a:pt x="774" y="0"/>
                  </a:cubicBezTo>
                  <a:cubicBezTo>
                    <a:pt x="721" y="117"/>
                    <a:pt x="721" y="117"/>
                    <a:pt x="721" y="117"/>
                  </a:cubicBezTo>
                  <a:cubicBezTo>
                    <a:pt x="600" y="136"/>
                    <a:pt x="600" y="136"/>
                    <a:pt x="600" y="136"/>
                  </a:cubicBezTo>
                  <a:cubicBezTo>
                    <a:pt x="687" y="222"/>
                    <a:pt x="687" y="222"/>
                    <a:pt x="687" y="222"/>
                  </a:cubicBezTo>
                  <a:cubicBezTo>
                    <a:pt x="667" y="350"/>
                    <a:pt x="667" y="350"/>
                    <a:pt x="667" y="350"/>
                  </a:cubicBezTo>
                  <a:cubicBezTo>
                    <a:pt x="774" y="288"/>
                    <a:pt x="774" y="288"/>
                    <a:pt x="774" y="288"/>
                  </a:cubicBezTo>
                  <a:cubicBezTo>
                    <a:pt x="885" y="350"/>
                    <a:pt x="885" y="350"/>
                    <a:pt x="885" y="350"/>
                  </a:cubicBezTo>
                  <a:cubicBezTo>
                    <a:pt x="863" y="222"/>
                    <a:pt x="863" y="222"/>
                    <a:pt x="863" y="222"/>
                  </a:cubicBezTo>
                  <a:cubicBezTo>
                    <a:pt x="950" y="136"/>
                    <a:pt x="950" y="136"/>
                    <a:pt x="950" y="136"/>
                  </a:cubicBezTo>
                  <a:cubicBezTo>
                    <a:pt x="829" y="117"/>
                    <a:pt x="829" y="117"/>
                    <a:pt x="829" y="117"/>
                  </a:cubicBezTo>
                  <a:cubicBezTo>
                    <a:pt x="774" y="0"/>
                    <a:pt x="774" y="0"/>
                    <a:pt x="774" y="0"/>
                  </a:cubicBezTo>
                  <a:close/>
                  <a:moveTo>
                    <a:pt x="336" y="175"/>
                  </a:moveTo>
                  <a:cubicBezTo>
                    <a:pt x="336" y="175"/>
                    <a:pt x="336" y="175"/>
                    <a:pt x="336" y="175"/>
                  </a:cubicBezTo>
                  <a:cubicBezTo>
                    <a:pt x="336" y="175"/>
                    <a:pt x="336" y="175"/>
                    <a:pt x="336" y="175"/>
                  </a:cubicBezTo>
                  <a:cubicBezTo>
                    <a:pt x="336" y="175"/>
                    <a:pt x="336" y="175"/>
                    <a:pt x="336" y="175"/>
                  </a:cubicBezTo>
                  <a:cubicBezTo>
                    <a:pt x="294" y="264"/>
                    <a:pt x="294" y="264"/>
                    <a:pt x="294" y="264"/>
                  </a:cubicBezTo>
                  <a:cubicBezTo>
                    <a:pt x="200" y="274"/>
                    <a:pt x="200" y="274"/>
                    <a:pt x="200" y="274"/>
                  </a:cubicBezTo>
                  <a:cubicBezTo>
                    <a:pt x="269" y="342"/>
                    <a:pt x="269" y="342"/>
                    <a:pt x="269" y="342"/>
                  </a:cubicBezTo>
                  <a:cubicBezTo>
                    <a:pt x="254" y="438"/>
                    <a:pt x="254" y="438"/>
                    <a:pt x="254" y="438"/>
                  </a:cubicBezTo>
                  <a:cubicBezTo>
                    <a:pt x="336" y="390"/>
                    <a:pt x="336" y="390"/>
                    <a:pt x="336" y="390"/>
                  </a:cubicBezTo>
                  <a:cubicBezTo>
                    <a:pt x="420" y="438"/>
                    <a:pt x="420" y="438"/>
                    <a:pt x="420" y="438"/>
                  </a:cubicBezTo>
                  <a:cubicBezTo>
                    <a:pt x="406" y="342"/>
                    <a:pt x="406" y="342"/>
                    <a:pt x="406" y="342"/>
                  </a:cubicBezTo>
                  <a:cubicBezTo>
                    <a:pt x="475" y="274"/>
                    <a:pt x="475" y="274"/>
                    <a:pt x="475" y="274"/>
                  </a:cubicBezTo>
                  <a:cubicBezTo>
                    <a:pt x="380" y="264"/>
                    <a:pt x="380" y="264"/>
                    <a:pt x="380" y="264"/>
                  </a:cubicBezTo>
                  <a:cubicBezTo>
                    <a:pt x="336" y="175"/>
                    <a:pt x="336" y="175"/>
                    <a:pt x="336" y="175"/>
                  </a:cubicBezTo>
                  <a:close/>
                  <a:moveTo>
                    <a:pt x="94" y="450"/>
                  </a:moveTo>
                  <a:cubicBezTo>
                    <a:pt x="94" y="450"/>
                    <a:pt x="94" y="450"/>
                    <a:pt x="94" y="450"/>
                  </a:cubicBezTo>
                  <a:cubicBezTo>
                    <a:pt x="94" y="450"/>
                    <a:pt x="94" y="450"/>
                    <a:pt x="94" y="450"/>
                  </a:cubicBezTo>
                  <a:cubicBezTo>
                    <a:pt x="94" y="450"/>
                    <a:pt x="94" y="450"/>
                    <a:pt x="94" y="450"/>
                  </a:cubicBezTo>
                  <a:cubicBezTo>
                    <a:pt x="64" y="509"/>
                    <a:pt x="64" y="509"/>
                    <a:pt x="64" y="509"/>
                  </a:cubicBezTo>
                  <a:cubicBezTo>
                    <a:pt x="0" y="519"/>
                    <a:pt x="0" y="519"/>
                    <a:pt x="0" y="519"/>
                  </a:cubicBezTo>
                  <a:cubicBezTo>
                    <a:pt x="46" y="563"/>
                    <a:pt x="46" y="563"/>
                    <a:pt x="46" y="563"/>
                  </a:cubicBezTo>
                  <a:cubicBezTo>
                    <a:pt x="37" y="625"/>
                    <a:pt x="37" y="625"/>
                    <a:pt x="37" y="625"/>
                  </a:cubicBezTo>
                  <a:cubicBezTo>
                    <a:pt x="94" y="595"/>
                    <a:pt x="94" y="595"/>
                    <a:pt x="94" y="595"/>
                  </a:cubicBezTo>
                  <a:cubicBezTo>
                    <a:pt x="152" y="625"/>
                    <a:pt x="152" y="625"/>
                    <a:pt x="152" y="625"/>
                  </a:cubicBezTo>
                  <a:cubicBezTo>
                    <a:pt x="142" y="563"/>
                    <a:pt x="142" y="563"/>
                    <a:pt x="142" y="563"/>
                  </a:cubicBezTo>
                  <a:cubicBezTo>
                    <a:pt x="187" y="519"/>
                    <a:pt x="187" y="519"/>
                    <a:pt x="187" y="519"/>
                  </a:cubicBezTo>
                  <a:cubicBezTo>
                    <a:pt x="123" y="509"/>
                    <a:pt x="123" y="509"/>
                    <a:pt x="123" y="509"/>
                  </a:cubicBezTo>
                  <a:cubicBezTo>
                    <a:pt x="94" y="450"/>
                    <a:pt x="94" y="450"/>
                    <a:pt x="94" y="450"/>
                  </a:cubicBezTo>
                  <a:close/>
                  <a:moveTo>
                    <a:pt x="1456" y="450"/>
                  </a:moveTo>
                  <a:cubicBezTo>
                    <a:pt x="1456" y="450"/>
                    <a:pt x="1456" y="450"/>
                    <a:pt x="1456" y="450"/>
                  </a:cubicBezTo>
                  <a:cubicBezTo>
                    <a:pt x="1456" y="450"/>
                    <a:pt x="1456" y="450"/>
                    <a:pt x="1456" y="450"/>
                  </a:cubicBezTo>
                  <a:cubicBezTo>
                    <a:pt x="1456" y="450"/>
                    <a:pt x="1456" y="450"/>
                    <a:pt x="1456" y="450"/>
                  </a:cubicBezTo>
                  <a:cubicBezTo>
                    <a:pt x="1429" y="509"/>
                    <a:pt x="1429" y="509"/>
                    <a:pt x="1429" y="509"/>
                  </a:cubicBezTo>
                  <a:cubicBezTo>
                    <a:pt x="1363" y="519"/>
                    <a:pt x="1363" y="519"/>
                    <a:pt x="1363" y="519"/>
                  </a:cubicBezTo>
                  <a:cubicBezTo>
                    <a:pt x="1411" y="563"/>
                    <a:pt x="1411" y="563"/>
                    <a:pt x="1411" y="563"/>
                  </a:cubicBezTo>
                  <a:cubicBezTo>
                    <a:pt x="1400" y="625"/>
                    <a:pt x="1400" y="625"/>
                    <a:pt x="1400" y="625"/>
                  </a:cubicBezTo>
                  <a:cubicBezTo>
                    <a:pt x="1456" y="595"/>
                    <a:pt x="1456" y="595"/>
                    <a:pt x="1456" y="595"/>
                  </a:cubicBezTo>
                  <a:cubicBezTo>
                    <a:pt x="1517" y="625"/>
                    <a:pt x="1517" y="625"/>
                    <a:pt x="1517" y="625"/>
                  </a:cubicBezTo>
                  <a:cubicBezTo>
                    <a:pt x="1504" y="563"/>
                    <a:pt x="1504" y="563"/>
                    <a:pt x="1504" y="563"/>
                  </a:cubicBezTo>
                  <a:cubicBezTo>
                    <a:pt x="1550" y="519"/>
                    <a:pt x="1550" y="519"/>
                    <a:pt x="1550" y="519"/>
                  </a:cubicBezTo>
                  <a:cubicBezTo>
                    <a:pt x="1488" y="509"/>
                    <a:pt x="1488" y="509"/>
                    <a:pt x="1488" y="509"/>
                  </a:cubicBezTo>
                  <a:cubicBezTo>
                    <a:pt x="1456" y="450"/>
                    <a:pt x="1456" y="450"/>
                    <a:pt x="1456" y="450"/>
                  </a:cubicBezTo>
                  <a:close/>
                  <a:moveTo>
                    <a:pt x="1212" y="175"/>
                  </a:moveTo>
                  <a:cubicBezTo>
                    <a:pt x="1212" y="175"/>
                    <a:pt x="1212" y="175"/>
                    <a:pt x="1212" y="175"/>
                  </a:cubicBezTo>
                  <a:cubicBezTo>
                    <a:pt x="1212" y="175"/>
                    <a:pt x="1212" y="175"/>
                    <a:pt x="1212" y="175"/>
                  </a:cubicBezTo>
                  <a:cubicBezTo>
                    <a:pt x="1212" y="175"/>
                    <a:pt x="1212" y="175"/>
                    <a:pt x="1212" y="175"/>
                  </a:cubicBezTo>
                  <a:cubicBezTo>
                    <a:pt x="1170" y="264"/>
                    <a:pt x="1170" y="264"/>
                    <a:pt x="1170" y="264"/>
                  </a:cubicBezTo>
                  <a:cubicBezTo>
                    <a:pt x="1075" y="274"/>
                    <a:pt x="1075" y="274"/>
                    <a:pt x="1075" y="274"/>
                  </a:cubicBezTo>
                  <a:cubicBezTo>
                    <a:pt x="1141" y="342"/>
                    <a:pt x="1141" y="342"/>
                    <a:pt x="1141" y="342"/>
                  </a:cubicBezTo>
                  <a:cubicBezTo>
                    <a:pt x="1127" y="438"/>
                    <a:pt x="1127" y="438"/>
                    <a:pt x="1127" y="438"/>
                  </a:cubicBezTo>
                  <a:cubicBezTo>
                    <a:pt x="1212" y="390"/>
                    <a:pt x="1212" y="390"/>
                    <a:pt x="1212" y="390"/>
                  </a:cubicBezTo>
                  <a:cubicBezTo>
                    <a:pt x="1298" y="438"/>
                    <a:pt x="1298" y="438"/>
                    <a:pt x="1298" y="438"/>
                  </a:cubicBezTo>
                  <a:cubicBezTo>
                    <a:pt x="1282" y="342"/>
                    <a:pt x="1282" y="342"/>
                    <a:pt x="1282" y="342"/>
                  </a:cubicBezTo>
                  <a:cubicBezTo>
                    <a:pt x="1350" y="274"/>
                    <a:pt x="1350" y="274"/>
                    <a:pt x="1350" y="274"/>
                  </a:cubicBezTo>
                  <a:cubicBezTo>
                    <a:pt x="1255" y="264"/>
                    <a:pt x="1255" y="264"/>
                    <a:pt x="1255" y="264"/>
                  </a:cubicBezTo>
                  <a:cubicBezTo>
                    <a:pt x="1212" y="175"/>
                    <a:pt x="1212" y="175"/>
                    <a:pt x="1212" y="17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86" name="bcgIcons_Chain">
            <a:extLst>
              <a:ext uri="{FF2B5EF4-FFF2-40B4-BE49-F238E27FC236}">
                <a16:creationId xmlns:a16="http://schemas.microsoft.com/office/drawing/2014/main" xmlns="" id="{D13D967B-440C-48A6-A212-BED6520168A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386381" y="1747396"/>
            <a:ext cx="929035" cy="929896"/>
            <a:chOff x="1682" y="0"/>
            <a:chExt cx="4316" cy="4320"/>
          </a:xfrm>
        </p:grpSpPr>
        <p:sp>
          <p:nvSpPr>
            <p:cNvPr id="87" name="AutoShape 33">
              <a:extLst>
                <a:ext uri="{FF2B5EF4-FFF2-40B4-BE49-F238E27FC236}">
                  <a16:creationId xmlns:a16="http://schemas.microsoft.com/office/drawing/2014/main" xmlns="" id="{85C968F4-C5B4-4451-8289-58BA23B9FAD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Freeform 35">
              <a:extLst>
                <a:ext uri="{FF2B5EF4-FFF2-40B4-BE49-F238E27FC236}">
                  <a16:creationId xmlns:a16="http://schemas.microsoft.com/office/drawing/2014/main" xmlns="" id="{8C92239E-E09A-481C-8B31-7E1B8579D2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80" y="1299"/>
              <a:ext cx="1724" cy="1725"/>
            </a:xfrm>
            <a:custGeom>
              <a:avLst/>
              <a:gdLst>
                <a:gd name="T0" fmla="*/ 142 w 920"/>
                <a:gd name="T1" fmla="*/ 849 h 920"/>
                <a:gd name="T2" fmla="*/ 71 w 920"/>
                <a:gd name="T3" fmla="*/ 920 h 920"/>
                <a:gd name="T4" fmla="*/ 0 w 920"/>
                <a:gd name="T5" fmla="*/ 849 h 920"/>
                <a:gd name="T6" fmla="*/ 0 w 920"/>
                <a:gd name="T7" fmla="*/ 769 h 920"/>
                <a:gd name="T8" fmla="*/ 0 w 920"/>
                <a:gd name="T9" fmla="*/ 302 h 920"/>
                <a:gd name="T10" fmla="*/ 71 w 920"/>
                <a:gd name="T11" fmla="*/ 231 h 920"/>
                <a:gd name="T12" fmla="*/ 142 w 920"/>
                <a:gd name="T13" fmla="*/ 302 h 920"/>
                <a:gd name="T14" fmla="*/ 142 w 920"/>
                <a:gd name="T15" fmla="*/ 766 h 920"/>
                <a:gd name="T16" fmla="*/ 142 w 920"/>
                <a:gd name="T17" fmla="*/ 849 h 920"/>
                <a:gd name="T18" fmla="*/ 385 w 920"/>
                <a:gd name="T19" fmla="*/ 142 h 920"/>
                <a:gd name="T20" fmla="*/ 849 w 920"/>
                <a:gd name="T21" fmla="*/ 142 h 920"/>
                <a:gd name="T22" fmla="*/ 920 w 920"/>
                <a:gd name="T23" fmla="*/ 71 h 920"/>
                <a:gd name="T24" fmla="*/ 849 w 920"/>
                <a:gd name="T25" fmla="*/ 0 h 920"/>
                <a:gd name="T26" fmla="*/ 382 w 920"/>
                <a:gd name="T27" fmla="*/ 0 h 920"/>
                <a:gd name="T28" fmla="*/ 302 w 920"/>
                <a:gd name="T29" fmla="*/ 0 h 920"/>
                <a:gd name="T30" fmla="*/ 231 w 920"/>
                <a:gd name="T31" fmla="*/ 71 h 920"/>
                <a:gd name="T32" fmla="*/ 302 w 920"/>
                <a:gd name="T33" fmla="*/ 142 h 920"/>
                <a:gd name="T34" fmla="*/ 385 w 920"/>
                <a:gd name="T35" fmla="*/ 142 h 9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20" h="920">
                  <a:moveTo>
                    <a:pt x="142" y="849"/>
                  </a:moveTo>
                  <a:cubicBezTo>
                    <a:pt x="142" y="888"/>
                    <a:pt x="110" y="920"/>
                    <a:pt x="71" y="920"/>
                  </a:cubicBezTo>
                  <a:cubicBezTo>
                    <a:pt x="32" y="920"/>
                    <a:pt x="0" y="888"/>
                    <a:pt x="0" y="849"/>
                  </a:cubicBezTo>
                  <a:cubicBezTo>
                    <a:pt x="0" y="769"/>
                    <a:pt x="0" y="769"/>
                    <a:pt x="0" y="769"/>
                  </a:cubicBezTo>
                  <a:cubicBezTo>
                    <a:pt x="0" y="302"/>
                    <a:pt x="0" y="302"/>
                    <a:pt x="0" y="302"/>
                  </a:cubicBezTo>
                  <a:cubicBezTo>
                    <a:pt x="0" y="263"/>
                    <a:pt x="32" y="231"/>
                    <a:pt x="71" y="231"/>
                  </a:cubicBezTo>
                  <a:cubicBezTo>
                    <a:pt x="110" y="231"/>
                    <a:pt x="142" y="263"/>
                    <a:pt x="142" y="302"/>
                  </a:cubicBezTo>
                  <a:cubicBezTo>
                    <a:pt x="142" y="766"/>
                    <a:pt x="142" y="766"/>
                    <a:pt x="142" y="766"/>
                  </a:cubicBezTo>
                  <a:lnTo>
                    <a:pt x="142" y="849"/>
                  </a:lnTo>
                  <a:close/>
                  <a:moveTo>
                    <a:pt x="385" y="142"/>
                  </a:moveTo>
                  <a:cubicBezTo>
                    <a:pt x="849" y="142"/>
                    <a:pt x="849" y="142"/>
                    <a:pt x="849" y="142"/>
                  </a:cubicBezTo>
                  <a:cubicBezTo>
                    <a:pt x="888" y="142"/>
                    <a:pt x="920" y="110"/>
                    <a:pt x="920" y="71"/>
                  </a:cubicBezTo>
                  <a:cubicBezTo>
                    <a:pt x="920" y="32"/>
                    <a:pt x="888" y="0"/>
                    <a:pt x="849" y="0"/>
                  </a:cubicBezTo>
                  <a:cubicBezTo>
                    <a:pt x="382" y="0"/>
                    <a:pt x="382" y="0"/>
                    <a:pt x="382" y="0"/>
                  </a:cubicBezTo>
                  <a:cubicBezTo>
                    <a:pt x="302" y="0"/>
                    <a:pt x="302" y="0"/>
                    <a:pt x="302" y="0"/>
                  </a:cubicBezTo>
                  <a:cubicBezTo>
                    <a:pt x="263" y="0"/>
                    <a:pt x="231" y="32"/>
                    <a:pt x="231" y="71"/>
                  </a:cubicBezTo>
                  <a:cubicBezTo>
                    <a:pt x="231" y="110"/>
                    <a:pt x="263" y="142"/>
                    <a:pt x="302" y="142"/>
                  </a:cubicBezTo>
                  <a:lnTo>
                    <a:pt x="385" y="14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" name="Freeform 36">
              <a:extLst>
                <a:ext uri="{FF2B5EF4-FFF2-40B4-BE49-F238E27FC236}">
                  <a16:creationId xmlns:a16="http://schemas.microsoft.com/office/drawing/2014/main" xmlns="" id="{CA417592-349C-43C7-9D68-F2C3425D88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39" y="658"/>
              <a:ext cx="3001" cy="3004"/>
            </a:xfrm>
            <a:custGeom>
              <a:avLst/>
              <a:gdLst>
                <a:gd name="T0" fmla="*/ 497 w 1602"/>
                <a:gd name="T1" fmla="*/ 1434 h 1602"/>
                <a:gd name="T2" fmla="*/ 90 w 1602"/>
                <a:gd name="T3" fmla="*/ 1512 h 1602"/>
                <a:gd name="T4" fmla="*/ 168 w 1602"/>
                <a:gd name="T5" fmla="*/ 1105 h 1602"/>
                <a:gd name="T6" fmla="*/ 298 w 1602"/>
                <a:gd name="T7" fmla="*/ 987 h 1602"/>
                <a:gd name="T8" fmla="*/ 299 w 1602"/>
                <a:gd name="T9" fmla="*/ 1203 h 1602"/>
                <a:gd name="T10" fmla="*/ 205 w 1602"/>
                <a:gd name="T11" fmla="*/ 1297 h 1602"/>
                <a:gd name="T12" fmla="*/ 305 w 1602"/>
                <a:gd name="T13" fmla="*/ 1397 h 1602"/>
                <a:gd name="T14" fmla="*/ 397 w 1602"/>
                <a:gd name="T15" fmla="*/ 1305 h 1602"/>
                <a:gd name="T16" fmla="*/ 528 w 1602"/>
                <a:gd name="T17" fmla="*/ 1191 h 1602"/>
                <a:gd name="T18" fmla="*/ 577 w 1602"/>
                <a:gd name="T19" fmla="*/ 1025 h 1602"/>
                <a:gd name="T20" fmla="*/ 1512 w 1602"/>
                <a:gd name="T21" fmla="*/ 90 h 1602"/>
                <a:gd name="T22" fmla="*/ 1105 w 1602"/>
                <a:gd name="T23" fmla="*/ 168 h 1602"/>
                <a:gd name="T24" fmla="*/ 987 w 1602"/>
                <a:gd name="T25" fmla="*/ 298 h 1602"/>
                <a:gd name="T26" fmla="*/ 1203 w 1602"/>
                <a:gd name="T27" fmla="*/ 299 h 1602"/>
                <a:gd name="T28" fmla="*/ 1297 w 1602"/>
                <a:gd name="T29" fmla="*/ 205 h 1602"/>
                <a:gd name="T30" fmla="*/ 1397 w 1602"/>
                <a:gd name="T31" fmla="*/ 305 h 1602"/>
                <a:gd name="T32" fmla="*/ 1305 w 1602"/>
                <a:gd name="T33" fmla="*/ 397 h 1602"/>
                <a:gd name="T34" fmla="*/ 1191 w 1602"/>
                <a:gd name="T35" fmla="*/ 528 h 1602"/>
                <a:gd name="T36" fmla="*/ 1025 w 1602"/>
                <a:gd name="T37" fmla="*/ 577 h 1602"/>
                <a:gd name="T38" fmla="*/ 1434 w 1602"/>
                <a:gd name="T39" fmla="*/ 497 h 1602"/>
                <a:gd name="T40" fmla="*/ 1512 w 1602"/>
                <a:gd name="T41" fmla="*/ 90 h 1602"/>
                <a:gd name="T42" fmla="*/ 636 w 1602"/>
                <a:gd name="T43" fmla="*/ 527 h 1602"/>
                <a:gd name="T44" fmla="*/ 527 w 1602"/>
                <a:gd name="T45" fmla="*/ 636 h 1602"/>
                <a:gd name="T46" fmla="*/ 528 w 1602"/>
                <a:gd name="T47" fmla="*/ 858 h 1602"/>
                <a:gd name="T48" fmla="*/ 711 w 1602"/>
                <a:gd name="T49" fmla="*/ 695 h 1602"/>
                <a:gd name="T50" fmla="*/ 860 w 1602"/>
                <a:gd name="T51" fmla="*/ 528 h 1602"/>
                <a:gd name="T52" fmla="*/ 529 w 1602"/>
                <a:gd name="T53" fmla="*/ 413 h 1602"/>
                <a:gd name="T54" fmla="*/ 854 w 1602"/>
                <a:gd name="T55" fmla="*/ 298 h 1602"/>
                <a:gd name="T56" fmla="*/ 465 w 1602"/>
                <a:gd name="T57" fmla="*/ 244 h 1602"/>
                <a:gd name="T58" fmla="*/ 248 w 1602"/>
                <a:gd name="T59" fmla="*/ 461 h 1602"/>
                <a:gd name="T60" fmla="*/ 298 w 1602"/>
                <a:gd name="T61" fmla="*/ 848 h 1602"/>
                <a:gd name="T62" fmla="*/ 413 w 1602"/>
                <a:gd name="T63" fmla="*/ 529 h 1602"/>
                <a:gd name="T64" fmla="*/ 472 w 1602"/>
                <a:gd name="T65" fmla="*/ 479 h 1602"/>
                <a:gd name="T66" fmla="*/ 529 w 1602"/>
                <a:gd name="T67" fmla="*/ 421 h 1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02" h="1602">
                  <a:moveTo>
                    <a:pt x="577" y="1353"/>
                  </a:moveTo>
                  <a:cubicBezTo>
                    <a:pt x="497" y="1434"/>
                    <a:pt x="497" y="1434"/>
                    <a:pt x="497" y="1434"/>
                  </a:cubicBezTo>
                  <a:cubicBezTo>
                    <a:pt x="419" y="1512"/>
                    <a:pt x="419" y="1512"/>
                    <a:pt x="419" y="1512"/>
                  </a:cubicBezTo>
                  <a:cubicBezTo>
                    <a:pt x="328" y="1602"/>
                    <a:pt x="181" y="1602"/>
                    <a:pt x="90" y="1512"/>
                  </a:cubicBezTo>
                  <a:cubicBezTo>
                    <a:pt x="0" y="1421"/>
                    <a:pt x="0" y="1274"/>
                    <a:pt x="90" y="1183"/>
                  </a:cubicBezTo>
                  <a:cubicBezTo>
                    <a:pt x="168" y="1105"/>
                    <a:pt x="168" y="1105"/>
                    <a:pt x="168" y="1105"/>
                  </a:cubicBezTo>
                  <a:cubicBezTo>
                    <a:pt x="249" y="1025"/>
                    <a:pt x="249" y="1025"/>
                    <a:pt x="249" y="1025"/>
                  </a:cubicBezTo>
                  <a:cubicBezTo>
                    <a:pt x="264" y="1010"/>
                    <a:pt x="280" y="997"/>
                    <a:pt x="298" y="987"/>
                  </a:cubicBezTo>
                  <a:cubicBezTo>
                    <a:pt x="298" y="1191"/>
                    <a:pt x="298" y="1191"/>
                    <a:pt x="298" y="1191"/>
                  </a:cubicBezTo>
                  <a:cubicBezTo>
                    <a:pt x="298" y="1195"/>
                    <a:pt x="298" y="1199"/>
                    <a:pt x="299" y="1203"/>
                  </a:cubicBezTo>
                  <a:cubicBezTo>
                    <a:pt x="282" y="1220"/>
                    <a:pt x="282" y="1220"/>
                    <a:pt x="282" y="1220"/>
                  </a:cubicBezTo>
                  <a:cubicBezTo>
                    <a:pt x="205" y="1297"/>
                    <a:pt x="205" y="1297"/>
                    <a:pt x="205" y="1297"/>
                  </a:cubicBezTo>
                  <a:cubicBezTo>
                    <a:pt x="177" y="1325"/>
                    <a:pt x="177" y="1370"/>
                    <a:pt x="205" y="1397"/>
                  </a:cubicBezTo>
                  <a:cubicBezTo>
                    <a:pt x="232" y="1425"/>
                    <a:pt x="277" y="1425"/>
                    <a:pt x="305" y="1397"/>
                  </a:cubicBezTo>
                  <a:cubicBezTo>
                    <a:pt x="384" y="1318"/>
                    <a:pt x="384" y="1318"/>
                    <a:pt x="384" y="1318"/>
                  </a:cubicBezTo>
                  <a:cubicBezTo>
                    <a:pt x="397" y="1305"/>
                    <a:pt x="397" y="1305"/>
                    <a:pt x="397" y="1305"/>
                  </a:cubicBezTo>
                  <a:cubicBezTo>
                    <a:pt x="402" y="1305"/>
                    <a:pt x="408" y="1306"/>
                    <a:pt x="413" y="1306"/>
                  </a:cubicBezTo>
                  <a:cubicBezTo>
                    <a:pt x="476" y="1306"/>
                    <a:pt x="528" y="1254"/>
                    <a:pt x="528" y="1191"/>
                  </a:cubicBezTo>
                  <a:cubicBezTo>
                    <a:pt x="528" y="987"/>
                    <a:pt x="528" y="987"/>
                    <a:pt x="528" y="987"/>
                  </a:cubicBezTo>
                  <a:cubicBezTo>
                    <a:pt x="545" y="997"/>
                    <a:pt x="562" y="1009"/>
                    <a:pt x="577" y="1025"/>
                  </a:cubicBezTo>
                  <a:cubicBezTo>
                    <a:pt x="668" y="1115"/>
                    <a:pt x="668" y="1263"/>
                    <a:pt x="577" y="1353"/>
                  </a:cubicBezTo>
                  <a:close/>
                  <a:moveTo>
                    <a:pt x="1512" y="90"/>
                  </a:moveTo>
                  <a:cubicBezTo>
                    <a:pt x="1421" y="0"/>
                    <a:pt x="1274" y="0"/>
                    <a:pt x="1183" y="90"/>
                  </a:cubicBezTo>
                  <a:cubicBezTo>
                    <a:pt x="1105" y="168"/>
                    <a:pt x="1105" y="168"/>
                    <a:pt x="1105" y="168"/>
                  </a:cubicBezTo>
                  <a:cubicBezTo>
                    <a:pt x="1025" y="249"/>
                    <a:pt x="1025" y="249"/>
                    <a:pt x="1025" y="249"/>
                  </a:cubicBezTo>
                  <a:cubicBezTo>
                    <a:pt x="1010" y="264"/>
                    <a:pt x="997" y="280"/>
                    <a:pt x="987" y="298"/>
                  </a:cubicBezTo>
                  <a:cubicBezTo>
                    <a:pt x="1191" y="298"/>
                    <a:pt x="1191" y="298"/>
                    <a:pt x="1191" y="298"/>
                  </a:cubicBezTo>
                  <a:cubicBezTo>
                    <a:pt x="1195" y="298"/>
                    <a:pt x="1199" y="298"/>
                    <a:pt x="1203" y="299"/>
                  </a:cubicBezTo>
                  <a:cubicBezTo>
                    <a:pt x="1220" y="282"/>
                    <a:pt x="1220" y="282"/>
                    <a:pt x="1220" y="282"/>
                  </a:cubicBezTo>
                  <a:cubicBezTo>
                    <a:pt x="1297" y="205"/>
                    <a:pt x="1297" y="205"/>
                    <a:pt x="1297" y="205"/>
                  </a:cubicBezTo>
                  <a:cubicBezTo>
                    <a:pt x="1325" y="177"/>
                    <a:pt x="1370" y="177"/>
                    <a:pt x="1397" y="205"/>
                  </a:cubicBezTo>
                  <a:cubicBezTo>
                    <a:pt x="1425" y="232"/>
                    <a:pt x="1425" y="277"/>
                    <a:pt x="1397" y="305"/>
                  </a:cubicBezTo>
                  <a:cubicBezTo>
                    <a:pt x="1318" y="384"/>
                    <a:pt x="1318" y="384"/>
                    <a:pt x="1318" y="384"/>
                  </a:cubicBezTo>
                  <a:cubicBezTo>
                    <a:pt x="1305" y="397"/>
                    <a:pt x="1305" y="397"/>
                    <a:pt x="1305" y="397"/>
                  </a:cubicBezTo>
                  <a:cubicBezTo>
                    <a:pt x="1305" y="402"/>
                    <a:pt x="1306" y="408"/>
                    <a:pt x="1306" y="413"/>
                  </a:cubicBezTo>
                  <a:cubicBezTo>
                    <a:pt x="1306" y="476"/>
                    <a:pt x="1254" y="528"/>
                    <a:pt x="1191" y="528"/>
                  </a:cubicBezTo>
                  <a:cubicBezTo>
                    <a:pt x="987" y="528"/>
                    <a:pt x="987" y="528"/>
                    <a:pt x="987" y="528"/>
                  </a:cubicBezTo>
                  <a:cubicBezTo>
                    <a:pt x="997" y="545"/>
                    <a:pt x="1009" y="562"/>
                    <a:pt x="1025" y="577"/>
                  </a:cubicBezTo>
                  <a:cubicBezTo>
                    <a:pt x="1115" y="668"/>
                    <a:pt x="1263" y="668"/>
                    <a:pt x="1353" y="577"/>
                  </a:cubicBezTo>
                  <a:cubicBezTo>
                    <a:pt x="1434" y="497"/>
                    <a:pt x="1434" y="497"/>
                    <a:pt x="1434" y="497"/>
                  </a:cubicBezTo>
                  <a:cubicBezTo>
                    <a:pt x="1512" y="419"/>
                    <a:pt x="1512" y="419"/>
                    <a:pt x="1512" y="419"/>
                  </a:cubicBezTo>
                  <a:cubicBezTo>
                    <a:pt x="1602" y="328"/>
                    <a:pt x="1602" y="181"/>
                    <a:pt x="1512" y="90"/>
                  </a:cubicBezTo>
                  <a:close/>
                  <a:moveTo>
                    <a:pt x="644" y="528"/>
                  </a:moveTo>
                  <a:cubicBezTo>
                    <a:pt x="641" y="528"/>
                    <a:pt x="639" y="528"/>
                    <a:pt x="636" y="527"/>
                  </a:cubicBezTo>
                  <a:cubicBezTo>
                    <a:pt x="591" y="572"/>
                    <a:pt x="591" y="572"/>
                    <a:pt x="591" y="572"/>
                  </a:cubicBezTo>
                  <a:cubicBezTo>
                    <a:pt x="527" y="636"/>
                    <a:pt x="527" y="636"/>
                    <a:pt x="527" y="636"/>
                  </a:cubicBezTo>
                  <a:cubicBezTo>
                    <a:pt x="528" y="639"/>
                    <a:pt x="528" y="641"/>
                    <a:pt x="528" y="644"/>
                  </a:cubicBezTo>
                  <a:cubicBezTo>
                    <a:pt x="528" y="858"/>
                    <a:pt x="528" y="858"/>
                    <a:pt x="528" y="858"/>
                  </a:cubicBezTo>
                  <a:cubicBezTo>
                    <a:pt x="553" y="846"/>
                    <a:pt x="576" y="830"/>
                    <a:pt x="597" y="809"/>
                  </a:cubicBezTo>
                  <a:cubicBezTo>
                    <a:pt x="711" y="695"/>
                    <a:pt x="711" y="695"/>
                    <a:pt x="711" y="695"/>
                  </a:cubicBezTo>
                  <a:cubicBezTo>
                    <a:pt x="813" y="593"/>
                    <a:pt x="813" y="593"/>
                    <a:pt x="813" y="593"/>
                  </a:cubicBezTo>
                  <a:cubicBezTo>
                    <a:pt x="833" y="573"/>
                    <a:pt x="848" y="551"/>
                    <a:pt x="860" y="528"/>
                  </a:cubicBezTo>
                  <a:lnTo>
                    <a:pt x="644" y="528"/>
                  </a:lnTo>
                  <a:close/>
                  <a:moveTo>
                    <a:pt x="529" y="413"/>
                  </a:moveTo>
                  <a:cubicBezTo>
                    <a:pt x="529" y="349"/>
                    <a:pt x="581" y="298"/>
                    <a:pt x="644" y="298"/>
                  </a:cubicBezTo>
                  <a:cubicBezTo>
                    <a:pt x="854" y="298"/>
                    <a:pt x="854" y="298"/>
                    <a:pt x="854" y="298"/>
                  </a:cubicBezTo>
                  <a:cubicBezTo>
                    <a:pt x="844" y="279"/>
                    <a:pt x="830" y="260"/>
                    <a:pt x="813" y="244"/>
                  </a:cubicBezTo>
                  <a:cubicBezTo>
                    <a:pt x="717" y="147"/>
                    <a:pt x="561" y="147"/>
                    <a:pt x="465" y="244"/>
                  </a:cubicBezTo>
                  <a:cubicBezTo>
                    <a:pt x="362" y="347"/>
                    <a:pt x="362" y="347"/>
                    <a:pt x="362" y="347"/>
                  </a:cubicBezTo>
                  <a:cubicBezTo>
                    <a:pt x="248" y="461"/>
                    <a:pt x="248" y="461"/>
                    <a:pt x="248" y="461"/>
                  </a:cubicBezTo>
                  <a:cubicBezTo>
                    <a:pt x="151" y="557"/>
                    <a:pt x="151" y="713"/>
                    <a:pt x="248" y="809"/>
                  </a:cubicBezTo>
                  <a:cubicBezTo>
                    <a:pt x="263" y="825"/>
                    <a:pt x="280" y="838"/>
                    <a:pt x="298" y="848"/>
                  </a:cubicBezTo>
                  <a:cubicBezTo>
                    <a:pt x="298" y="644"/>
                    <a:pt x="298" y="644"/>
                    <a:pt x="298" y="644"/>
                  </a:cubicBezTo>
                  <a:cubicBezTo>
                    <a:pt x="298" y="581"/>
                    <a:pt x="349" y="529"/>
                    <a:pt x="413" y="529"/>
                  </a:cubicBezTo>
                  <a:cubicBezTo>
                    <a:pt x="416" y="529"/>
                    <a:pt x="419" y="529"/>
                    <a:pt x="421" y="529"/>
                  </a:cubicBezTo>
                  <a:cubicBezTo>
                    <a:pt x="472" y="479"/>
                    <a:pt x="472" y="479"/>
                    <a:pt x="472" y="479"/>
                  </a:cubicBezTo>
                  <a:cubicBezTo>
                    <a:pt x="483" y="468"/>
                    <a:pt x="483" y="468"/>
                    <a:pt x="483" y="468"/>
                  </a:cubicBezTo>
                  <a:cubicBezTo>
                    <a:pt x="529" y="421"/>
                    <a:pt x="529" y="421"/>
                    <a:pt x="529" y="421"/>
                  </a:cubicBezTo>
                  <a:cubicBezTo>
                    <a:pt x="529" y="419"/>
                    <a:pt x="529" y="416"/>
                    <a:pt x="529" y="41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90" name="Group 89"/>
          <p:cNvGrpSpPr>
            <a:grpSpLocks noChangeAspect="1"/>
          </p:cNvGrpSpPr>
          <p:nvPr/>
        </p:nvGrpSpPr>
        <p:grpSpPr>
          <a:xfrm>
            <a:off x="3637389" y="1747396"/>
            <a:ext cx="929035" cy="929896"/>
            <a:chOff x="5273801" y="2606040"/>
            <a:chExt cx="1644396" cy="1645920"/>
          </a:xfrm>
        </p:grpSpPr>
        <p:sp>
          <p:nvSpPr>
            <p:cNvPr id="91" name="AutoShape 3">
              <a:extLst>
                <a:ext uri="{FF2B5EF4-FFF2-40B4-BE49-F238E27FC236}">
                  <a16:creationId xmlns="" xmlns:a16="http://schemas.microsoft.com/office/drawing/2014/main" id="{A685C9B5-CAF2-4A20-BBFD-4AE9FAD941A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92" name="Group 91"/>
            <p:cNvGrpSpPr/>
            <p:nvPr/>
          </p:nvGrpSpPr>
          <p:grpSpPr>
            <a:xfrm>
              <a:off x="5432297" y="2803017"/>
              <a:ext cx="1330452" cy="1251585"/>
              <a:chOff x="5432297" y="2803017"/>
              <a:chExt cx="1330452" cy="1251585"/>
            </a:xfrm>
          </p:grpSpPr>
          <p:sp>
            <p:nvSpPr>
              <p:cNvPr id="93" name="Freeform 6">
                <a:extLst>
                  <a:ext uri="{FF2B5EF4-FFF2-40B4-BE49-F238E27FC236}">
                    <a16:creationId xmlns="" xmlns:a16="http://schemas.microsoft.com/office/drawing/2014/main" id="{2F934ACA-6C4E-4F6E-932A-23F3708462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32297" y="2803017"/>
                <a:ext cx="1330452" cy="1251585"/>
              </a:xfrm>
              <a:custGeom>
                <a:avLst/>
                <a:gdLst>
                  <a:gd name="T0" fmla="*/ 1016 w 1864"/>
                  <a:gd name="T1" fmla="*/ 1613 h 1752"/>
                  <a:gd name="T2" fmla="*/ 97 w 1864"/>
                  <a:gd name="T3" fmla="*/ 1503 h 1752"/>
                  <a:gd name="T4" fmla="*/ 239 w 1864"/>
                  <a:gd name="T5" fmla="*/ 707 h 1752"/>
                  <a:gd name="T6" fmla="*/ 521 w 1864"/>
                  <a:gd name="T7" fmla="*/ 396 h 1752"/>
                  <a:gd name="T8" fmla="*/ 501 w 1864"/>
                  <a:gd name="T9" fmla="*/ 361 h 1752"/>
                  <a:gd name="T10" fmla="*/ 436 w 1864"/>
                  <a:gd name="T11" fmla="*/ 117 h 1752"/>
                  <a:gd name="T12" fmla="*/ 496 w 1864"/>
                  <a:gd name="T13" fmla="*/ 32 h 1752"/>
                  <a:gd name="T14" fmla="*/ 842 w 1864"/>
                  <a:gd name="T15" fmla="*/ 0 h 1752"/>
                  <a:gd name="T16" fmla="*/ 922 w 1864"/>
                  <a:gd name="T17" fmla="*/ 89 h 1752"/>
                  <a:gd name="T18" fmla="*/ 1053 w 1864"/>
                  <a:gd name="T19" fmla="*/ 197 h 1752"/>
                  <a:gd name="T20" fmla="*/ 911 w 1864"/>
                  <a:gd name="T21" fmla="*/ 362 h 1752"/>
                  <a:gd name="T22" fmla="*/ 905 w 1864"/>
                  <a:gd name="T23" fmla="*/ 418 h 1752"/>
                  <a:gd name="T24" fmla="*/ 1287 w 1864"/>
                  <a:gd name="T25" fmla="*/ 872 h 1752"/>
                  <a:gd name="T26" fmla="*/ 877 w 1864"/>
                  <a:gd name="T27" fmla="*/ 452 h 1752"/>
                  <a:gd name="T28" fmla="*/ 882 w 1864"/>
                  <a:gd name="T29" fmla="*/ 329 h 1752"/>
                  <a:gd name="T30" fmla="*/ 904 w 1864"/>
                  <a:gd name="T31" fmla="*/ 129 h 1752"/>
                  <a:gd name="T32" fmla="*/ 819 w 1864"/>
                  <a:gd name="T33" fmla="*/ 273 h 1752"/>
                  <a:gd name="T34" fmla="*/ 799 w 1864"/>
                  <a:gd name="T35" fmla="*/ 242 h 1752"/>
                  <a:gd name="T36" fmla="*/ 880 w 1864"/>
                  <a:gd name="T37" fmla="*/ 56 h 1752"/>
                  <a:gd name="T38" fmla="*/ 843 w 1864"/>
                  <a:gd name="T39" fmla="*/ 44 h 1752"/>
                  <a:gd name="T40" fmla="*/ 569 w 1864"/>
                  <a:gd name="T41" fmla="*/ 44 h 1752"/>
                  <a:gd name="T42" fmla="*/ 542 w 1864"/>
                  <a:gd name="T43" fmla="*/ 98 h 1752"/>
                  <a:gd name="T44" fmla="*/ 603 w 1864"/>
                  <a:gd name="T45" fmla="*/ 271 h 1752"/>
                  <a:gd name="T46" fmla="*/ 509 w 1864"/>
                  <a:gd name="T47" fmla="*/ 129 h 1752"/>
                  <a:gd name="T48" fmla="*/ 531 w 1864"/>
                  <a:gd name="T49" fmla="*/ 329 h 1752"/>
                  <a:gd name="T50" fmla="*/ 536 w 1864"/>
                  <a:gd name="T51" fmla="*/ 452 h 1752"/>
                  <a:gd name="T52" fmla="*/ 50 w 1864"/>
                  <a:gd name="T53" fmla="*/ 1247 h 1752"/>
                  <a:gd name="T54" fmla="*/ 397 w 1864"/>
                  <a:gd name="T55" fmla="*/ 1569 h 1752"/>
                  <a:gd name="T56" fmla="*/ 1034 w 1864"/>
                  <a:gd name="T57" fmla="*/ 1569 h 1752"/>
                  <a:gd name="T58" fmla="*/ 1631 w 1864"/>
                  <a:gd name="T59" fmla="*/ 1398 h 1752"/>
                  <a:gd name="T60" fmla="*/ 1509 w 1864"/>
                  <a:gd name="T61" fmla="*/ 1736 h 1752"/>
                  <a:gd name="T62" fmla="*/ 1201 w 1864"/>
                  <a:gd name="T63" fmla="*/ 1736 h 1752"/>
                  <a:gd name="T64" fmla="*/ 1078 w 1864"/>
                  <a:gd name="T65" fmla="*/ 1618 h 1752"/>
                  <a:gd name="T66" fmla="*/ 1201 w 1864"/>
                  <a:gd name="T67" fmla="*/ 1280 h 1752"/>
                  <a:gd name="T68" fmla="*/ 1509 w 1864"/>
                  <a:gd name="T69" fmla="*/ 1280 h 1752"/>
                  <a:gd name="T70" fmla="*/ 1631 w 1864"/>
                  <a:gd name="T71" fmla="*/ 1398 h 1752"/>
                  <a:gd name="T72" fmla="*/ 1498 w 1864"/>
                  <a:gd name="T73" fmla="*/ 1323 h 1752"/>
                  <a:gd name="T74" fmla="*/ 1211 w 1864"/>
                  <a:gd name="T75" fmla="*/ 1323 h 1752"/>
                  <a:gd name="T76" fmla="*/ 1122 w 1864"/>
                  <a:gd name="T77" fmla="*/ 1618 h 1752"/>
                  <a:gd name="T78" fmla="*/ 1355 w 1864"/>
                  <a:gd name="T79" fmla="*/ 1708 h 1752"/>
                  <a:gd name="T80" fmla="*/ 1587 w 1864"/>
                  <a:gd name="T81" fmla="*/ 1618 h 1752"/>
                  <a:gd name="T82" fmla="*/ 1806 w 1864"/>
                  <a:gd name="T83" fmla="*/ 853 h 1752"/>
                  <a:gd name="T84" fmla="*/ 1587 w 1864"/>
                  <a:gd name="T85" fmla="*/ 812 h 1752"/>
                  <a:gd name="T86" fmla="*/ 1311 w 1864"/>
                  <a:gd name="T87" fmla="*/ 946 h 1752"/>
                  <a:gd name="T88" fmla="*/ 1355 w 1864"/>
                  <a:gd name="T89" fmla="*/ 1220 h 1752"/>
                  <a:gd name="T90" fmla="*/ 1355 w 1864"/>
                  <a:gd name="T91" fmla="*/ 946 h 1752"/>
                  <a:gd name="T92" fmla="*/ 1587 w 1864"/>
                  <a:gd name="T93" fmla="*/ 856 h 1752"/>
                  <a:gd name="T94" fmla="*/ 1820 w 1864"/>
                  <a:gd name="T95" fmla="*/ 946 h 1752"/>
                  <a:gd name="T96" fmla="*/ 1731 w 1864"/>
                  <a:gd name="T97" fmla="*/ 1580 h 1752"/>
                  <a:gd name="T98" fmla="*/ 1675 w 1864"/>
                  <a:gd name="T99" fmla="*/ 1618 h 1752"/>
                  <a:gd name="T100" fmla="*/ 1741 w 1864"/>
                  <a:gd name="T101" fmla="*/ 1623 h 1752"/>
                  <a:gd name="T102" fmla="*/ 1864 w 1864"/>
                  <a:gd name="T103" fmla="*/ 946 h 17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864" h="1752">
                    <a:moveTo>
                      <a:pt x="1034" y="1613"/>
                    </a:moveTo>
                    <a:cubicBezTo>
                      <a:pt x="1028" y="1613"/>
                      <a:pt x="1022" y="1613"/>
                      <a:pt x="1016" y="1613"/>
                    </a:cubicBezTo>
                    <a:cubicBezTo>
                      <a:pt x="397" y="1613"/>
                      <a:pt x="397" y="1613"/>
                      <a:pt x="397" y="1613"/>
                    </a:cubicBezTo>
                    <a:cubicBezTo>
                      <a:pt x="266" y="1613"/>
                      <a:pt x="165" y="1576"/>
                      <a:pt x="97" y="1503"/>
                    </a:cubicBezTo>
                    <a:cubicBezTo>
                      <a:pt x="0" y="1398"/>
                      <a:pt x="5" y="1258"/>
                      <a:pt x="6" y="1245"/>
                    </a:cubicBezTo>
                    <a:cubicBezTo>
                      <a:pt x="6" y="1088"/>
                      <a:pt x="84" y="907"/>
                      <a:pt x="239" y="707"/>
                    </a:cubicBezTo>
                    <a:cubicBezTo>
                      <a:pt x="352" y="560"/>
                      <a:pt x="474" y="446"/>
                      <a:pt x="508" y="418"/>
                    </a:cubicBezTo>
                    <a:cubicBezTo>
                      <a:pt x="521" y="407"/>
                      <a:pt x="521" y="399"/>
                      <a:pt x="521" y="396"/>
                    </a:cubicBezTo>
                    <a:cubicBezTo>
                      <a:pt x="521" y="381"/>
                      <a:pt x="506" y="365"/>
                      <a:pt x="502" y="362"/>
                    </a:cubicBezTo>
                    <a:cubicBezTo>
                      <a:pt x="502" y="362"/>
                      <a:pt x="502" y="361"/>
                      <a:pt x="501" y="361"/>
                    </a:cubicBezTo>
                    <a:cubicBezTo>
                      <a:pt x="451" y="314"/>
                      <a:pt x="365" y="230"/>
                      <a:pt x="360" y="197"/>
                    </a:cubicBezTo>
                    <a:cubicBezTo>
                      <a:pt x="356" y="173"/>
                      <a:pt x="378" y="150"/>
                      <a:pt x="436" y="117"/>
                    </a:cubicBezTo>
                    <a:cubicBezTo>
                      <a:pt x="457" y="106"/>
                      <a:pt x="477" y="96"/>
                      <a:pt x="491" y="89"/>
                    </a:cubicBezTo>
                    <a:cubicBezTo>
                      <a:pt x="484" y="67"/>
                      <a:pt x="486" y="48"/>
                      <a:pt x="496" y="32"/>
                    </a:cubicBezTo>
                    <a:cubicBezTo>
                      <a:pt x="517" y="0"/>
                      <a:pt x="563" y="0"/>
                      <a:pt x="571" y="0"/>
                    </a:cubicBezTo>
                    <a:cubicBezTo>
                      <a:pt x="842" y="0"/>
                      <a:pt x="842" y="0"/>
                      <a:pt x="842" y="0"/>
                    </a:cubicBezTo>
                    <a:cubicBezTo>
                      <a:pt x="850" y="0"/>
                      <a:pt x="896" y="0"/>
                      <a:pt x="917" y="32"/>
                    </a:cubicBezTo>
                    <a:cubicBezTo>
                      <a:pt x="927" y="48"/>
                      <a:pt x="928" y="67"/>
                      <a:pt x="922" y="89"/>
                    </a:cubicBezTo>
                    <a:cubicBezTo>
                      <a:pt x="936" y="96"/>
                      <a:pt x="956" y="106"/>
                      <a:pt x="977" y="117"/>
                    </a:cubicBezTo>
                    <a:cubicBezTo>
                      <a:pt x="1035" y="150"/>
                      <a:pt x="1057" y="173"/>
                      <a:pt x="1053" y="197"/>
                    </a:cubicBezTo>
                    <a:cubicBezTo>
                      <a:pt x="1047" y="230"/>
                      <a:pt x="962" y="314"/>
                      <a:pt x="912" y="361"/>
                    </a:cubicBezTo>
                    <a:cubicBezTo>
                      <a:pt x="911" y="361"/>
                      <a:pt x="911" y="362"/>
                      <a:pt x="911" y="362"/>
                    </a:cubicBezTo>
                    <a:cubicBezTo>
                      <a:pt x="906" y="366"/>
                      <a:pt x="892" y="382"/>
                      <a:pt x="892" y="396"/>
                    </a:cubicBezTo>
                    <a:cubicBezTo>
                      <a:pt x="892" y="399"/>
                      <a:pt x="892" y="407"/>
                      <a:pt x="905" y="418"/>
                    </a:cubicBezTo>
                    <a:cubicBezTo>
                      <a:pt x="939" y="446"/>
                      <a:pt x="1061" y="560"/>
                      <a:pt x="1174" y="707"/>
                    </a:cubicBezTo>
                    <a:cubicBezTo>
                      <a:pt x="1218" y="763"/>
                      <a:pt x="1255" y="818"/>
                      <a:pt x="1287" y="872"/>
                    </a:cubicBezTo>
                    <a:cubicBezTo>
                      <a:pt x="1275" y="891"/>
                      <a:pt x="1270" y="910"/>
                      <a:pt x="1268" y="927"/>
                    </a:cubicBezTo>
                    <a:cubicBezTo>
                      <a:pt x="1127" y="669"/>
                      <a:pt x="881" y="455"/>
                      <a:pt x="877" y="452"/>
                    </a:cubicBezTo>
                    <a:cubicBezTo>
                      <a:pt x="854" y="432"/>
                      <a:pt x="848" y="411"/>
                      <a:pt x="848" y="396"/>
                    </a:cubicBezTo>
                    <a:cubicBezTo>
                      <a:pt x="848" y="360"/>
                      <a:pt x="877" y="333"/>
                      <a:pt x="882" y="329"/>
                    </a:cubicBezTo>
                    <a:cubicBezTo>
                      <a:pt x="936" y="278"/>
                      <a:pt x="997" y="214"/>
                      <a:pt x="1009" y="192"/>
                    </a:cubicBezTo>
                    <a:cubicBezTo>
                      <a:pt x="998" y="179"/>
                      <a:pt x="953" y="152"/>
                      <a:pt x="904" y="129"/>
                    </a:cubicBezTo>
                    <a:cubicBezTo>
                      <a:pt x="861" y="212"/>
                      <a:pt x="839" y="260"/>
                      <a:pt x="839" y="260"/>
                    </a:cubicBezTo>
                    <a:cubicBezTo>
                      <a:pt x="835" y="268"/>
                      <a:pt x="827" y="273"/>
                      <a:pt x="819" y="273"/>
                    </a:cubicBezTo>
                    <a:cubicBezTo>
                      <a:pt x="816" y="273"/>
                      <a:pt x="813" y="273"/>
                      <a:pt x="810" y="271"/>
                    </a:cubicBezTo>
                    <a:cubicBezTo>
                      <a:pt x="799" y="266"/>
                      <a:pt x="794" y="253"/>
                      <a:pt x="799" y="242"/>
                    </a:cubicBezTo>
                    <a:cubicBezTo>
                      <a:pt x="800" y="240"/>
                      <a:pt x="824" y="188"/>
                      <a:pt x="871" y="98"/>
                    </a:cubicBezTo>
                    <a:cubicBezTo>
                      <a:pt x="881" y="78"/>
                      <a:pt x="884" y="63"/>
                      <a:pt x="880" y="56"/>
                    </a:cubicBezTo>
                    <a:cubicBezTo>
                      <a:pt x="874" y="46"/>
                      <a:pt x="852" y="44"/>
                      <a:pt x="844" y="44"/>
                    </a:cubicBezTo>
                    <a:cubicBezTo>
                      <a:pt x="843" y="44"/>
                      <a:pt x="843" y="44"/>
                      <a:pt x="843" y="44"/>
                    </a:cubicBezTo>
                    <a:cubicBezTo>
                      <a:pt x="570" y="44"/>
                      <a:pt x="570" y="44"/>
                      <a:pt x="570" y="44"/>
                    </a:cubicBezTo>
                    <a:cubicBezTo>
                      <a:pt x="570" y="44"/>
                      <a:pt x="569" y="44"/>
                      <a:pt x="569" y="44"/>
                    </a:cubicBezTo>
                    <a:cubicBezTo>
                      <a:pt x="560" y="44"/>
                      <a:pt x="539" y="46"/>
                      <a:pt x="533" y="56"/>
                    </a:cubicBezTo>
                    <a:cubicBezTo>
                      <a:pt x="529" y="63"/>
                      <a:pt x="532" y="78"/>
                      <a:pt x="542" y="98"/>
                    </a:cubicBezTo>
                    <a:cubicBezTo>
                      <a:pt x="589" y="188"/>
                      <a:pt x="613" y="240"/>
                      <a:pt x="614" y="242"/>
                    </a:cubicBezTo>
                    <a:cubicBezTo>
                      <a:pt x="619" y="253"/>
                      <a:pt x="614" y="266"/>
                      <a:pt x="603" y="271"/>
                    </a:cubicBezTo>
                    <a:cubicBezTo>
                      <a:pt x="592" y="276"/>
                      <a:pt x="579" y="271"/>
                      <a:pt x="574" y="260"/>
                    </a:cubicBezTo>
                    <a:cubicBezTo>
                      <a:pt x="574" y="260"/>
                      <a:pt x="552" y="212"/>
                      <a:pt x="509" y="129"/>
                    </a:cubicBezTo>
                    <a:cubicBezTo>
                      <a:pt x="460" y="152"/>
                      <a:pt x="415" y="179"/>
                      <a:pt x="404" y="192"/>
                    </a:cubicBezTo>
                    <a:cubicBezTo>
                      <a:pt x="415" y="214"/>
                      <a:pt x="477" y="278"/>
                      <a:pt x="531" y="329"/>
                    </a:cubicBezTo>
                    <a:cubicBezTo>
                      <a:pt x="536" y="333"/>
                      <a:pt x="565" y="360"/>
                      <a:pt x="565" y="396"/>
                    </a:cubicBezTo>
                    <a:cubicBezTo>
                      <a:pt x="565" y="411"/>
                      <a:pt x="559" y="432"/>
                      <a:pt x="536" y="452"/>
                    </a:cubicBezTo>
                    <a:cubicBezTo>
                      <a:pt x="531" y="456"/>
                      <a:pt x="50" y="873"/>
                      <a:pt x="50" y="1246"/>
                    </a:cubicBezTo>
                    <a:cubicBezTo>
                      <a:pt x="50" y="1246"/>
                      <a:pt x="50" y="1247"/>
                      <a:pt x="50" y="1247"/>
                    </a:cubicBezTo>
                    <a:cubicBezTo>
                      <a:pt x="50" y="1248"/>
                      <a:pt x="42" y="1380"/>
                      <a:pt x="130" y="1473"/>
                    </a:cubicBezTo>
                    <a:cubicBezTo>
                      <a:pt x="189" y="1537"/>
                      <a:pt x="279" y="1569"/>
                      <a:pt x="397" y="1569"/>
                    </a:cubicBezTo>
                    <a:cubicBezTo>
                      <a:pt x="1016" y="1569"/>
                      <a:pt x="1016" y="1569"/>
                      <a:pt x="1016" y="1569"/>
                    </a:cubicBezTo>
                    <a:cubicBezTo>
                      <a:pt x="1022" y="1569"/>
                      <a:pt x="1028" y="1569"/>
                      <a:pt x="1034" y="1569"/>
                    </a:cubicBezTo>
                    <a:lnTo>
                      <a:pt x="1034" y="1613"/>
                    </a:lnTo>
                    <a:close/>
                    <a:moveTo>
                      <a:pt x="1631" y="1398"/>
                    </a:moveTo>
                    <a:cubicBezTo>
                      <a:pt x="1631" y="1618"/>
                      <a:pt x="1631" y="1618"/>
                      <a:pt x="1631" y="1618"/>
                    </a:cubicBezTo>
                    <a:cubicBezTo>
                      <a:pt x="1631" y="1658"/>
                      <a:pt x="1610" y="1711"/>
                      <a:pt x="1509" y="1736"/>
                    </a:cubicBezTo>
                    <a:cubicBezTo>
                      <a:pt x="1467" y="1746"/>
                      <a:pt x="1412" y="1752"/>
                      <a:pt x="1355" y="1752"/>
                    </a:cubicBezTo>
                    <a:cubicBezTo>
                      <a:pt x="1298" y="1752"/>
                      <a:pt x="1243" y="1746"/>
                      <a:pt x="1201" y="1736"/>
                    </a:cubicBezTo>
                    <a:cubicBezTo>
                      <a:pt x="1188" y="1733"/>
                      <a:pt x="1161" y="1726"/>
                      <a:pt x="1136" y="1712"/>
                    </a:cubicBezTo>
                    <a:cubicBezTo>
                      <a:pt x="1099" y="1690"/>
                      <a:pt x="1078" y="1657"/>
                      <a:pt x="1078" y="1618"/>
                    </a:cubicBezTo>
                    <a:cubicBezTo>
                      <a:pt x="1078" y="1398"/>
                      <a:pt x="1078" y="1398"/>
                      <a:pt x="1078" y="1398"/>
                    </a:cubicBezTo>
                    <a:cubicBezTo>
                      <a:pt x="1078" y="1358"/>
                      <a:pt x="1099" y="1305"/>
                      <a:pt x="1201" y="1280"/>
                    </a:cubicBezTo>
                    <a:cubicBezTo>
                      <a:pt x="1243" y="1270"/>
                      <a:pt x="1298" y="1264"/>
                      <a:pt x="1355" y="1264"/>
                    </a:cubicBezTo>
                    <a:cubicBezTo>
                      <a:pt x="1412" y="1264"/>
                      <a:pt x="1467" y="1270"/>
                      <a:pt x="1509" y="1280"/>
                    </a:cubicBezTo>
                    <a:cubicBezTo>
                      <a:pt x="1522" y="1283"/>
                      <a:pt x="1548" y="1290"/>
                      <a:pt x="1573" y="1304"/>
                    </a:cubicBezTo>
                    <a:cubicBezTo>
                      <a:pt x="1611" y="1326"/>
                      <a:pt x="1631" y="1360"/>
                      <a:pt x="1631" y="1398"/>
                    </a:cubicBezTo>
                    <a:close/>
                    <a:moveTo>
                      <a:pt x="1587" y="1398"/>
                    </a:moveTo>
                    <a:cubicBezTo>
                      <a:pt x="1587" y="1344"/>
                      <a:pt x="1520" y="1328"/>
                      <a:pt x="1498" y="1323"/>
                    </a:cubicBezTo>
                    <a:cubicBezTo>
                      <a:pt x="1459" y="1313"/>
                      <a:pt x="1408" y="1308"/>
                      <a:pt x="1355" y="1308"/>
                    </a:cubicBezTo>
                    <a:cubicBezTo>
                      <a:pt x="1301" y="1308"/>
                      <a:pt x="1250" y="1313"/>
                      <a:pt x="1211" y="1323"/>
                    </a:cubicBezTo>
                    <a:cubicBezTo>
                      <a:pt x="1189" y="1328"/>
                      <a:pt x="1122" y="1344"/>
                      <a:pt x="1122" y="1398"/>
                    </a:cubicBezTo>
                    <a:cubicBezTo>
                      <a:pt x="1122" y="1618"/>
                      <a:pt x="1122" y="1618"/>
                      <a:pt x="1122" y="1618"/>
                    </a:cubicBezTo>
                    <a:cubicBezTo>
                      <a:pt x="1122" y="1672"/>
                      <a:pt x="1189" y="1688"/>
                      <a:pt x="1211" y="1693"/>
                    </a:cubicBezTo>
                    <a:cubicBezTo>
                      <a:pt x="1250" y="1703"/>
                      <a:pt x="1301" y="1708"/>
                      <a:pt x="1355" y="1708"/>
                    </a:cubicBezTo>
                    <a:cubicBezTo>
                      <a:pt x="1408" y="1708"/>
                      <a:pt x="1459" y="1703"/>
                      <a:pt x="1498" y="1693"/>
                    </a:cubicBezTo>
                    <a:cubicBezTo>
                      <a:pt x="1520" y="1688"/>
                      <a:pt x="1587" y="1672"/>
                      <a:pt x="1587" y="1618"/>
                    </a:cubicBezTo>
                    <a:lnTo>
                      <a:pt x="1587" y="1398"/>
                    </a:lnTo>
                    <a:close/>
                    <a:moveTo>
                      <a:pt x="1806" y="853"/>
                    </a:moveTo>
                    <a:cubicBezTo>
                      <a:pt x="1781" y="838"/>
                      <a:pt x="1754" y="832"/>
                      <a:pt x="1741" y="828"/>
                    </a:cubicBezTo>
                    <a:cubicBezTo>
                      <a:pt x="1699" y="818"/>
                      <a:pt x="1644" y="812"/>
                      <a:pt x="1587" y="812"/>
                    </a:cubicBezTo>
                    <a:cubicBezTo>
                      <a:pt x="1530" y="812"/>
                      <a:pt x="1475" y="818"/>
                      <a:pt x="1433" y="828"/>
                    </a:cubicBezTo>
                    <a:cubicBezTo>
                      <a:pt x="1332" y="853"/>
                      <a:pt x="1311" y="906"/>
                      <a:pt x="1311" y="946"/>
                    </a:cubicBezTo>
                    <a:cubicBezTo>
                      <a:pt x="1311" y="1221"/>
                      <a:pt x="1311" y="1221"/>
                      <a:pt x="1311" y="1221"/>
                    </a:cubicBezTo>
                    <a:cubicBezTo>
                      <a:pt x="1325" y="1221"/>
                      <a:pt x="1340" y="1220"/>
                      <a:pt x="1355" y="1220"/>
                    </a:cubicBezTo>
                    <a:cubicBezTo>
                      <a:pt x="1355" y="1220"/>
                      <a:pt x="1355" y="1220"/>
                      <a:pt x="1355" y="1220"/>
                    </a:cubicBezTo>
                    <a:cubicBezTo>
                      <a:pt x="1355" y="946"/>
                      <a:pt x="1355" y="946"/>
                      <a:pt x="1355" y="946"/>
                    </a:cubicBezTo>
                    <a:cubicBezTo>
                      <a:pt x="1355" y="893"/>
                      <a:pt x="1422" y="877"/>
                      <a:pt x="1444" y="871"/>
                    </a:cubicBezTo>
                    <a:cubicBezTo>
                      <a:pt x="1482" y="862"/>
                      <a:pt x="1533" y="856"/>
                      <a:pt x="1587" y="856"/>
                    </a:cubicBezTo>
                    <a:cubicBezTo>
                      <a:pt x="1641" y="856"/>
                      <a:pt x="1692" y="862"/>
                      <a:pt x="1731" y="871"/>
                    </a:cubicBezTo>
                    <a:cubicBezTo>
                      <a:pt x="1753" y="877"/>
                      <a:pt x="1820" y="893"/>
                      <a:pt x="1820" y="946"/>
                    </a:cubicBezTo>
                    <a:cubicBezTo>
                      <a:pt x="1820" y="1505"/>
                      <a:pt x="1820" y="1505"/>
                      <a:pt x="1820" y="1505"/>
                    </a:cubicBezTo>
                    <a:cubicBezTo>
                      <a:pt x="1820" y="1558"/>
                      <a:pt x="1753" y="1575"/>
                      <a:pt x="1731" y="1580"/>
                    </a:cubicBezTo>
                    <a:cubicBezTo>
                      <a:pt x="1714" y="1584"/>
                      <a:pt x="1696" y="1587"/>
                      <a:pt x="1675" y="1590"/>
                    </a:cubicBezTo>
                    <a:cubicBezTo>
                      <a:pt x="1675" y="1618"/>
                      <a:pt x="1675" y="1618"/>
                      <a:pt x="1675" y="1618"/>
                    </a:cubicBezTo>
                    <a:cubicBezTo>
                      <a:pt x="1675" y="1623"/>
                      <a:pt x="1675" y="1628"/>
                      <a:pt x="1674" y="1634"/>
                    </a:cubicBezTo>
                    <a:cubicBezTo>
                      <a:pt x="1699" y="1631"/>
                      <a:pt x="1721" y="1628"/>
                      <a:pt x="1741" y="1623"/>
                    </a:cubicBezTo>
                    <a:cubicBezTo>
                      <a:pt x="1843" y="1598"/>
                      <a:pt x="1864" y="1545"/>
                      <a:pt x="1864" y="1505"/>
                    </a:cubicBezTo>
                    <a:cubicBezTo>
                      <a:pt x="1864" y="946"/>
                      <a:pt x="1864" y="946"/>
                      <a:pt x="1864" y="946"/>
                    </a:cubicBezTo>
                    <a:cubicBezTo>
                      <a:pt x="1864" y="908"/>
                      <a:pt x="1843" y="875"/>
                      <a:pt x="1806" y="85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4" name="Freeform 7">
                <a:extLst>
                  <a:ext uri="{FF2B5EF4-FFF2-40B4-BE49-F238E27FC236}">
                    <a16:creationId xmlns="" xmlns:a16="http://schemas.microsoft.com/office/drawing/2014/main" id="{E383ECDE-E767-4F2A-BC6F-349520F6FA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89447" y="3074670"/>
                <a:ext cx="1210437" cy="917067"/>
              </a:xfrm>
              <a:custGeom>
                <a:avLst/>
                <a:gdLst>
                  <a:gd name="T0" fmla="*/ 936 w 1696"/>
                  <a:gd name="T1" fmla="*/ 1153 h 1284"/>
                  <a:gd name="T2" fmla="*/ 76 w 1696"/>
                  <a:gd name="T3" fmla="*/ 1069 h 1284"/>
                  <a:gd name="T4" fmla="*/ 6 w 1696"/>
                  <a:gd name="T5" fmla="*/ 866 h 1284"/>
                  <a:gd name="T6" fmla="*/ 479 w 1696"/>
                  <a:gd name="T7" fmla="*/ 99 h 1284"/>
                  <a:gd name="T8" fmla="*/ 520 w 1696"/>
                  <a:gd name="T9" fmla="*/ 3 h 1284"/>
                  <a:gd name="T10" fmla="*/ 733 w 1696"/>
                  <a:gd name="T11" fmla="*/ 3 h 1284"/>
                  <a:gd name="T12" fmla="*/ 774 w 1696"/>
                  <a:gd name="T13" fmla="*/ 99 h 1284"/>
                  <a:gd name="T14" fmla="*/ 1187 w 1696"/>
                  <a:gd name="T15" fmla="*/ 626 h 1284"/>
                  <a:gd name="T16" fmla="*/ 1110 w 1696"/>
                  <a:gd name="T17" fmla="*/ 857 h 1284"/>
                  <a:gd name="T18" fmla="*/ 954 w 1696"/>
                  <a:gd name="T19" fmla="*/ 1153 h 1284"/>
                  <a:gd name="T20" fmla="*/ 1651 w 1696"/>
                  <a:gd name="T21" fmla="*/ 754 h 1284"/>
                  <a:gd name="T22" fmla="*/ 1364 w 1696"/>
                  <a:gd name="T23" fmla="*/ 754 h 1284"/>
                  <a:gd name="T24" fmla="*/ 1319 w 1696"/>
                  <a:gd name="T25" fmla="*/ 788 h 1284"/>
                  <a:gd name="T26" fmla="*/ 1319 w 1696"/>
                  <a:gd name="T27" fmla="*/ 790 h 1284"/>
                  <a:gd name="T28" fmla="*/ 1507 w 1696"/>
                  <a:gd name="T29" fmla="*/ 836 h 1284"/>
                  <a:gd name="T30" fmla="*/ 1696 w 1696"/>
                  <a:gd name="T31" fmla="*/ 790 h 1284"/>
                  <a:gd name="T32" fmla="*/ 1696 w 1696"/>
                  <a:gd name="T33" fmla="*/ 788 h 1284"/>
                  <a:gd name="T34" fmla="*/ 1507 w 1696"/>
                  <a:gd name="T35" fmla="*/ 656 h 1284"/>
                  <a:gd name="T36" fmla="*/ 1319 w 1696"/>
                  <a:gd name="T37" fmla="*/ 626 h 1284"/>
                  <a:gd name="T38" fmla="*/ 1319 w 1696"/>
                  <a:gd name="T39" fmla="*/ 675 h 1284"/>
                  <a:gd name="T40" fmla="*/ 1319 w 1696"/>
                  <a:gd name="T41" fmla="*/ 678 h 1284"/>
                  <a:gd name="T42" fmla="*/ 1696 w 1696"/>
                  <a:gd name="T43" fmla="*/ 678 h 1284"/>
                  <a:gd name="T44" fmla="*/ 1695 w 1696"/>
                  <a:gd name="T45" fmla="*/ 675 h 1284"/>
                  <a:gd name="T46" fmla="*/ 1696 w 1696"/>
                  <a:gd name="T47" fmla="*/ 626 h 1284"/>
                  <a:gd name="T48" fmla="*/ 1507 w 1696"/>
                  <a:gd name="T49" fmla="*/ 656 h 1284"/>
                  <a:gd name="T50" fmla="*/ 1131 w 1696"/>
                  <a:gd name="T51" fmla="*/ 1091 h 1284"/>
                  <a:gd name="T52" fmla="*/ 1086 w 1696"/>
                  <a:gd name="T53" fmla="*/ 1125 h 1284"/>
                  <a:gd name="T54" fmla="*/ 1086 w 1696"/>
                  <a:gd name="T55" fmla="*/ 1128 h 1284"/>
                  <a:gd name="T56" fmla="*/ 1275 w 1696"/>
                  <a:gd name="T57" fmla="*/ 1174 h 1284"/>
                  <a:gd name="T58" fmla="*/ 1463 w 1696"/>
                  <a:gd name="T59" fmla="*/ 1128 h 1284"/>
                  <a:gd name="T60" fmla="*/ 1463 w 1696"/>
                  <a:gd name="T61" fmla="*/ 1125 h 1284"/>
                  <a:gd name="T62" fmla="*/ 1418 w 1696"/>
                  <a:gd name="T63" fmla="*/ 1091 h 1284"/>
                  <a:gd name="T64" fmla="*/ 1418 w 1696"/>
                  <a:gd name="T65" fmla="*/ 1203 h 1284"/>
                  <a:gd name="T66" fmla="*/ 1131 w 1696"/>
                  <a:gd name="T67" fmla="*/ 1203 h 1284"/>
                  <a:gd name="T68" fmla="*/ 1086 w 1696"/>
                  <a:gd name="T69" fmla="*/ 1237 h 1284"/>
                  <a:gd name="T70" fmla="*/ 1086 w 1696"/>
                  <a:gd name="T71" fmla="*/ 1239 h 1284"/>
                  <a:gd name="T72" fmla="*/ 1463 w 1696"/>
                  <a:gd name="T73" fmla="*/ 1239 h 1284"/>
                  <a:gd name="T74" fmla="*/ 1463 w 1696"/>
                  <a:gd name="T75" fmla="*/ 1237 h 1284"/>
                  <a:gd name="T76" fmla="*/ 1418 w 1696"/>
                  <a:gd name="T77" fmla="*/ 1203 h 1284"/>
                  <a:gd name="T78" fmla="*/ 1463 w 1696"/>
                  <a:gd name="T79" fmla="*/ 1017 h 1284"/>
                  <a:gd name="T80" fmla="*/ 1086 w 1696"/>
                  <a:gd name="T81" fmla="*/ 1017 h 1284"/>
                  <a:gd name="T82" fmla="*/ 1696 w 1696"/>
                  <a:gd name="T83" fmla="*/ 850 h 1284"/>
                  <a:gd name="T84" fmla="*/ 1507 w 1696"/>
                  <a:gd name="T85" fmla="*/ 880 h 1284"/>
                  <a:gd name="T86" fmla="*/ 1516 w 1696"/>
                  <a:gd name="T87" fmla="*/ 886 h 1284"/>
                  <a:gd name="T88" fmla="*/ 1696 w 1696"/>
                  <a:gd name="T89" fmla="*/ 903 h 1284"/>
                  <a:gd name="T90" fmla="*/ 1695 w 1696"/>
                  <a:gd name="T91" fmla="*/ 900 h 1284"/>
                  <a:gd name="T92" fmla="*/ 1696 w 1696"/>
                  <a:gd name="T93" fmla="*/ 850 h 1284"/>
                  <a:gd name="T94" fmla="*/ 1651 w 1696"/>
                  <a:gd name="T95" fmla="*/ 978 h 1284"/>
                  <a:gd name="T96" fmla="*/ 1595 w 1696"/>
                  <a:gd name="T97" fmla="*/ 1018 h 1284"/>
                  <a:gd name="T98" fmla="*/ 1696 w 1696"/>
                  <a:gd name="T99" fmla="*/ 1015 h 1284"/>
                  <a:gd name="T100" fmla="*/ 1695 w 1696"/>
                  <a:gd name="T101" fmla="*/ 1012 h 1284"/>
                  <a:gd name="T102" fmla="*/ 1696 w 1696"/>
                  <a:gd name="T103" fmla="*/ 962 h 1284"/>
                  <a:gd name="T104" fmla="*/ 1651 w 1696"/>
                  <a:gd name="T105" fmla="*/ 1090 h 1284"/>
                  <a:gd name="T106" fmla="*/ 1595 w 1696"/>
                  <a:gd name="T107" fmla="*/ 1165 h 1284"/>
                  <a:gd name="T108" fmla="*/ 1695 w 1696"/>
                  <a:gd name="T109" fmla="*/ 1124 h 1284"/>
                  <a:gd name="T110" fmla="*/ 1696 w 1696"/>
                  <a:gd name="T111" fmla="*/ 1074 h 1284"/>
                  <a:gd name="T112" fmla="*/ 1319 w 1696"/>
                  <a:gd name="T113" fmla="*/ 566 h 1284"/>
                  <a:gd name="T114" fmla="*/ 1507 w 1696"/>
                  <a:gd name="T115" fmla="*/ 612 h 1284"/>
                  <a:gd name="T116" fmla="*/ 1696 w 1696"/>
                  <a:gd name="T117" fmla="*/ 566 h 1284"/>
                  <a:gd name="T118" fmla="*/ 1695 w 1696"/>
                  <a:gd name="T119" fmla="*/ 563 h 1284"/>
                  <a:gd name="T120" fmla="*/ 1319 w 1696"/>
                  <a:gd name="T121" fmla="*/ 563 h 1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696" h="1284">
                    <a:moveTo>
                      <a:pt x="954" y="1153"/>
                    </a:moveTo>
                    <a:cubicBezTo>
                      <a:pt x="948" y="1153"/>
                      <a:pt x="942" y="1153"/>
                      <a:pt x="936" y="1153"/>
                    </a:cubicBezTo>
                    <a:cubicBezTo>
                      <a:pt x="317" y="1153"/>
                      <a:pt x="317" y="1153"/>
                      <a:pt x="317" y="1153"/>
                    </a:cubicBezTo>
                    <a:cubicBezTo>
                      <a:pt x="209" y="1153"/>
                      <a:pt x="128" y="1125"/>
                      <a:pt x="76" y="1069"/>
                    </a:cubicBezTo>
                    <a:cubicBezTo>
                      <a:pt x="0" y="988"/>
                      <a:pt x="6" y="870"/>
                      <a:pt x="6" y="870"/>
                    </a:cubicBezTo>
                    <a:cubicBezTo>
                      <a:pt x="6" y="868"/>
                      <a:pt x="6" y="867"/>
                      <a:pt x="6" y="866"/>
                    </a:cubicBezTo>
                    <a:cubicBezTo>
                      <a:pt x="6" y="729"/>
                      <a:pt x="80" y="559"/>
                      <a:pt x="222" y="376"/>
                    </a:cubicBezTo>
                    <a:cubicBezTo>
                      <a:pt x="330" y="234"/>
                      <a:pt x="447" y="126"/>
                      <a:pt x="479" y="99"/>
                    </a:cubicBezTo>
                    <a:cubicBezTo>
                      <a:pt x="505" y="77"/>
                      <a:pt x="520" y="48"/>
                      <a:pt x="520" y="17"/>
                    </a:cubicBezTo>
                    <a:cubicBezTo>
                      <a:pt x="521" y="12"/>
                      <a:pt x="520" y="8"/>
                      <a:pt x="520" y="3"/>
                    </a:cubicBezTo>
                    <a:cubicBezTo>
                      <a:pt x="552" y="1"/>
                      <a:pt x="589" y="0"/>
                      <a:pt x="630" y="0"/>
                    </a:cubicBezTo>
                    <a:cubicBezTo>
                      <a:pt x="668" y="0"/>
                      <a:pt x="703" y="1"/>
                      <a:pt x="733" y="3"/>
                    </a:cubicBezTo>
                    <a:cubicBezTo>
                      <a:pt x="733" y="7"/>
                      <a:pt x="732" y="12"/>
                      <a:pt x="732" y="17"/>
                    </a:cubicBezTo>
                    <a:cubicBezTo>
                      <a:pt x="733" y="48"/>
                      <a:pt x="748" y="77"/>
                      <a:pt x="774" y="99"/>
                    </a:cubicBezTo>
                    <a:cubicBezTo>
                      <a:pt x="806" y="126"/>
                      <a:pt x="922" y="234"/>
                      <a:pt x="1031" y="376"/>
                    </a:cubicBezTo>
                    <a:cubicBezTo>
                      <a:pt x="1098" y="463"/>
                      <a:pt x="1150" y="547"/>
                      <a:pt x="1187" y="626"/>
                    </a:cubicBezTo>
                    <a:cubicBezTo>
                      <a:pt x="1187" y="845"/>
                      <a:pt x="1187" y="845"/>
                      <a:pt x="1187" y="845"/>
                    </a:cubicBezTo>
                    <a:cubicBezTo>
                      <a:pt x="1159" y="847"/>
                      <a:pt x="1133" y="852"/>
                      <a:pt x="1110" y="857"/>
                    </a:cubicBezTo>
                    <a:cubicBezTo>
                      <a:pt x="974" y="890"/>
                      <a:pt x="954" y="972"/>
                      <a:pt x="954" y="1018"/>
                    </a:cubicBezTo>
                    <a:lnTo>
                      <a:pt x="954" y="1153"/>
                    </a:lnTo>
                    <a:close/>
                    <a:moveTo>
                      <a:pt x="1696" y="738"/>
                    </a:moveTo>
                    <a:cubicBezTo>
                      <a:pt x="1684" y="744"/>
                      <a:pt x="1669" y="749"/>
                      <a:pt x="1651" y="754"/>
                    </a:cubicBezTo>
                    <a:cubicBezTo>
                      <a:pt x="1612" y="763"/>
                      <a:pt x="1561" y="768"/>
                      <a:pt x="1507" y="768"/>
                    </a:cubicBezTo>
                    <a:cubicBezTo>
                      <a:pt x="1453" y="768"/>
                      <a:pt x="1402" y="763"/>
                      <a:pt x="1364" y="754"/>
                    </a:cubicBezTo>
                    <a:cubicBezTo>
                      <a:pt x="1346" y="749"/>
                      <a:pt x="1331" y="744"/>
                      <a:pt x="1319" y="738"/>
                    </a:cubicBezTo>
                    <a:cubicBezTo>
                      <a:pt x="1319" y="788"/>
                      <a:pt x="1319" y="788"/>
                      <a:pt x="1319" y="788"/>
                    </a:cubicBezTo>
                    <a:cubicBezTo>
                      <a:pt x="1319" y="788"/>
                      <a:pt x="1319" y="788"/>
                      <a:pt x="1319" y="788"/>
                    </a:cubicBezTo>
                    <a:cubicBezTo>
                      <a:pt x="1319" y="788"/>
                      <a:pt x="1319" y="789"/>
                      <a:pt x="1319" y="790"/>
                    </a:cubicBezTo>
                    <a:cubicBezTo>
                      <a:pt x="1319" y="790"/>
                      <a:pt x="1319" y="790"/>
                      <a:pt x="1319" y="790"/>
                    </a:cubicBezTo>
                    <a:cubicBezTo>
                      <a:pt x="1319" y="816"/>
                      <a:pt x="1403" y="836"/>
                      <a:pt x="1507" y="836"/>
                    </a:cubicBezTo>
                    <a:cubicBezTo>
                      <a:pt x="1611" y="836"/>
                      <a:pt x="1696" y="816"/>
                      <a:pt x="1696" y="790"/>
                    </a:cubicBezTo>
                    <a:cubicBezTo>
                      <a:pt x="1696" y="790"/>
                      <a:pt x="1696" y="790"/>
                      <a:pt x="1696" y="790"/>
                    </a:cubicBezTo>
                    <a:cubicBezTo>
                      <a:pt x="1696" y="789"/>
                      <a:pt x="1696" y="788"/>
                      <a:pt x="1695" y="788"/>
                    </a:cubicBezTo>
                    <a:cubicBezTo>
                      <a:pt x="1696" y="788"/>
                      <a:pt x="1696" y="788"/>
                      <a:pt x="1696" y="788"/>
                    </a:cubicBezTo>
                    <a:lnTo>
                      <a:pt x="1696" y="738"/>
                    </a:lnTo>
                    <a:close/>
                    <a:moveTo>
                      <a:pt x="1507" y="656"/>
                    </a:moveTo>
                    <a:cubicBezTo>
                      <a:pt x="1453" y="656"/>
                      <a:pt x="1402" y="651"/>
                      <a:pt x="1364" y="642"/>
                    </a:cubicBezTo>
                    <a:cubicBezTo>
                      <a:pt x="1346" y="637"/>
                      <a:pt x="1331" y="632"/>
                      <a:pt x="1319" y="626"/>
                    </a:cubicBezTo>
                    <a:cubicBezTo>
                      <a:pt x="1319" y="675"/>
                      <a:pt x="1319" y="675"/>
                      <a:pt x="1319" y="675"/>
                    </a:cubicBezTo>
                    <a:cubicBezTo>
                      <a:pt x="1319" y="675"/>
                      <a:pt x="1319" y="675"/>
                      <a:pt x="1319" y="675"/>
                    </a:cubicBezTo>
                    <a:cubicBezTo>
                      <a:pt x="1319" y="676"/>
                      <a:pt x="1319" y="677"/>
                      <a:pt x="1319" y="678"/>
                    </a:cubicBezTo>
                    <a:cubicBezTo>
                      <a:pt x="1319" y="678"/>
                      <a:pt x="1319" y="678"/>
                      <a:pt x="1319" y="678"/>
                    </a:cubicBezTo>
                    <a:cubicBezTo>
                      <a:pt x="1319" y="704"/>
                      <a:pt x="1403" y="724"/>
                      <a:pt x="1507" y="724"/>
                    </a:cubicBezTo>
                    <a:cubicBezTo>
                      <a:pt x="1611" y="724"/>
                      <a:pt x="1696" y="704"/>
                      <a:pt x="1696" y="678"/>
                    </a:cubicBezTo>
                    <a:cubicBezTo>
                      <a:pt x="1696" y="678"/>
                      <a:pt x="1696" y="678"/>
                      <a:pt x="1696" y="678"/>
                    </a:cubicBezTo>
                    <a:cubicBezTo>
                      <a:pt x="1696" y="677"/>
                      <a:pt x="1696" y="676"/>
                      <a:pt x="1695" y="675"/>
                    </a:cubicBezTo>
                    <a:cubicBezTo>
                      <a:pt x="1696" y="675"/>
                      <a:pt x="1696" y="675"/>
                      <a:pt x="1696" y="675"/>
                    </a:cubicBezTo>
                    <a:cubicBezTo>
                      <a:pt x="1696" y="626"/>
                      <a:pt x="1696" y="626"/>
                      <a:pt x="1696" y="626"/>
                    </a:cubicBezTo>
                    <a:cubicBezTo>
                      <a:pt x="1684" y="632"/>
                      <a:pt x="1669" y="637"/>
                      <a:pt x="1651" y="642"/>
                    </a:cubicBezTo>
                    <a:cubicBezTo>
                      <a:pt x="1612" y="651"/>
                      <a:pt x="1561" y="656"/>
                      <a:pt x="1507" y="656"/>
                    </a:cubicBezTo>
                    <a:close/>
                    <a:moveTo>
                      <a:pt x="1275" y="1106"/>
                    </a:moveTo>
                    <a:cubicBezTo>
                      <a:pt x="1221" y="1106"/>
                      <a:pt x="1170" y="1100"/>
                      <a:pt x="1131" y="1091"/>
                    </a:cubicBezTo>
                    <a:cubicBezTo>
                      <a:pt x="1113" y="1087"/>
                      <a:pt x="1098" y="1082"/>
                      <a:pt x="1086" y="1076"/>
                    </a:cubicBezTo>
                    <a:cubicBezTo>
                      <a:pt x="1086" y="1125"/>
                      <a:pt x="1086" y="1125"/>
                      <a:pt x="1086" y="1125"/>
                    </a:cubicBezTo>
                    <a:cubicBezTo>
                      <a:pt x="1087" y="1125"/>
                      <a:pt x="1087" y="1125"/>
                      <a:pt x="1087" y="1125"/>
                    </a:cubicBezTo>
                    <a:cubicBezTo>
                      <a:pt x="1086" y="1126"/>
                      <a:pt x="1086" y="1127"/>
                      <a:pt x="1086" y="1128"/>
                    </a:cubicBezTo>
                    <a:cubicBezTo>
                      <a:pt x="1086" y="1128"/>
                      <a:pt x="1086" y="1128"/>
                      <a:pt x="1086" y="1128"/>
                    </a:cubicBezTo>
                    <a:cubicBezTo>
                      <a:pt x="1086" y="1153"/>
                      <a:pt x="1171" y="1174"/>
                      <a:pt x="1275" y="1174"/>
                    </a:cubicBezTo>
                    <a:cubicBezTo>
                      <a:pt x="1379" y="1174"/>
                      <a:pt x="1463" y="1153"/>
                      <a:pt x="1463" y="1128"/>
                    </a:cubicBezTo>
                    <a:cubicBezTo>
                      <a:pt x="1463" y="1128"/>
                      <a:pt x="1463" y="1128"/>
                      <a:pt x="1463" y="1128"/>
                    </a:cubicBezTo>
                    <a:cubicBezTo>
                      <a:pt x="1463" y="1127"/>
                      <a:pt x="1463" y="1126"/>
                      <a:pt x="1463" y="1125"/>
                    </a:cubicBezTo>
                    <a:cubicBezTo>
                      <a:pt x="1463" y="1125"/>
                      <a:pt x="1463" y="1125"/>
                      <a:pt x="1463" y="1125"/>
                    </a:cubicBezTo>
                    <a:cubicBezTo>
                      <a:pt x="1463" y="1076"/>
                      <a:pt x="1463" y="1076"/>
                      <a:pt x="1463" y="1076"/>
                    </a:cubicBezTo>
                    <a:cubicBezTo>
                      <a:pt x="1451" y="1082"/>
                      <a:pt x="1436" y="1087"/>
                      <a:pt x="1418" y="1091"/>
                    </a:cubicBezTo>
                    <a:cubicBezTo>
                      <a:pt x="1379" y="1100"/>
                      <a:pt x="1328" y="1106"/>
                      <a:pt x="1275" y="1106"/>
                    </a:cubicBezTo>
                    <a:close/>
                    <a:moveTo>
                      <a:pt x="1418" y="1203"/>
                    </a:moveTo>
                    <a:cubicBezTo>
                      <a:pt x="1379" y="1213"/>
                      <a:pt x="1328" y="1218"/>
                      <a:pt x="1275" y="1218"/>
                    </a:cubicBezTo>
                    <a:cubicBezTo>
                      <a:pt x="1221" y="1218"/>
                      <a:pt x="1170" y="1213"/>
                      <a:pt x="1131" y="1203"/>
                    </a:cubicBezTo>
                    <a:cubicBezTo>
                      <a:pt x="1113" y="1199"/>
                      <a:pt x="1098" y="1194"/>
                      <a:pt x="1086" y="1188"/>
                    </a:cubicBezTo>
                    <a:cubicBezTo>
                      <a:pt x="1086" y="1237"/>
                      <a:pt x="1086" y="1237"/>
                      <a:pt x="1086" y="1237"/>
                    </a:cubicBezTo>
                    <a:cubicBezTo>
                      <a:pt x="1087" y="1237"/>
                      <a:pt x="1087" y="1237"/>
                      <a:pt x="1087" y="1237"/>
                    </a:cubicBezTo>
                    <a:cubicBezTo>
                      <a:pt x="1086" y="1238"/>
                      <a:pt x="1086" y="1238"/>
                      <a:pt x="1086" y="1239"/>
                    </a:cubicBezTo>
                    <a:cubicBezTo>
                      <a:pt x="1088" y="1264"/>
                      <a:pt x="1172" y="1284"/>
                      <a:pt x="1275" y="1284"/>
                    </a:cubicBezTo>
                    <a:cubicBezTo>
                      <a:pt x="1378" y="1284"/>
                      <a:pt x="1461" y="1264"/>
                      <a:pt x="1463" y="1239"/>
                    </a:cubicBezTo>
                    <a:cubicBezTo>
                      <a:pt x="1463" y="1238"/>
                      <a:pt x="1463" y="1238"/>
                      <a:pt x="1463" y="1237"/>
                    </a:cubicBezTo>
                    <a:cubicBezTo>
                      <a:pt x="1463" y="1237"/>
                      <a:pt x="1463" y="1237"/>
                      <a:pt x="1463" y="1237"/>
                    </a:cubicBezTo>
                    <a:cubicBezTo>
                      <a:pt x="1463" y="1188"/>
                      <a:pt x="1463" y="1188"/>
                      <a:pt x="1463" y="1188"/>
                    </a:cubicBezTo>
                    <a:cubicBezTo>
                      <a:pt x="1451" y="1194"/>
                      <a:pt x="1436" y="1199"/>
                      <a:pt x="1418" y="1203"/>
                    </a:cubicBezTo>
                    <a:close/>
                    <a:moveTo>
                      <a:pt x="1275" y="1062"/>
                    </a:moveTo>
                    <a:cubicBezTo>
                      <a:pt x="1377" y="1062"/>
                      <a:pt x="1461" y="1042"/>
                      <a:pt x="1463" y="1017"/>
                    </a:cubicBezTo>
                    <a:cubicBezTo>
                      <a:pt x="1461" y="992"/>
                      <a:pt x="1377" y="972"/>
                      <a:pt x="1275" y="972"/>
                    </a:cubicBezTo>
                    <a:cubicBezTo>
                      <a:pt x="1172" y="972"/>
                      <a:pt x="1089" y="992"/>
                      <a:pt x="1086" y="1017"/>
                    </a:cubicBezTo>
                    <a:cubicBezTo>
                      <a:pt x="1089" y="1042"/>
                      <a:pt x="1172" y="1062"/>
                      <a:pt x="1275" y="1062"/>
                    </a:cubicBezTo>
                    <a:close/>
                    <a:moveTo>
                      <a:pt x="1696" y="850"/>
                    </a:moveTo>
                    <a:cubicBezTo>
                      <a:pt x="1684" y="856"/>
                      <a:pt x="1669" y="861"/>
                      <a:pt x="1651" y="866"/>
                    </a:cubicBezTo>
                    <a:cubicBezTo>
                      <a:pt x="1612" y="875"/>
                      <a:pt x="1561" y="880"/>
                      <a:pt x="1507" y="880"/>
                    </a:cubicBezTo>
                    <a:cubicBezTo>
                      <a:pt x="1506" y="880"/>
                      <a:pt x="1505" y="880"/>
                      <a:pt x="1504" y="880"/>
                    </a:cubicBezTo>
                    <a:cubicBezTo>
                      <a:pt x="1508" y="882"/>
                      <a:pt x="1512" y="884"/>
                      <a:pt x="1516" y="886"/>
                    </a:cubicBezTo>
                    <a:cubicBezTo>
                      <a:pt x="1542" y="902"/>
                      <a:pt x="1562" y="922"/>
                      <a:pt x="1576" y="945"/>
                    </a:cubicBezTo>
                    <a:cubicBezTo>
                      <a:pt x="1646" y="939"/>
                      <a:pt x="1696" y="922"/>
                      <a:pt x="1696" y="903"/>
                    </a:cubicBezTo>
                    <a:cubicBezTo>
                      <a:pt x="1696" y="903"/>
                      <a:pt x="1696" y="903"/>
                      <a:pt x="1696" y="903"/>
                    </a:cubicBezTo>
                    <a:cubicBezTo>
                      <a:pt x="1696" y="902"/>
                      <a:pt x="1696" y="901"/>
                      <a:pt x="1695" y="900"/>
                    </a:cubicBezTo>
                    <a:cubicBezTo>
                      <a:pt x="1696" y="900"/>
                      <a:pt x="1696" y="900"/>
                      <a:pt x="1696" y="900"/>
                    </a:cubicBezTo>
                    <a:lnTo>
                      <a:pt x="1696" y="850"/>
                    </a:lnTo>
                    <a:close/>
                    <a:moveTo>
                      <a:pt x="1696" y="962"/>
                    </a:moveTo>
                    <a:cubicBezTo>
                      <a:pt x="1684" y="968"/>
                      <a:pt x="1669" y="973"/>
                      <a:pt x="1651" y="978"/>
                    </a:cubicBezTo>
                    <a:cubicBezTo>
                      <a:pt x="1634" y="982"/>
                      <a:pt x="1614" y="985"/>
                      <a:pt x="1592" y="988"/>
                    </a:cubicBezTo>
                    <a:cubicBezTo>
                      <a:pt x="1594" y="998"/>
                      <a:pt x="1595" y="1008"/>
                      <a:pt x="1595" y="1018"/>
                    </a:cubicBezTo>
                    <a:cubicBezTo>
                      <a:pt x="1595" y="1055"/>
                      <a:pt x="1595" y="1055"/>
                      <a:pt x="1595" y="1055"/>
                    </a:cubicBezTo>
                    <a:cubicBezTo>
                      <a:pt x="1655" y="1047"/>
                      <a:pt x="1696" y="1032"/>
                      <a:pt x="1696" y="1015"/>
                    </a:cubicBezTo>
                    <a:cubicBezTo>
                      <a:pt x="1696" y="1015"/>
                      <a:pt x="1696" y="1015"/>
                      <a:pt x="1696" y="1015"/>
                    </a:cubicBezTo>
                    <a:cubicBezTo>
                      <a:pt x="1696" y="1014"/>
                      <a:pt x="1696" y="1013"/>
                      <a:pt x="1695" y="1012"/>
                    </a:cubicBezTo>
                    <a:cubicBezTo>
                      <a:pt x="1696" y="1012"/>
                      <a:pt x="1696" y="1012"/>
                      <a:pt x="1696" y="1012"/>
                    </a:cubicBezTo>
                    <a:lnTo>
                      <a:pt x="1696" y="962"/>
                    </a:lnTo>
                    <a:close/>
                    <a:moveTo>
                      <a:pt x="1696" y="1074"/>
                    </a:moveTo>
                    <a:cubicBezTo>
                      <a:pt x="1684" y="1080"/>
                      <a:pt x="1669" y="1085"/>
                      <a:pt x="1651" y="1090"/>
                    </a:cubicBezTo>
                    <a:cubicBezTo>
                      <a:pt x="1634" y="1094"/>
                      <a:pt x="1616" y="1097"/>
                      <a:pt x="1595" y="1099"/>
                    </a:cubicBezTo>
                    <a:cubicBezTo>
                      <a:pt x="1595" y="1165"/>
                      <a:pt x="1595" y="1165"/>
                      <a:pt x="1595" y="1165"/>
                    </a:cubicBezTo>
                    <a:cubicBezTo>
                      <a:pt x="1654" y="1158"/>
                      <a:pt x="1695" y="1143"/>
                      <a:pt x="1696" y="1126"/>
                    </a:cubicBezTo>
                    <a:cubicBezTo>
                      <a:pt x="1696" y="1125"/>
                      <a:pt x="1696" y="1124"/>
                      <a:pt x="1695" y="1124"/>
                    </a:cubicBezTo>
                    <a:cubicBezTo>
                      <a:pt x="1696" y="1124"/>
                      <a:pt x="1696" y="1124"/>
                      <a:pt x="1696" y="1124"/>
                    </a:cubicBezTo>
                    <a:lnTo>
                      <a:pt x="1696" y="1074"/>
                    </a:lnTo>
                    <a:close/>
                    <a:moveTo>
                      <a:pt x="1319" y="565"/>
                    </a:moveTo>
                    <a:cubicBezTo>
                      <a:pt x="1319" y="565"/>
                      <a:pt x="1319" y="566"/>
                      <a:pt x="1319" y="566"/>
                    </a:cubicBezTo>
                    <a:cubicBezTo>
                      <a:pt x="1319" y="566"/>
                      <a:pt x="1319" y="566"/>
                      <a:pt x="1319" y="566"/>
                    </a:cubicBezTo>
                    <a:cubicBezTo>
                      <a:pt x="1319" y="592"/>
                      <a:pt x="1403" y="612"/>
                      <a:pt x="1507" y="612"/>
                    </a:cubicBezTo>
                    <a:cubicBezTo>
                      <a:pt x="1611" y="612"/>
                      <a:pt x="1696" y="592"/>
                      <a:pt x="1696" y="566"/>
                    </a:cubicBezTo>
                    <a:cubicBezTo>
                      <a:pt x="1696" y="566"/>
                      <a:pt x="1696" y="566"/>
                      <a:pt x="1696" y="566"/>
                    </a:cubicBezTo>
                    <a:cubicBezTo>
                      <a:pt x="1696" y="566"/>
                      <a:pt x="1696" y="565"/>
                      <a:pt x="1696" y="565"/>
                    </a:cubicBezTo>
                    <a:cubicBezTo>
                      <a:pt x="1696" y="564"/>
                      <a:pt x="1695" y="564"/>
                      <a:pt x="1695" y="563"/>
                    </a:cubicBezTo>
                    <a:cubicBezTo>
                      <a:pt x="1689" y="539"/>
                      <a:pt x="1607" y="520"/>
                      <a:pt x="1507" y="520"/>
                    </a:cubicBezTo>
                    <a:cubicBezTo>
                      <a:pt x="1407" y="520"/>
                      <a:pt x="1325" y="539"/>
                      <a:pt x="1319" y="563"/>
                    </a:cubicBezTo>
                    <a:cubicBezTo>
                      <a:pt x="1319" y="564"/>
                      <a:pt x="1319" y="564"/>
                      <a:pt x="1319" y="565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95" name="bcgIcons_Target">
            <a:extLst>
              <a:ext uri="{FF2B5EF4-FFF2-40B4-BE49-F238E27FC236}">
                <a16:creationId xmlns="" xmlns:a16="http://schemas.microsoft.com/office/drawing/2014/main" id="{02916922-81B1-4399-BF36-3FC0C6969C4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364741" y="1747396"/>
            <a:ext cx="929035" cy="929896"/>
            <a:chOff x="1682" y="0"/>
            <a:chExt cx="4316" cy="4320"/>
          </a:xfrm>
        </p:grpSpPr>
        <p:sp>
          <p:nvSpPr>
            <p:cNvPr id="96" name="AutoShape 23">
              <a:extLst>
                <a:ext uri="{FF2B5EF4-FFF2-40B4-BE49-F238E27FC236}">
                  <a16:creationId xmlns="" xmlns:a16="http://schemas.microsoft.com/office/drawing/2014/main" id="{89F4D31F-87B6-4E69-917E-65E2F97982B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7" name="Freeform 25">
              <a:extLst>
                <a:ext uri="{FF2B5EF4-FFF2-40B4-BE49-F238E27FC236}">
                  <a16:creationId xmlns="" xmlns:a16="http://schemas.microsoft.com/office/drawing/2014/main" id="{FA0FD38E-7CA9-4ECE-9013-798D4E40C5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82" y="838"/>
              <a:ext cx="1832" cy="1367"/>
            </a:xfrm>
            <a:custGeom>
              <a:avLst/>
              <a:gdLst>
                <a:gd name="T0" fmla="*/ 25 w 978"/>
                <a:gd name="T1" fmla="*/ 729 h 729"/>
                <a:gd name="T2" fmla="*/ 7 w 978"/>
                <a:gd name="T3" fmla="*/ 719 h 729"/>
                <a:gd name="T4" fmla="*/ 13 w 978"/>
                <a:gd name="T5" fmla="*/ 689 h 729"/>
                <a:gd name="T6" fmla="*/ 888 w 978"/>
                <a:gd name="T7" fmla="*/ 86 h 729"/>
                <a:gd name="T8" fmla="*/ 919 w 978"/>
                <a:gd name="T9" fmla="*/ 91 h 729"/>
                <a:gd name="T10" fmla="*/ 913 w 978"/>
                <a:gd name="T11" fmla="*/ 122 h 729"/>
                <a:gd name="T12" fmla="*/ 38 w 978"/>
                <a:gd name="T13" fmla="*/ 725 h 729"/>
                <a:gd name="T14" fmla="*/ 25 w 978"/>
                <a:gd name="T15" fmla="*/ 729 h 729"/>
                <a:gd name="T16" fmla="*/ 578 w 978"/>
                <a:gd name="T17" fmla="*/ 254 h 729"/>
                <a:gd name="T18" fmla="*/ 586 w 978"/>
                <a:gd name="T19" fmla="*/ 258 h 729"/>
                <a:gd name="T20" fmla="*/ 825 w 978"/>
                <a:gd name="T21" fmla="*/ 93 h 729"/>
                <a:gd name="T22" fmla="*/ 826 w 978"/>
                <a:gd name="T23" fmla="*/ 91 h 729"/>
                <a:gd name="T24" fmla="*/ 849 w 978"/>
                <a:gd name="T25" fmla="*/ 8 h 729"/>
                <a:gd name="T26" fmla="*/ 841 w 978"/>
                <a:gd name="T27" fmla="*/ 3 h 729"/>
                <a:gd name="T28" fmla="*/ 602 w 978"/>
                <a:gd name="T29" fmla="*/ 166 h 729"/>
                <a:gd name="T30" fmla="*/ 599 w 978"/>
                <a:gd name="T31" fmla="*/ 171 h 729"/>
                <a:gd name="T32" fmla="*/ 578 w 978"/>
                <a:gd name="T33" fmla="*/ 254 h 729"/>
                <a:gd name="T34" fmla="*/ 646 w 978"/>
                <a:gd name="T35" fmla="*/ 352 h 729"/>
                <a:gd name="T36" fmla="*/ 730 w 978"/>
                <a:gd name="T37" fmla="*/ 362 h 729"/>
                <a:gd name="T38" fmla="*/ 736 w 978"/>
                <a:gd name="T39" fmla="*/ 361 h 729"/>
                <a:gd name="T40" fmla="*/ 974 w 978"/>
                <a:gd name="T41" fmla="*/ 196 h 729"/>
                <a:gd name="T42" fmla="*/ 972 w 978"/>
                <a:gd name="T43" fmla="*/ 187 h 729"/>
                <a:gd name="T44" fmla="*/ 886 w 978"/>
                <a:gd name="T45" fmla="*/ 179 h 729"/>
                <a:gd name="T46" fmla="*/ 884 w 978"/>
                <a:gd name="T47" fmla="*/ 179 h 729"/>
                <a:gd name="T48" fmla="*/ 644 w 978"/>
                <a:gd name="T49" fmla="*/ 343 h 729"/>
                <a:gd name="T50" fmla="*/ 646 w 978"/>
                <a:gd name="T51" fmla="*/ 352 h 7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78" h="729">
                  <a:moveTo>
                    <a:pt x="25" y="729"/>
                  </a:moveTo>
                  <a:cubicBezTo>
                    <a:pt x="18" y="729"/>
                    <a:pt x="11" y="726"/>
                    <a:pt x="7" y="719"/>
                  </a:cubicBezTo>
                  <a:cubicBezTo>
                    <a:pt x="0" y="709"/>
                    <a:pt x="3" y="696"/>
                    <a:pt x="13" y="689"/>
                  </a:cubicBezTo>
                  <a:cubicBezTo>
                    <a:pt x="888" y="86"/>
                    <a:pt x="888" y="86"/>
                    <a:pt x="888" y="86"/>
                  </a:cubicBezTo>
                  <a:cubicBezTo>
                    <a:pt x="898" y="79"/>
                    <a:pt x="912" y="81"/>
                    <a:pt x="919" y="91"/>
                  </a:cubicBezTo>
                  <a:cubicBezTo>
                    <a:pt x="926" y="101"/>
                    <a:pt x="923" y="115"/>
                    <a:pt x="913" y="122"/>
                  </a:cubicBezTo>
                  <a:cubicBezTo>
                    <a:pt x="38" y="725"/>
                    <a:pt x="38" y="725"/>
                    <a:pt x="38" y="725"/>
                  </a:cubicBezTo>
                  <a:cubicBezTo>
                    <a:pt x="34" y="728"/>
                    <a:pt x="30" y="729"/>
                    <a:pt x="25" y="729"/>
                  </a:cubicBezTo>
                  <a:close/>
                  <a:moveTo>
                    <a:pt x="578" y="254"/>
                  </a:moveTo>
                  <a:cubicBezTo>
                    <a:pt x="577" y="258"/>
                    <a:pt x="582" y="259"/>
                    <a:pt x="586" y="258"/>
                  </a:cubicBezTo>
                  <a:cubicBezTo>
                    <a:pt x="586" y="258"/>
                    <a:pt x="586" y="258"/>
                    <a:pt x="825" y="93"/>
                  </a:cubicBezTo>
                  <a:cubicBezTo>
                    <a:pt x="826" y="93"/>
                    <a:pt x="826" y="93"/>
                    <a:pt x="826" y="91"/>
                  </a:cubicBezTo>
                  <a:cubicBezTo>
                    <a:pt x="826" y="91"/>
                    <a:pt x="826" y="91"/>
                    <a:pt x="849" y="8"/>
                  </a:cubicBezTo>
                  <a:cubicBezTo>
                    <a:pt x="850" y="3"/>
                    <a:pt x="845" y="0"/>
                    <a:pt x="841" y="3"/>
                  </a:cubicBezTo>
                  <a:cubicBezTo>
                    <a:pt x="841" y="3"/>
                    <a:pt x="841" y="3"/>
                    <a:pt x="602" y="166"/>
                  </a:cubicBezTo>
                  <a:cubicBezTo>
                    <a:pt x="601" y="168"/>
                    <a:pt x="601" y="168"/>
                    <a:pt x="599" y="171"/>
                  </a:cubicBezTo>
                  <a:cubicBezTo>
                    <a:pt x="599" y="171"/>
                    <a:pt x="599" y="171"/>
                    <a:pt x="578" y="254"/>
                  </a:cubicBezTo>
                  <a:close/>
                  <a:moveTo>
                    <a:pt x="646" y="352"/>
                  </a:moveTo>
                  <a:cubicBezTo>
                    <a:pt x="730" y="362"/>
                    <a:pt x="730" y="362"/>
                    <a:pt x="730" y="362"/>
                  </a:cubicBezTo>
                  <a:cubicBezTo>
                    <a:pt x="734" y="361"/>
                    <a:pt x="734" y="361"/>
                    <a:pt x="736" y="361"/>
                  </a:cubicBezTo>
                  <a:cubicBezTo>
                    <a:pt x="974" y="196"/>
                    <a:pt x="974" y="196"/>
                    <a:pt x="974" y="196"/>
                  </a:cubicBezTo>
                  <a:cubicBezTo>
                    <a:pt x="978" y="194"/>
                    <a:pt x="978" y="187"/>
                    <a:pt x="972" y="187"/>
                  </a:cubicBezTo>
                  <a:cubicBezTo>
                    <a:pt x="886" y="179"/>
                    <a:pt x="886" y="179"/>
                    <a:pt x="886" y="179"/>
                  </a:cubicBezTo>
                  <a:cubicBezTo>
                    <a:pt x="884" y="177"/>
                    <a:pt x="884" y="177"/>
                    <a:pt x="884" y="179"/>
                  </a:cubicBezTo>
                  <a:cubicBezTo>
                    <a:pt x="644" y="343"/>
                    <a:pt x="644" y="343"/>
                    <a:pt x="644" y="343"/>
                  </a:cubicBezTo>
                  <a:cubicBezTo>
                    <a:pt x="642" y="347"/>
                    <a:pt x="642" y="351"/>
                    <a:pt x="646" y="35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8" name="Freeform 26">
              <a:extLst>
                <a:ext uri="{FF2B5EF4-FFF2-40B4-BE49-F238E27FC236}">
                  <a16:creationId xmlns="" xmlns:a16="http://schemas.microsoft.com/office/drawing/2014/main" id="{F562C458-32E3-43E7-BAF7-B4773D3C4A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22" y="756"/>
              <a:ext cx="2814" cy="2816"/>
            </a:xfrm>
            <a:custGeom>
              <a:avLst/>
              <a:gdLst>
                <a:gd name="T0" fmla="*/ 1016 w 1502"/>
                <a:gd name="T1" fmla="*/ 662 h 1502"/>
                <a:gd name="T2" fmla="*/ 1030 w 1502"/>
                <a:gd name="T3" fmla="*/ 751 h 1502"/>
                <a:gd name="T4" fmla="*/ 751 w 1502"/>
                <a:gd name="T5" fmla="*/ 1030 h 1502"/>
                <a:gd name="T6" fmla="*/ 472 w 1502"/>
                <a:gd name="T7" fmla="*/ 751 h 1502"/>
                <a:gd name="T8" fmla="*/ 751 w 1502"/>
                <a:gd name="T9" fmla="*/ 472 h 1502"/>
                <a:gd name="T10" fmla="*/ 929 w 1502"/>
                <a:gd name="T11" fmla="*/ 536 h 1502"/>
                <a:gd name="T12" fmla="*/ 819 w 1502"/>
                <a:gd name="T13" fmla="*/ 611 h 1502"/>
                <a:gd name="T14" fmla="*/ 751 w 1502"/>
                <a:gd name="T15" fmla="*/ 596 h 1502"/>
                <a:gd name="T16" fmla="*/ 596 w 1502"/>
                <a:gd name="T17" fmla="*/ 751 h 1502"/>
                <a:gd name="T18" fmla="*/ 751 w 1502"/>
                <a:gd name="T19" fmla="*/ 906 h 1502"/>
                <a:gd name="T20" fmla="*/ 906 w 1502"/>
                <a:gd name="T21" fmla="*/ 751 h 1502"/>
                <a:gd name="T22" fmla="*/ 906 w 1502"/>
                <a:gd name="T23" fmla="*/ 738 h 1502"/>
                <a:gd name="T24" fmla="*/ 1016 w 1502"/>
                <a:gd name="T25" fmla="*/ 662 h 1502"/>
                <a:gd name="T26" fmla="*/ 1107 w 1502"/>
                <a:gd name="T27" fmla="*/ 599 h 1502"/>
                <a:gd name="T28" fmla="*/ 1138 w 1502"/>
                <a:gd name="T29" fmla="*/ 751 h 1502"/>
                <a:gd name="T30" fmla="*/ 751 w 1502"/>
                <a:gd name="T31" fmla="*/ 1138 h 1502"/>
                <a:gd name="T32" fmla="*/ 364 w 1502"/>
                <a:gd name="T33" fmla="*/ 751 h 1502"/>
                <a:gd name="T34" fmla="*/ 751 w 1502"/>
                <a:gd name="T35" fmla="*/ 364 h 1502"/>
                <a:gd name="T36" fmla="*/ 1020 w 1502"/>
                <a:gd name="T37" fmla="*/ 473 h 1502"/>
                <a:gd name="T38" fmla="*/ 1124 w 1502"/>
                <a:gd name="T39" fmla="*/ 401 h 1502"/>
                <a:gd name="T40" fmla="*/ 751 w 1502"/>
                <a:gd name="T41" fmla="*/ 240 h 1502"/>
                <a:gd name="T42" fmla="*/ 240 w 1502"/>
                <a:gd name="T43" fmla="*/ 751 h 1502"/>
                <a:gd name="T44" fmla="*/ 751 w 1502"/>
                <a:gd name="T45" fmla="*/ 1262 h 1502"/>
                <a:gd name="T46" fmla="*/ 1262 w 1502"/>
                <a:gd name="T47" fmla="*/ 751 h 1502"/>
                <a:gd name="T48" fmla="*/ 1211 w 1502"/>
                <a:gd name="T49" fmla="*/ 528 h 1502"/>
                <a:gd name="T50" fmla="*/ 1107 w 1502"/>
                <a:gd name="T51" fmla="*/ 599 h 1502"/>
                <a:gd name="T52" fmla="*/ 1333 w 1502"/>
                <a:gd name="T53" fmla="*/ 443 h 1502"/>
                <a:gd name="T54" fmla="*/ 1307 w 1502"/>
                <a:gd name="T55" fmla="*/ 461 h 1502"/>
                <a:gd name="T56" fmla="*/ 1378 w 1502"/>
                <a:gd name="T57" fmla="*/ 751 h 1502"/>
                <a:gd name="T58" fmla="*/ 751 w 1502"/>
                <a:gd name="T59" fmla="*/ 1378 h 1502"/>
                <a:gd name="T60" fmla="*/ 124 w 1502"/>
                <a:gd name="T61" fmla="*/ 751 h 1502"/>
                <a:gd name="T62" fmla="*/ 751 w 1502"/>
                <a:gd name="T63" fmla="*/ 124 h 1502"/>
                <a:gd name="T64" fmla="*/ 1220 w 1502"/>
                <a:gd name="T65" fmla="*/ 335 h 1502"/>
                <a:gd name="T66" fmla="*/ 1246 w 1502"/>
                <a:gd name="T67" fmla="*/ 317 h 1502"/>
                <a:gd name="T68" fmla="*/ 1273 w 1502"/>
                <a:gd name="T69" fmla="*/ 211 h 1502"/>
                <a:gd name="T70" fmla="*/ 751 w 1502"/>
                <a:gd name="T71" fmla="*/ 0 h 1502"/>
                <a:gd name="T72" fmla="*/ 0 w 1502"/>
                <a:gd name="T73" fmla="*/ 751 h 1502"/>
                <a:gd name="T74" fmla="*/ 751 w 1502"/>
                <a:gd name="T75" fmla="*/ 1502 h 1502"/>
                <a:gd name="T76" fmla="*/ 1502 w 1502"/>
                <a:gd name="T77" fmla="*/ 751 h 1502"/>
                <a:gd name="T78" fmla="*/ 1442 w 1502"/>
                <a:gd name="T79" fmla="*/ 456 h 1502"/>
                <a:gd name="T80" fmla="*/ 1333 w 1502"/>
                <a:gd name="T81" fmla="*/ 443 h 1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02" h="1502">
                  <a:moveTo>
                    <a:pt x="1016" y="662"/>
                  </a:moveTo>
                  <a:cubicBezTo>
                    <a:pt x="1025" y="690"/>
                    <a:pt x="1030" y="720"/>
                    <a:pt x="1030" y="751"/>
                  </a:cubicBezTo>
                  <a:cubicBezTo>
                    <a:pt x="1030" y="905"/>
                    <a:pt x="905" y="1030"/>
                    <a:pt x="751" y="1030"/>
                  </a:cubicBezTo>
                  <a:cubicBezTo>
                    <a:pt x="597" y="1030"/>
                    <a:pt x="472" y="905"/>
                    <a:pt x="472" y="751"/>
                  </a:cubicBezTo>
                  <a:cubicBezTo>
                    <a:pt x="472" y="597"/>
                    <a:pt x="597" y="472"/>
                    <a:pt x="751" y="472"/>
                  </a:cubicBezTo>
                  <a:cubicBezTo>
                    <a:pt x="818" y="472"/>
                    <a:pt x="880" y="496"/>
                    <a:pt x="929" y="536"/>
                  </a:cubicBezTo>
                  <a:cubicBezTo>
                    <a:pt x="819" y="611"/>
                    <a:pt x="819" y="611"/>
                    <a:pt x="819" y="611"/>
                  </a:cubicBezTo>
                  <a:cubicBezTo>
                    <a:pt x="798" y="601"/>
                    <a:pt x="775" y="596"/>
                    <a:pt x="751" y="596"/>
                  </a:cubicBezTo>
                  <a:cubicBezTo>
                    <a:pt x="665" y="596"/>
                    <a:pt x="596" y="665"/>
                    <a:pt x="596" y="751"/>
                  </a:cubicBezTo>
                  <a:cubicBezTo>
                    <a:pt x="596" y="836"/>
                    <a:pt x="665" y="906"/>
                    <a:pt x="751" y="906"/>
                  </a:cubicBezTo>
                  <a:cubicBezTo>
                    <a:pt x="837" y="906"/>
                    <a:pt x="906" y="836"/>
                    <a:pt x="906" y="751"/>
                  </a:cubicBezTo>
                  <a:cubicBezTo>
                    <a:pt x="906" y="746"/>
                    <a:pt x="906" y="742"/>
                    <a:pt x="906" y="738"/>
                  </a:cubicBezTo>
                  <a:lnTo>
                    <a:pt x="1016" y="662"/>
                  </a:lnTo>
                  <a:close/>
                  <a:moveTo>
                    <a:pt x="1107" y="599"/>
                  </a:moveTo>
                  <a:cubicBezTo>
                    <a:pt x="1127" y="646"/>
                    <a:pt x="1138" y="697"/>
                    <a:pt x="1138" y="751"/>
                  </a:cubicBezTo>
                  <a:cubicBezTo>
                    <a:pt x="1138" y="964"/>
                    <a:pt x="964" y="1138"/>
                    <a:pt x="751" y="1138"/>
                  </a:cubicBezTo>
                  <a:cubicBezTo>
                    <a:pt x="537" y="1138"/>
                    <a:pt x="364" y="964"/>
                    <a:pt x="364" y="751"/>
                  </a:cubicBezTo>
                  <a:cubicBezTo>
                    <a:pt x="364" y="537"/>
                    <a:pt x="537" y="364"/>
                    <a:pt x="751" y="364"/>
                  </a:cubicBezTo>
                  <a:cubicBezTo>
                    <a:pt x="855" y="364"/>
                    <a:pt x="950" y="405"/>
                    <a:pt x="1020" y="473"/>
                  </a:cubicBezTo>
                  <a:cubicBezTo>
                    <a:pt x="1124" y="401"/>
                    <a:pt x="1124" y="401"/>
                    <a:pt x="1124" y="401"/>
                  </a:cubicBezTo>
                  <a:cubicBezTo>
                    <a:pt x="1030" y="302"/>
                    <a:pt x="898" y="240"/>
                    <a:pt x="751" y="240"/>
                  </a:cubicBezTo>
                  <a:cubicBezTo>
                    <a:pt x="469" y="240"/>
                    <a:pt x="240" y="469"/>
                    <a:pt x="240" y="751"/>
                  </a:cubicBezTo>
                  <a:cubicBezTo>
                    <a:pt x="240" y="1033"/>
                    <a:pt x="469" y="1262"/>
                    <a:pt x="751" y="1262"/>
                  </a:cubicBezTo>
                  <a:cubicBezTo>
                    <a:pt x="1033" y="1262"/>
                    <a:pt x="1262" y="1033"/>
                    <a:pt x="1262" y="751"/>
                  </a:cubicBezTo>
                  <a:cubicBezTo>
                    <a:pt x="1262" y="671"/>
                    <a:pt x="1244" y="595"/>
                    <a:pt x="1211" y="528"/>
                  </a:cubicBezTo>
                  <a:lnTo>
                    <a:pt x="1107" y="599"/>
                  </a:lnTo>
                  <a:close/>
                  <a:moveTo>
                    <a:pt x="1333" y="443"/>
                  </a:moveTo>
                  <a:cubicBezTo>
                    <a:pt x="1307" y="461"/>
                    <a:pt x="1307" y="461"/>
                    <a:pt x="1307" y="461"/>
                  </a:cubicBezTo>
                  <a:cubicBezTo>
                    <a:pt x="1352" y="548"/>
                    <a:pt x="1378" y="646"/>
                    <a:pt x="1378" y="751"/>
                  </a:cubicBezTo>
                  <a:cubicBezTo>
                    <a:pt x="1378" y="1097"/>
                    <a:pt x="1097" y="1378"/>
                    <a:pt x="751" y="1378"/>
                  </a:cubicBezTo>
                  <a:cubicBezTo>
                    <a:pt x="405" y="1378"/>
                    <a:pt x="124" y="1097"/>
                    <a:pt x="124" y="751"/>
                  </a:cubicBezTo>
                  <a:cubicBezTo>
                    <a:pt x="124" y="405"/>
                    <a:pt x="405" y="124"/>
                    <a:pt x="751" y="124"/>
                  </a:cubicBezTo>
                  <a:cubicBezTo>
                    <a:pt x="937" y="124"/>
                    <a:pt x="1105" y="205"/>
                    <a:pt x="1220" y="335"/>
                  </a:cubicBezTo>
                  <a:cubicBezTo>
                    <a:pt x="1246" y="317"/>
                    <a:pt x="1246" y="317"/>
                    <a:pt x="1246" y="317"/>
                  </a:cubicBezTo>
                  <a:cubicBezTo>
                    <a:pt x="1273" y="211"/>
                    <a:pt x="1273" y="211"/>
                    <a:pt x="1273" y="211"/>
                  </a:cubicBezTo>
                  <a:cubicBezTo>
                    <a:pt x="1138" y="80"/>
                    <a:pt x="954" y="0"/>
                    <a:pt x="751" y="0"/>
                  </a:cubicBezTo>
                  <a:cubicBezTo>
                    <a:pt x="337" y="0"/>
                    <a:pt x="0" y="337"/>
                    <a:pt x="0" y="751"/>
                  </a:cubicBezTo>
                  <a:cubicBezTo>
                    <a:pt x="0" y="1165"/>
                    <a:pt x="337" y="1502"/>
                    <a:pt x="751" y="1502"/>
                  </a:cubicBezTo>
                  <a:cubicBezTo>
                    <a:pt x="1165" y="1502"/>
                    <a:pt x="1502" y="1165"/>
                    <a:pt x="1502" y="751"/>
                  </a:cubicBezTo>
                  <a:cubicBezTo>
                    <a:pt x="1502" y="646"/>
                    <a:pt x="1480" y="547"/>
                    <a:pt x="1442" y="456"/>
                  </a:cubicBezTo>
                  <a:lnTo>
                    <a:pt x="1333" y="44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cxnSp>
        <p:nvCxnSpPr>
          <p:cNvPr id="9" name="Straight Connector 8"/>
          <p:cNvCxnSpPr/>
          <p:nvPr/>
        </p:nvCxnSpPr>
        <p:spPr>
          <a:xfrm>
            <a:off x="3184719" y="1747396"/>
            <a:ext cx="0" cy="4114800"/>
          </a:xfrm>
          <a:prstGeom prst="line">
            <a:avLst/>
          </a:prstGeom>
          <a:ln w="9525" cap="rnd" cmpd="sng" algn="ctr">
            <a:solidFill>
              <a:srgbClr val="1F4174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/>
          <p:cNvCxnSpPr/>
          <p:nvPr/>
        </p:nvCxnSpPr>
        <p:spPr>
          <a:xfrm>
            <a:off x="5995000" y="1747396"/>
            <a:ext cx="0" cy="4114800"/>
          </a:xfrm>
          <a:prstGeom prst="line">
            <a:avLst/>
          </a:prstGeom>
          <a:ln w="9525" cap="rnd" cmpd="sng" algn="ctr">
            <a:solidFill>
              <a:srgbClr val="1F4174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val 20"/>
          <p:cNvSpPr>
            <a:spLocks noChangeAspect="1" noChangeArrowheads="1"/>
          </p:cNvSpPr>
          <p:nvPr/>
        </p:nvSpPr>
        <p:spPr bwMode="auto">
          <a:xfrm>
            <a:off x="3622399" y="4929786"/>
            <a:ext cx="306910" cy="306910"/>
          </a:xfrm>
          <a:prstGeom prst="ellipse">
            <a:avLst/>
          </a:prstGeom>
          <a:solidFill>
            <a:schemeClr val="tx2">
              <a:lumMod val="100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dirty="0" smtClean="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4</a:t>
            </a:r>
            <a:endParaRPr lang="en-US" sz="1200" dirty="0">
              <a:solidFill>
                <a:srgbClr val="FFFFFF">
                  <a:lumMod val="100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3" name="ee4pContent3"/>
          <p:cNvSpPr txBox="1"/>
          <p:nvPr/>
        </p:nvSpPr>
        <p:spPr>
          <a:xfrm>
            <a:off x="3622398" y="4929786"/>
            <a:ext cx="2320349" cy="652856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0" rIns="0" bIns="0" rtlCol="0" anchor="t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2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24000" lvl="1" indent="-216000">
              <a:buClr>
                <a:srgbClr val="1F4174"/>
              </a:buClr>
              <a:buSzPct val="100000"/>
              <a:buFont typeface="Trebuchet MS" panose="020B0603020202020204" pitchFamily="34" charset="0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1F4174"/>
              </a:buClr>
              <a:buSzPct val="100000"/>
              <a:buFont typeface="Trebuchet MS" panose="020B0603020202020204" pitchFamily="34" charset="0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1F4174"/>
                </a:solidFill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1F4174"/>
              </a:buClr>
              <a:buSzPct val="100000"/>
              <a:buFont typeface="Trebuchet MS" panose="020B0603020202020204" pitchFamily="34" charset="0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6600">
                <a:solidFill>
                  <a:srgbClr val="1F4174"/>
                </a:solidFill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1F4174"/>
                </a:solidFill>
              </a:defRPr>
            </a:lvl9pPr>
          </a:lstStyle>
          <a:p>
            <a:r>
              <a:rPr lang="en-US" sz="1600" smtClean="0">
                <a:solidFill>
                  <a:srgbClr val="000000">
                    <a:lumMod val="100000"/>
                  </a:srgbClr>
                </a:solidFill>
              </a:rPr>
              <a:t>Low availability of early stage </a:t>
            </a:r>
            <a:r>
              <a:rPr lang="en-US" sz="1600" dirty="0">
                <a:solidFill>
                  <a:srgbClr val="000000">
                    <a:lumMod val="100000"/>
                  </a:srgbClr>
                </a:solidFill>
              </a:rPr>
              <a:t>capital</a:t>
            </a:r>
          </a:p>
        </p:txBody>
      </p:sp>
      <p:grpSp>
        <p:nvGrpSpPr>
          <p:cNvPr id="63" name="Group 62"/>
          <p:cNvGrpSpPr>
            <a:grpSpLocks noChangeAspect="1"/>
          </p:cNvGrpSpPr>
          <p:nvPr/>
        </p:nvGrpSpPr>
        <p:grpSpPr>
          <a:xfrm>
            <a:off x="8442858" y="2218966"/>
            <a:ext cx="306910" cy="306910"/>
            <a:chOff x="982662" y="1847850"/>
            <a:chExt cx="269875" cy="269875"/>
          </a:xfrm>
        </p:grpSpPr>
        <p:sp>
          <p:nvSpPr>
            <p:cNvPr id="64" name="Oval 50"/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65" name="Freeform 51"/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8" name="ee4pFootnotes"/>
          <p:cNvSpPr>
            <a:spLocks noChangeArrowheads="1"/>
          </p:cNvSpPr>
          <p:nvPr/>
        </p:nvSpPr>
        <p:spPr bwMode="auto">
          <a:xfrm>
            <a:off x="630000" y="6168715"/>
            <a:ext cx="9030914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 smtClean="0">
                <a:solidFill>
                  <a:srgbClr val="6F6F6F">
                    <a:lumMod val="10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Source</a:t>
            </a:r>
            <a:r>
              <a:rPr lang="en-US" sz="1000" dirty="0">
                <a:solidFill>
                  <a:srgbClr val="6F6F6F">
                    <a:lumMod val="10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: </a:t>
            </a:r>
            <a:r>
              <a:rPr lang="en-US" sz="1000" dirty="0" smtClean="0">
                <a:solidFill>
                  <a:srgbClr val="6F6F6F">
                    <a:lumMod val="10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Survey responses, Expert interviews, BCG research</a:t>
            </a:r>
            <a:endParaRPr lang="en-US" sz="1000" dirty="0">
              <a:solidFill>
                <a:srgbClr val="6F6F6F">
                  <a:lumMod val="100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69" name="Oval 20"/>
          <p:cNvSpPr>
            <a:spLocks noChangeAspect="1" noChangeArrowheads="1"/>
          </p:cNvSpPr>
          <p:nvPr/>
        </p:nvSpPr>
        <p:spPr bwMode="auto">
          <a:xfrm>
            <a:off x="6386381" y="4922392"/>
            <a:ext cx="306910" cy="306910"/>
          </a:xfrm>
          <a:prstGeom prst="ellipse">
            <a:avLst/>
          </a:prstGeom>
          <a:solidFill>
            <a:schemeClr val="tx2">
              <a:lumMod val="100000"/>
            </a:scheme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dirty="0" smtClean="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6</a:t>
            </a:r>
            <a:endParaRPr lang="en-US" sz="1200" dirty="0">
              <a:solidFill>
                <a:srgbClr val="FFFFFF">
                  <a:lumMod val="100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0" name="ee4pContent2"/>
          <p:cNvSpPr txBox="1"/>
          <p:nvPr/>
        </p:nvSpPr>
        <p:spPr>
          <a:xfrm>
            <a:off x="6386380" y="4942270"/>
            <a:ext cx="5176970" cy="9819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0" rIns="0" bIns="0" rtlCol="0" anchor="t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2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24000" lvl="1" indent="-216000">
              <a:buClr>
                <a:srgbClr val="1F4174"/>
              </a:buClr>
              <a:buSzPct val="100000"/>
              <a:buFont typeface="Trebuchet MS" panose="020B0603020202020204" pitchFamily="34" charset="0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1F4174"/>
              </a:buClr>
              <a:buSzPct val="100000"/>
              <a:buFont typeface="Trebuchet MS" panose="020B0603020202020204" pitchFamily="34" charset="0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1F4174"/>
                </a:solidFill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1F4174"/>
              </a:buClr>
              <a:buSzPct val="100000"/>
              <a:buFont typeface="Trebuchet MS" panose="020B0603020202020204" pitchFamily="34" charset="0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6600">
                <a:solidFill>
                  <a:srgbClr val="1F4174"/>
                </a:solidFill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1F4174"/>
                </a:solidFill>
              </a:defRPr>
            </a:lvl9pPr>
          </a:lstStyle>
          <a:p>
            <a:r>
              <a:rPr lang="en-US" sz="1600" dirty="0" smtClean="0">
                <a:solidFill>
                  <a:srgbClr val="000000">
                    <a:lumMod val="100000"/>
                  </a:srgbClr>
                </a:solidFill>
              </a:rPr>
              <a:t>Limited interdisciplinary focus between computer science programs and life sciences research</a:t>
            </a:r>
            <a:endParaRPr lang="en-US" sz="1600" dirty="0">
              <a:solidFill>
                <a:srgbClr val="000000">
                  <a:lumMod val="10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4327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34203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72" name="think-cell Slide" r:id="rId7" imgW="327" imgH="327" progId="TCLayout.ActiveDocument.1">
                  <p:embed/>
                </p:oleObj>
              </mc:Choice>
              <mc:Fallback>
                <p:oleObj name="think-cell Slide" r:id="rId7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dirty="0" smtClean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57" name="Oval 156"/>
          <p:cNvSpPr/>
          <p:nvPr/>
        </p:nvSpPr>
        <p:spPr>
          <a:xfrm>
            <a:off x="3548733" y="1562759"/>
            <a:ext cx="5095734" cy="5095734"/>
          </a:xfrm>
          <a:prstGeom prst="ellipse">
            <a:avLst/>
          </a:prstGeom>
          <a:noFill/>
          <a:ln w="9525" cap="rnd" cmpd="sng" algn="ctr">
            <a:solidFill>
              <a:srgbClr val="9A9A9A"/>
            </a:solidFill>
            <a:prstDash val="sysDot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smtClean="0">
              <a:solidFill>
                <a:srgbClr val="FFFFFF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3719160" y="1352066"/>
            <a:ext cx="4837072" cy="5136000"/>
            <a:chOff x="3719160" y="1352066"/>
            <a:chExt cx="4837072" cy="5136000"/>
          </a:xfrm>
        </p:grpSpPr>
        <p:sp>
          <p:nvSpPr>
            <p:cNvPr id="166" name="Rectangle 165"/>
            <p:cNvSpPr/>
            <p:nvPr/>
          </p:nvSpPr>
          <p:spPr>
            <a:xfrm rot="16200000">
              <a:off x="5894193" y="1018117"/>
              <a:ext cx="404812" cy="1072710"/>
            </a:xfrm>
            <a:prstGeom prst="rect">
              <a:avLst/>
            </a:pr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65" name="Rectangle 164"/>
            <p:cNvSpPr/>
            <p:nvPr/>
          </p:nvSpPr>
          <p:spPr>
            <a:xfrm rot="19800000">
              <a:off x="3726981" y="4834185"/>
              <a:ext cx="404812" cy="1072710"/>
            </a:xfrm>
            <a:prstGeom prst="rect">
              <a:avLst/>
            </a:pr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9" name="Rectangle 48"/>
            <p:cNvSpPr/>
            <p:nvPr/>
          </p:nvSpPr>
          <p:spPr>
            <a:xfrm rot="1688703">
              <a:off x="8036926" y="4739374"/>
              <a:ext cx="404812" cy="1246903"/>
            </a:xfrm>
            <a:prstGeom prst="rect">
              <a:avLst/>
            </a:pr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64" name="Rectangle 163"/>
            <p:cNvSpPr/>
            <p:nvPr/>
          </p:nvSpPr>
          <p:spPr>
            <a:xfrm rot="18000000">
              <a:off x="6465266" y="4366876"/>
              <a:ext cx="2611959" cy="1398624"/>
            </a:xfrm>
            <a:prstGeom prst="rect">
              <a:avLst/>
            </a:prstGeom>
          </p:spPr>
          <p:txBody>
            <a:bodyPr wrap="none" lIns="0" tIns="0" rIns="0" bIns="0">
              <a:prstTxWarp prst="textArchDown">
                <a:avLst/>
              </a:prstTxWarp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dirty="0">
                  <a:solidFill>
                    <a:srgbClr val="0B2B65"/>
                  </a:solidFill>
                  <a:sym typeface="Trebuchet MS" panose="020B0603020202020204" pitchFamily="34" charset="0"/>
                </a:rPr>
                <a:t>Sustainable </a:t>
              </a:r>
            </a:p>
          </p:txBody>
        </p:sp>
        <p:sp>
          <p:nvSpPr>
            <p:cNvPr id="87" name="Freeform 86"/>
            <p:cNvSpPr/>
            <p:nvPr/>
          </p:nvSpPr>
          <p:spPr>
            <a:xfrm>
              <a:off x="3719160" y="1733186"/>
              <a:ext cx="4754880" cy="4754880"/>
            </a:xfrm>
            <a:custGeom>
              <a:avLst/>
              <a:gdLst>
                <a:gd name="connsiteX0" fmla="*/ 2108811 w 4171902"/>
                <a:gd name="connsiteY0" fmla="*/ 2108739 h 4171758"/>
                <a:gd name="connsiteX1" fmla="*/ 4171902 w 4171902"/>
                <a:gd name="connsiteY1" fmla="*/ 2108739 h 4171758"/>
                <a:gd name="connsiteX2" fmla="*/ 4163504 w 4171902"/>
                <a:gd name="connsiteY2" fmla="*/ 2286099 h 4171758"/>
                <a:gd name="connsiteX3" fmla="*/ 2299338 w 4171902"/>
                <a:gd name="connsiteY3" fmla="*/ 4162137 h 4171758"/>
                <a:gd name="connsiteX4" fmla="*/ 2108811 w 4171902"/>
                <a:gd name="connsiteY4" fmla="*/ 4171758 h 4171758"/>
                <a:gd name="connsiteX5" fmla="*/ 1 w 4171902"/>
                <a:gd name="connsiteY5" fmla="*/ 2108739 h 4171758"/>
                <a:gd name="connsiteX6" fmla="*/ 2063092 w 4171902"/>
                <a:gd name="connsiteY6" fmla="*/ 2108739 h 4171758"/>
                <a:gd name="connsiteX7" fmla="*/ 2063092 w 4171902"/>
                <a:gd name="connsiteY7" fmla="*/ 4171758 h 4171758"/>
                <a:gd name="connsiteX8" fmla="*/ 1872564 w 4171902"/>
                <a:gd name="connsiteY8" fmla="*/ 4162137 h 4171758"/>
                <a:gd name="connsiteX9" fmla="*/ 8398 w 4171902"/>
                <a:gd name="connsiteY9" fmla="*/ 2286099 h 4171758"/>
                <a:gd name="connsiteX10" fmla="*/ 2108811 w 4171902"/>
                <a:gd name="connsiteY10" fmla="*/ 0 h 4171758"/>
                <a:gd name="connsiteX11" fmla="*/ 2299338 w 4171902"/>
                <a:gd name="connsiteY11" fmla="*/ 9621 h 4171758"/>
                <a:gd name="connsiteX12" fmla="*/ 4163504 w 4171902"/>
                <a:gd name="connsiteY12" fmla="*/ 1885659 h 4171758"/>
                <a:gd name="connsiteX13" fmla="*/ 4171902 w 4171902"/>
                <a:gd name="connsiteY13" fmla="*/ 2063020 h 4171758"/>
                <a:gd name="connsiteX14" fmla="*/ 2108811 w 4171902"/>
                <a:gd name="connsiteY14" fmla="*/ 2063020 h 4171758"/>
                <a:gd name="connsiteX15" fmla="*/ 2063092 w 4171902"/>
                <a:gd name="connsiteY15" fmla="*/ 0 h 4171758"/>
                <a:gd name="connsiteX16" fmla="*/ 2063092 w 4171902"/>
                <a:gd name="connsiteY16" fmla="*/ 2063020 h 4171758"/>
                <a:gd name="connsiteX17" fmla="*/ 0 w 4171902"/>
                <a:gd name="connsiteY17" fmla="*/ 2063020 h 4171758"/>
                <a:gd name="connsiteX18" fmla="*/ 8398 w 4171902"/>
                <a:gd name="connsiteY18" fmla="*/ 1885659 h 4171758"/>
                <a:gd name="connsiteX19" fmla="*/ 1872564 w 4171902"/>
                <a:gd name="connsiteY19" fmla="*/ 9621 h 4171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171902" h="4171758">
                  <a:moveTo>
                    <a:pt x="2108811" y="2108739"/>
                  </a:moveTo>
                  <a:lnTo>
                    <a:pt x="4171902" y="2108739"/>
                  </a:lnTo>
                  <a:lnTo>
                    <a:pt x="4163504" y="2286099"/>
                  </a:lnTo>
                  <a:cubicBezTo>
                    <a:pt x="4069425" y="3274520"/>
                    <a:pt x="3285962" y="4061940"/>
                    <a:pt x="2299338" y="4162137"/>
                  </a:cubicBezTo>
                  <a:lnTo>
                    <a:pt x="2108811" y="4171758"/>
                  </a:lnTo>
                  <a:close/>
                  <a:moveTo>
                    <a:pt x="1" y="2108739"/>
                  </a:moveTo>
                  <a:lnTo>
                    <a:pt x="2063092" y="2108739"/>
                  </a:lnTo>
                  <a:lnTo>
                    <a:pt x="2063092" y="4171758"/>
                  </a:lnTo>
                  <a:lnTo>
                    <a:pt x="1872564" y="4162137"/>
                  </a:lnTo>
                  <a:cubicBezTo>
                    <a:pt x="885941" y="4061940"/>
                    <a:pt x="102477" y="3274520"/>
                    <a:pt x="8398" y="2286099"/>
                  </a:cubicBezTo>
                  <a:close/>
                  <a:moveTo>
                    <a:pt x="2108811" y="0"/>
                  </a:moveTo>
                  <a:lnTo>
                    <a:pt x="2299338" y="9621"/>
                  </a:lnTo>
                  <a:cubicBezTo>
                    <a:pt x="3285962" y="109818"/>
                    <a:pt x="4069425" y="897239"/>
                    <a:pt x="4163504" y="1885659"/>
                  </a:cubicBezTo>
                  <a:lnTo>
                    <a:pt x="4171902" y="2063020"/>
                  </a:lnTo>
                  <a:lnTo>
                    <a:pt x="2108811" y="2063020"/>
                  </a:lnTo>
                  <a:close/>
                  <a:moveTo>
                    <a:pt x="2063092" y="0"/>
                  </a:moveTo>
                  <a:lnTo>
                    <a:pt x="2063092" y="2063020"/>
                  </a:lnTo>
                  <a:lnTo>
                    <a:pt x="0" y="2063020"/>
                  </a:lnTo>
                  <a:lnTo>
                    <a:pt x="8398" y="1885659"/>
                  </a:lnTo>
                  <a:cubicBezTo>
                    <a:pt x="102477" y="897239"/>
                    <a:pt x="885941" y="109818"/>
                    <a:pt x="1872564" y="9621"/>
                  </a:cubicBezTo>
                  <a:close/>
                </a:path>
              </a:pathLst>
            </a:custGeom>
            <a:solidFill>
              <a:srgbClr val="0B2B65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89" name="Oval 88"/>
            <p:cNvSpPr/>
            <p:nvPr/>
          </p:nvSpPr>
          <p:spPr>
            <a:xfrm>
              <a:off x="5211375" y="3225401"/>
              <a:ext cx="1770450" cy="1770450"/>
            </a:xfrm>
            <a:prstGeom prst="ellipse">
              <a:avLst/>
            </a:prstGeom>
            <a:gradFill flip="none" rotWithShape="1"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>
                <a:lnSpc>
                  <a:spcPct val="95000"/>
                </a:lnSpc>
              </a:pPr>
              <a:r>
                <a:rPr lang="en-US" kern="0" dirty="0">
                  <a:solidFill>
                    <a:schemeClr val="bg1"/>
                  </a:solidFill>
                </a:rPr>
                <a:t>Well </a:t>
              </a:r>
              <a:r>
                <a:rPr lang="en-US" kern="0" dirty="0" smtClean="0">
                  <a:solidFill>
                    <a:schemeClr val="bg1"/>
                  </a:solidFill>
                </a:rPr>
                <a:t/>
              </a:r>
              <a:br>
                <a:rPr lang="en-US" kern="0" dirty="0" smtClean="0">
                  <a:solidFill>
                    <a:schemeClr val="bg1"/>
                  </a:solidFill>
                </a:rPr>
              </a:br>
              <a:r>
                <a:rPr lang="en-US" kern="0" dirty="0" smtClean="0">
                  <a:solidFill>
                    <a:schemeClr val="bg1"/>
                  </a:solidFill>
                </a:rPr>
                <a:t>structured </a:t>
              </a:r>
              <a:br>
                <a:rPr lang="en-US" kern="0" dirty="0" smtClean="0">
                  <a:solidFill>
                    <a:schemeClr val="bg1"/>
                  </a:solidFill>
                </a:rPr>
              </a:br>
              <a:r>
                <a:rPr lang="en-US" kern="0" dirty="0" smtClean="0">
                  <a:solidFill>
                    <a:schemeClr val="bg1"/>
                  </a:solidFill>
                </a:rPr>
                <a:t>system </a:t>
              </a:r>
              <a:r>
                <a:rPr lang="en-US" kern="0" dirty="0">
                  <a:solidFill>
                    <a:schemeClr val="bg1"/>
                  </a:solidFill>
                </a:rPr>
                <a:t>for </a:t>
              </a:r>
              <a:r>
                <a:rPr lang="en-US" kern="0" dirty="0" smtClean="0">
                  <a:solidFill>
                    <a:schemeClr val="bg1"/>
                  </a:solidFill>
                </a:rPr>
                <a:t/>
              </a:r>
              <a:br>
                <a:rPr lang="en-US" kern="0" dirty="0" smtClean="0">
                  <a:solidFill>
                    <a:schemeClr val="bg1"/>
                  </a:solidFill>
                </a:rPr>
              </a:br>
              <a:r>
                <a:rPr lang="en-US" kern="0" dirty="0" smtClean="0">
                  <a:solidFill>
                    <a:schemeClr val="bg1"/>
                  </a:solidFill>
                </a:rPr>
                <a:t>coordination</a:t>
              </a:r>
              <a:endParaRPr lang="en-US" kern="0" dirty="0">
                <a:solidFill>
                  <a:schemeClr val="bg1"/>
                </a:solidFill>
              </a:endParaRPr>
            </a:p>
          </p:txBody>
        </p:sp>
        <p:sp>
          <p:nvSpPr>
            <p:cNvPr id="90" name="Rectangle 89"/>
            <p:cNvSpPr/>
            <p:nvPr/>
          </p:nvSpPr>
          <p:spPr>
            <a:xfrm>
              <a:off x="6716834" y="2616789"/>
              <a:ext cx="1839398" cy="830997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D4DF33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buSzPct val="100000"/>
                <a:buFont typeface="Trebuchet MS" panose="020B0603020202020204" pitchFamily="34" charset="0"/>
                <a:buChar char="​"/>
              </a:pPr>
              <a:r>
                <a:rPr lang="en-US" sz="1600" dirty="0" smtClean="0">
                  <a:solidFill>
                    <a:srgbClr val="FFFFFF"/>
                  </a:solidFill>
                  <a:latin typeface="Trebuchet MS" panose="020B0603020202020204" pitchFamily="34" charset="0"/>
                </a:rPr>
                <a:t>Superior </a:t>
              </a:r>
            </a:p>
            <a:p>
              <a:pPr>
                <a:buSzPct val="100000"/>
                <a:buFont typeface="Trebuchet MS" panose="020B0603020202020204" pitchFamily="34" charset="0"/>
                <a:buChar char="​"/>
              </a:pPr>
              <a:r>
                <a:rPr lang="en-US" sz="1600" dirty="0" smtClean="0">
                  <a:solidFill>
                    <a:srgbClr val="FFFFFF"/>
                  </a:solidFill>
                  <a:latin typeface="Trebuchet MS" panose="020B0603020202020204" pitchFamily="34" charset="0"/>
                </a:rPr>
                <a:t>workforce </a:t>
              </a:r>
            </a:p>
            <a:p>
              <a:pPr>
                <a:buSzPct val="100000"/>
                <a:buFont typeface="Trebuchet MS" panose="020B0603020202020204" pitchFamily="34" charset="0"/>
                <a:buChar char="​"/>
              </a:pPr>
              <a:r>
                <a:rPr lang="en-US" sz="1600" dirty="0" smtClean="0">
                  <a:solidFill>
                    <a:srgbClr val="FFFFFF"/>
                  </a:solidFill>
                  <a:latin typeface="Trebuchet MS" panose="020B0603020202020204" pitchFamily="34" charset="0"/>
                </a:rPr>
                <a:t>development</a:t>
              </a:r>
            </a:p>
          </p:txBody>
        </p:sp>
        <p:sp>
          <p:nvSpPr>
            <p:cNvPr id="91" name="Rectangle 90"/>
            <p:cNvSpPr/>
            <p:nvPr/>
          </p:nvSpPr>
          <p:spPr>
            <a:xfrm>
              <a:off x="4269117" y="2739900"/>
              <a:ext cx="1839398" cy="584775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3EAD9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buSzPct val="100000"/>
                <a:buFont typeface="Trebuchet MS" panose="020B0603020202020204" pitchFamily="34" charset="0"/>
                <a:buChar char="​"/>
              </a:pPr>
              <a:r>
                <a:rPr lang="en-US" sz="1600" dirty="0" smtClean="0">
                  <a:solidFill>
                    <a:srgbClr val="FFFFFF"/>
                  </a:solidFill>
                  <a:latin typeface="Trebuchet MS" panose="020B0603020202020204" pitchFamily="34" charset="0"/>
                </a:rPr>
                <a:t>Public </a:t>
              </a:r>
              <a:r>
                <a:rPr lang="en-US" sz="1600" dirty="0" smtClean="0">
                  <a:solidFill>
                    <a:srgbClr val="FFFFFF"/>
                  </a:solidFill>
                  <a:latin typeface="Trebuchet MS" panose="020B0603020202020204" pitchFamily="34" charset="0"/>
                </a:rPr>
                <a:t>imagination </a:t>
              </a:r>
              <a:r>
                <a:rPr lang="en-US" sz="1600" dirty="0" smtClean="0">
                  <a:solidFill>
                    <a:srgbClr val="FFFFFF"/>
                  </a:solidFill>
                  <a:latin typeface="Trebuchet MS" panose="020B0603020202020204" pitchFamily="34" charset="0"/>
                </a:rPr>
                <a:t/>
              </a:r>
              <a:br>
                <a:rPr lang="en-US" sz="1600" dirty="0" smtClean="0">
                  <a:solidFill>
                    <a:srgbClr val="FFFFFF"/>
                  </a:solidFill>
                  <a:latin typeface="Trebuchet MS" panose="020B0603020202020204" pitchFamily="34" charset="0"/>
                </a:rPr>
              </a:br>
              <a:r>
                <a:rPr lang="en-US" sz="1600" dirty="0" smtClean="0">
                  <a:solidFill>
                    <a:srgbClr val="FFFFFF"/>
                  </a:solidFill>
                  <a:latin typeface="Trebuchet MS" panose="020B0603020202020204" pitchFamily="34" charset="0"/>
                </a:rPr>
                <a:t>&amp; influence</a:t>
              </a:r>
            </a:p>
          </p:txBody>
        </p:sp>
        <p:sp>
          <p:nvSpPr>
            <p:cNvPr id="95" name="Rectangle 94"/>
            <p:cNvSpPr/>
            <p:nvPr/>
          </p:nvSpPr>
          <p:spPr>
            <a:xfrm>
              <a:off x="6466386" y="4915808"/>
              <a:ext cx="1839398" cy="584775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3EAD9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buSzPct val="100000"/>
                <a:buFont typeface="Trebuchet MS" panose="020B0603020202020204" pitchFamily="34" charset="0"/>
                <a:buChar char="​"/>
              </a:pPr>
              <a:r>
                <a:rPr lang="en-US" sz="1600" dirty="0" smtClean="0">
                  <a:solidFill>
                    <a:srgbClr val="FFFFFF"/>
                  </a:solidFill>
                  <a:latin typeface="Trebuchet MS" panose="020B0603020202020204" pitchFamily="34" charset="0"/>
                </a:rPr>
                <a:t>Robust incubation </a:t>
              </a:r>
              <a:br>
                <a:rPr lang="en-US" sz="1600" dirty="0" smtClean="0">
                  <a:solidFill>
                    <a:srgbClr val="FFFFFF"/>
                  </a:solidFill>
                  <a:latin typeface="Trebuchet MS" panose="020B0603020202020204" pitchFamily="34" charset="0"/>
                </a:rPr>
              </a:br>
              <a:r>
                <a:rPr lang="en-US" sz="1600" dirty="0" smtClean="0">
                  <a:solidFill>
                    <a:srgbClr val="FFFFFF"/>
                  </a:solidFill>
                  <a:latin typeface="Trebuchet MS" panose="020B0603020202020204" pitchFamily="34" charset="0"/>
                </a:rPr>
                <a:t>&amp; integration</a:t>
              </a:r>
            </a:p>
          </p:txBody>
        </p:sp>
        <p:sp>
          <p:nvSpPr>
            <p:cNvPr id="96" name="Rectangle 95"/>
            <p:cNvSpPr/>
            <p:nvPr/>
          </p:nvSpPr>
          <p:spPr>
            <a:xfrm>
              <a:off x="4432212" y="4915808"/>
              <a:ext cx="1839398" cy="830997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9A9A9A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>
                <a:buSzPct val="100000"/>
                <a:buFont typeface="Trebuchet MS" panose="020B0603020202020204" pitchFamily="34" charset="0"/>
                <a:buChar char="​"/>
              </a:pPr>
              <a:r>
                <a:rPr lang="en-US" sz="1600" dirty="0" smtClean="0">
                  <a:solidFill>
                    <a:srgbClr val="FFFFFF"/>
                  </a:solidFill>
                  <a:latin typeface="Trebuchet MS" panose="020B0603020202020204" pitchFamily="34" charset="0"/>
                </a:rPr>
                <a:t>World-class fundamental &amp; applied research</a:t>
              </a:r>
            </a:p>
          </p:txBody>
        </p:sp>
        <p:grpSp>
          <p:nvGrpSpPr>
            <p:cNvPr id="135" name="Group 134"/>
            <p:cNvGrpSpPr>
              <a:grpSpLocks noChangeAspect="1"/>
            </p:cNvGrpSpPr>
            <p:nvPr/>
          </p:nvGrpSpPr>
          <p:grpSpPr>
            <a:xfrm>
              <a:off x="4864566" y="2312669"/>
              <a:ext cx="527958" cy="527958"/>
              <a:chOff x="5273675" y="2606675"/>
              <a:chExt cx="1644650" cy="1644650"/>
            </a:xfrm>
          </p:grpSpPr>
          <p:sp>
            <p:nvSpPr>
              <p:cNvPr id="136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4650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37" name="Freeform 136"/>
              <p:cNvSpPr>
                <a:spLocks/>
              </p:cNvSpPr>
              <p:nvPr/>
            </p:nvSpPr>
            <p:spPr bwMode="auto">
              <a:xfrm>
                <a:off x="5445125" y="2776538"/>
                <a:ext cx="1304925" cy="1304925"/>
              </a:xfrm>
              <a:custGeom>
                <a:avLst/>
                <a:gdLst>
                  <a:gd name="connsiteX0" fmla="*/ 971220 w 1304925"/>
                  <a:gd name="connsiteY0" fmla="*/ 1027112 h 1304925"/>
                  <a:gd name="connsiteX1" fmla="*/ 1066800 w 1304925"/>
                  <a:gd name="connsiteY1" fmla="*/ 1069278 h 1304925"/>
                  <a:gd name="connsiteX2" fmla="*/ 806450 w 1304925"/>
                  <a:gd name="connsiteY2" fmla="*/ 1220787 h 1304925"/>
                  <a:gd name="connsiteX3" fmla="*/ 910590 w 1304925"/>
                  <a:gd name="connsiteY3" fmla="*/ 1092147 h 1304925"/>
                  <a:gd name="connsiteX4" fmla="*/ 936269 w 1304925"/>
                  <a:gd name="connsiteY4" fmla="*/ 1042835 h 1304925"/>
                  <a:gd name="connsiteX5" fmla="*/ 937695 w 1304925"/>
                  <a:gd name="connsiteY5" fmla="*/ 1042835 h 1304925"/>
                  <a:gd name="connsiteX6" fmla="*/ 971220 w 1304925"/>
                  <a:gd name="connsiteY6" fmla="*/ 1027112 h 1304925"/>
                  <a:gd name="connsiteX7" fmla="*/ 332118 w 1304925"/>
                  <a:gd name="connsiteY7" fmla="*/ 1027112 h 1304925"/>
                  <a:gd name="connsiteX8" fmla="*/ 366356 w 1304925"/>
                  <a:gd name="connsiteY8" fmla="*/ 1042835 h 1304925"/>
                  <a:gd name="connsiteX9" fmla="*/ 367069 w 1304925"/>
                  <a:gd name="connsiteY9" fmla="*/ 1042835 h 1304925"/>
                  <a:gd name="connsiteX10" fmla="*/ 392748 w 1304925"/>
                  <a:gd name="connsiteY10" fmla="*/ 1092147 h 1304925"/>
                  <a:gd name="connsiteX11" fmla="*/ 496888 w 1304925"/>
                  <a:gd name="connsiteY11" fmla="*/ 1220787 h 1304925"/>
                  <a:gd name="connsiteX12" fmla="*/ 236538 w 1304925"/>
                  <a:gd name="connsiteY12" fmla="*/ 1069278 h 1304925"/>
                  <a:gd name="connsiteX13" fmla="*/ 332118 w 1304925"/>
                  <a:gd name="connsiteY13" fmla="*/ 1027112 h 1304925"/>
                  <a:gd name="connsiteX14" fmla="*/ 776946 w 1304925"/>
                  <a:gd name="connsiteY14" fmla="*/ 982662 h 1304925"/>
                  <a:gd name="connsiteX15" fmla="*/ 893583 w 1304925"/>
                  <a:gd name="connsiteY15" fmla="*/ 1004047 h 1304925"/>
                  <a:gd name="connsiteX16" fmla="*/ 906463 w 1304925"/>
                  <a:gd name="connsiteY16" fmla="*/ 1031136 h 1304925"/>
                  <a:gd name="connsiteX17" fmla="*/ 882849 w 1304925"/>
                  <a:gd name="connsiteY17" fmla="*/ 1076758 h 1304925"/>
                  <a:gd name="connsiteX18" fmla="*/ 710399 w 1304925"/>
                  <a:gd name="connsiteY18" fmla="*/ 1238574 h 1304925"/>
                  <a:gd name="connsiteX19" fmla="*/ 666750 w 1304925"/>
                  <a:gd name="connsiteY19" fmla="*/ 1241425 h 1304925"/>
                  <a:gd name="connsiteX20" fmla="*/ 666750 w 1304925"/>
                  <a:gd name="connsiteY20" fmla="*/ 1086738 h 1304925"/>
                  <a:gd name="connsiteX21" fmla="*/ 776946 w 1304925"/>
                  <a:gd name="connsiteY21" fmla="*/ 982662 h 1304925"/>
                  <a:gd name="connsiteX22" fmla="*/ 525533 w 1304925"/>
                  <a:gd name="connsiteY22" fmla="*/ 982662 h 1304925"/>
                  <a:gd name="connsiteX23" fmla="*/ 635000 w 1304925"/>
                  <a:gd name="connsiteY23" fmla="*/ 1086738 h 1304925"/>
                  <a:gd name="connsiteX24" fmla="*/ 635000 w 1304925"/>
                  <a:gd name="connsiteY24" fmla="*/ 1241425 h 1304925"/>
                  <a:gd name="connsiteX25" fmla="*/ 591640 w 1304925"/>
                  <a:gd name="connsiteY25" fmla="*/ 1238574 h 1304925"/>
                  <a:gd name="connsiteX26" fmla="*/ 420332 w 1304925"/>
                  <a:gd name="connsiteY26" fmla="*/ 1076758 h 1304925"/>
                  <a:gd name="connsiteX27" fmla="*/ 396875 w 1304925"/>
                  <a:gd name="connsiteY27" fmla="*/ 1031136 h 1304925"/>
                  <a:gd name="connsiteX28" fmla="*/ 409670 w 1304925"/>
                  <a:gd name="connsiteY28" fmla="*/ 1004047 h 1304925"/>
                  <a:gd name="connsiteX29" fmla="*/ 525533 w 1304925"/>
                  <a:gd name="connsiteY29" fmla="*/ 982662 h 1304925"/>
                  <a:gd name="connsiteX30" fmla="*/ 645238 w 1304925"/>
                  <a:gd name="connsiteY30" fmla="*/ 882650 h 1304925"/>
                  <a:gd name="connsiteX31" fmla="*/ 705822 w 1304925"/>
                  <a:gd name="connsiteY31" fmla="*/ 891205 h 1304925"/>
                  <a:gd name="connsiteX32" fmla="*/ 696556 w 1304925"/>
                  <a:gd name="connsiteY32" fmla="*/ 911166 h 1304925"/>
                  <a:gd name="connsiteX33" fmla="*/ 694418 w 1304925"/>
                  <a:gd name="connsiteY33" fmla="*/ 911166 h 1304925"/>
                  <a:gd name="connsiteX34" fmla="*/ 696556 w 1304925"/>
                  <a:gd name="connsiteY34" fmla="*/ 926850 h 1304925"/>
                  <a:gd name="connsiteX35" fmla="*/ 698694 w 1304925"/>
                  <a:gd name="connsiteY35" fmla="*/ 935405 h 1304925"/>
                  <a:gd name="connsiteX36" fmla="*/ 700120 w 1304925"/>
                  <a:gd name="connsiteY36" fmla="*/ 941109 h 1304925"/>
                  <a:gd name="connsiteX37" fmla="*/ 705822 w 1304925"/>
                  <a:gd name="connsiteY37" fmla="*/ 952515 h 1304925"/>
                  <a:gd name="connsiteX38" fmla="*/ 706534 w 1304925"/>
                  <a:gd name="connsiteY38" fmla="*/ 953941 h 1304925"/>
                  <a:gd name="connsiteX39" fmla="*/ 712949 w 1304925"/>
                  <a:gd name="connsiteY39" fmla="*/ 966060 h 1304925"/>
                  <a:gd name="connsiteX40" fmla="*/ 699407 w 1304925"/>
                  <a:gd name="connsiteY40" fmla="*/ 973902 h 1304925"/>
                  <a:gd name="connsiteX41" fmla="*/ 700120 w 1304925"/>
                  <a:gd name="connsiteY41" fmla="*/ 992438 h 1304925"/>
                  <a:gd name="connsiteX42" fmla="*/ 700120 w 1304925"/>
                  <a:gd name="connsiteY42" fmla="*/ 993151 h 1304925"/>
                  <a:gd name="connsiteX43" fmla="*/ 695843 w 1304925"/>
                  <a:gd name="connsiteY43" fmla="*/ 1008122 h 1304925"/>
                  <a:gd name="connsiteX44" fmla="*/ 668046 w 1304925"/>
                  <a:gd name="connsiteY44" fmla="*/ 1010261 h 1304925"/>
                  <a:gd name="connsiteX45" fmla="*/ 668046 w 1304925"/>
                  <a:gd name="connsiteY45" fmla="*/ 1033787 h 1304925"/>
                  <a:gd name="connsiteX46" fmla="*/ 664482 w 1304925"/>
                  <a:gd name="connsiteY46" fmla="*/ 1036638 h 1304925"/>
                  <a:gd name="connsiteX47" fmla="*/ 611025 w 1304925"/>
                  <a:gd name="connsiteY47" fmla="*/ 1027370 h 1304925"/>
                  <a:gd name="connsiteX48" fmla="*/ 608887 w 1304925"/>
                  <a:gd name="connsiteY48" fmla="*/ 1024519 h 1304925"/>
                  <a:gd name="connsiteX49" fmla="*/ 608887 w 1304925"/>
                  <a:gd name="connsiteY49" fmla="*/ 990299 h 1304925"/>
                  <a:gd name="connsiteX50" fmla="*/ 588930 w 1304925"/>
                  <a:gd name="connsiteY50" fmla="*/ 918295 h 1304925"/>
                  <a:gd name="connsiteX51" fmla="*/ 645238 w 1304925"/>
                  <a:gd name="connsiteY51" fmla="*/ 882650 h 1304925"/>
                  <a:gd name="connsiteX52" fmla="*/ 1039099 w 1304925"/>
                  <a:gd name="connsiteY52" fmla="*/ 666750 h 1304925"/>
                  <a:gd name="connsiteX53" fmla="*/ 1241425 w 1304925"/>
                  <a:gd name="connsiteY53" fmla="*/ 666750 h 1304925"/>
                  <a:gd name="connsiteX54" fmla="*/ 1089322 w 1304925"/>
                  <a:gd name="connsiteY54" fmla="*/ 1046163 h 1304925"/>
                  <a:gd name="connsiteX55" fmla="*/ 979550 w 1304925"/>
                  <a:gd name="connsiteY55" fmla="*/ 997484 h 1304925"/>
                  <a:gd name="connsiteX56" fmla="*/ 965200 w 1304925"/>
                  <a:gd name="connsiteY56" fmla="*/ 966701 h 1304925"/>
                  <a:gd name="connsiteX57" fmla="*/ 1013271 w 1304925"/>
                  <a:gd name="connsiteY57" fmla="*/ 691806 h 1304925"/>
                  <a:gd name="connsiteX58" fmla="*/ 1039099 w 1304925"/>
                  <a:gd name="connsiteY58" fmla="*/ 666750 h 1304925"/>
                  <a:gd name="connsiteX59" fmla="*/ 691822 w 1304925"/>
                  <a:gd name="connsiteY59" fmla="*/ 666750 h 1304925"/>
                  <a:gd name="connsiteX60" fmla="*/ 958307 w 1304925"/>
                  <a:gd name="connsiteY60" fmla="*/ 666750 h 1304925"/>
                  <a:gd name="connsiteX61" fmla="*/ 982663 w 1304925"/>
                  <a:gd name="connsiteY61" fmla="*/ 691033 h 1304925"/>
                  <a:gd name="connsiteX62" fmla="*/ 936100 w 1304925"/>
                  <a:gd name="connsiteY62" fmla="*/ 955283 h 1304925"/>
                  <a:gd name="connsiteX63" fmla="*/ 901715 w 1304925"/>
                  <a:gd name="connsiteY63" fmla="*/ 973138 h 1304925"/>
                  <a:gd name="connsiteX64" fmla="*/ 779218 w 1304925"/>
                  <a:gd name="connsiteY64" fmla="*/ 950284 h 1304925"/>
                  <a:gd name="connsiteX65" fmla="*/ 666750 w 1304925"/>
                  <a:gd name="connsiteY65" fmla="*/ 831728 h 1304925"/>
                  <a:gd name="connsiteX66" fmla="*/ 666750 w 1304925"/>
                  <a:gd name="connsiteY66" fmla="*/ 691747 h 1304925"/>
                  <a:gd name="connsiteX67" fmla="*/ 691822 w 1304925"/>
                  <a:gd name="connsiteY67" fmla="*/ 666750 h 1304925"/>
                  <a:gd name="connsiteX68" fmla="*/ 481775 w 1304925"/>
                  <a:gd name="connsiteY68" fmla="*/ 666750 h 1304925"/>
                  <a:gd name="connsiteX69" fmla="*/ 610057 w 1304925"/>
                  <a:gd name="connsiteY69" fmla="*/ 666750 h 1304925"/>
                  <a:gd name="connsiteX70" fmla="*/ 635001 w 1304925"/>
                  <a:gd name="connsiteY70" fmla="*/ 691747 h 1304925"/>
                  <a:gd name="connsiteX71" fmla="*/ 635001 w 1304925"/>
                  <a:gd name="connsiteY71" fmla="*/ 831728 h 1304925"/>
                  <a:gd name="connsiteX72" fmla="*/ 523110 w 1304925"/>
                  <a:gd name="connsiteY72" fmla="*/ 950284 h 1304925"/>
                  <a:gd name="connsiteX73" fmla="*/ 401242 w 1304925"/>
                  <a:gd name="connsiteY73" fmla="*/ 973138 h 1304925"/>
                  <a:gd name="connsiteX74" fmla="*/ 367033 w 1304925"/>
                  <a:gd name="connsiteY74" fmla="*/ 955283 h 1304925"/>
                  <a:gd name="connsiteX75" fmla="*/ 334963 w 1304925"/>
                  <a:gd name="connsiteY75" fmla="*/ 827443 h 1304925"/>
                  <a:gd name="connsiteX76" fmla="*/ 481775 w 1304925"/>
                  <a:gd name="connsiteY76" fmla="*/ 666750 h 1304925"/>
                  <a:gd name="connsiteX77" fmla="*/ 61913 w 1304925"/>
                  <a:gd name="connsiteY77" fmla="*/ 666750 h 1304925"/>
                  <a:gd name="connsiteX78" fmla="*/ 126114 w 1304925"/>
                  <a:gd name="connsiteY78" fmla="*/ 666750 h 1304925"/>
                  <a:gd name="connsiteX79" fmla="*/ 303024 w 1304925"/>
                  <a:gd name="connsiteY79" fmla="*/ 830685 h 1304925"/>
                  <a:gd name="connsiteX80" fmla="*/ 336551 w 1304925"/>
                  <a:gd name="connsiteY80" fmla="*/ 966701 h 1304925"/>
                  <a:gd name="connsiteX81" fmla="*/ 322284 w 1304925"/>
                  <a:gd name="connsiteY81" fmla="*/ 997484 h 1304925"/>
                  <a:gd name="connsiteX82" fmla="*/ 213142 w 1304925"/>
                  <a:gd name="connsiteY82" fmla="*/ 1046163 h 1304925"/>
                  <a:gd name="connsiteX83" fmla="*/ 61913 w 1304925"/>
                  <a:gd name="connsiteY83" fmla="*/ 666750 h 1304925"/>
                  <a:gd name="connsiteX84" fmla="*/ 297686 w 1304925"/>
                  <a:gd name="connsiteY84" fmla="*/ 534987 h 1304925"/>
                  <a:gd name="connsiteX85" fmla="*/ 373565 w 1304925"/>
                  <a:gd name="connsiteY85" fmla="*/ 572235 h 1304925"/>
                  <a:gd name="connsiteX86" fmla="*/ 369986 w 1304925"/>
                  <a:gd name="connsiteY86" fmla="*/ 578682 h 1304925"/>
                  <a:gd name="connsiteX87" fmla="*/ 377860 w 1304925"/>
                  <a:gd name="connsiteY87" fmla="*/ 605186 h 1304925"/>
                  <a:gd name="connsiteX88" fmla="*/ 379291 w 1304925"/>
                  <a:gd name="connsiteY88" fmla="*/ 628108 h 1304925"/>
                  <a:gd name="connsiteX89" fmla="*/ 389313 w 1304925"/>
                  <a:gd name="connsiteY89" fmla="*/ 643866 h 1304925"/>
                  <a:gd name="connsiteX90" fmla="*/ 397903 w 1304925"/>
                  <a:gd name="connsiteY90" fmla="*/ 663207 h 1304925"/>
                  <a:gd name="connsiteX91" fmla="*/ 376428 w 1304925"/>
                  <a:gd name="connsiteY91" fmla="*/ 673951 h 1304925"/>
                  <a:gd name="connsiteX92" fmla="*/ 376428 w 1304925"/>
                  <a:gd name="connsiteY92" fmla="*/ 690427 h 1304925"/>
                  <a:gd name="connsiteX93" fmla="*/ 371417 w 1304925"/>
                  <a:gd name="connsiteY93" fmla="*/ 720512 h 1304925"/>
                  <a:gd name="connsiteX94" fmla="*/ 343500 w 1304925"/>
                  <a:gd name="connsiteY94" fmla="*/ 725526 h 1304925"/>
                  <a:gd name="connsiteX95" fmla="*/ 327035 w 1304925"/>
                  <a:gd name="connsiteY95" fmla="*/ 724810 h 1304925"/>
                  <a:gd name="connsiteX96" fmla="*/ 327035 w 1304925"/>
                  <a:gd name="connsiteY96" fmla="*/ 764207 h 1304925"/>
                  <a:gd name="connsiteX97" fmla="*/ 322024 w 1304925"/>
                  <a:gd name="connsiteY97" fmla="*/ 769937 h 1304925"/>
                  <a:gd name="connsiteX98" fmla="*/ 317014 w 1304925"/>
                  <a:gd name="connsiteY98" fmla="*/ 769937 h 1304925"/>
                  <a:gd name="connsiteX99" fmla="*/ 259031 w 1304925"/>
                  <a:gd name="connsiteY99" fmla="*/ 755611 h 1304925"/>
                  <a:gd name="connsiteX100" fmla="*/ 256167 w 1304925"/>
                  <a:gd name="connsiteY100" fmla="*/ 751313 h 1304925"/>
                  <a:gd name="connsiteX101" fmla="*/ 254736 w 1304925"/>
                  <a:gd name="connsiteY101" fmla="*/ 725526 h 1304925"/>
                  <a:gd name="connsiteX102" fmla="*/ 207490 w 1304925"/>
                  <a:gd name="connsiteY102" fmla="*/ 587278 h 1304925"/>
                  <a:gd name="connsiteX103" fmla="*/ 297686 w 1304925"/>
                  <a:gd name="connsiteY103" fmla="*/ 534987 h 1304925"/>
                  <a:gd name="connsiteX104" fmla="*/ 835810 w 1304925"/>
                  <a:gd name="connsiteY104" fmla="*/ 344487 h 1304925"/>
                  <a:gd name="connsiteX105" fmla="*/ 937533 w 1304925"/>
                  <a:gd name="connsiteY105" fmla="*/ 413763 h 1304925"/>
                  <a:gd name="connsiteX106" fmla="*/ 954725 w 1304925"/>
                  <a:gd name="connsiteY106" fmla="*/ 412334 h 1304925"/>
                  <a:gd name="connsiteX107" fmla="*/ 982663 w 1304925"/>
                  <a:gd name="connsiteY107" fmla="*/ 612305 h 1304925"/>
                  <a:gd name="connsiteX108" fmla="*/ 958307 w 1304925"/>
                  <a:gd name="connsiteY108" fmla="*/ 636587 h 1304925"/>
                  <a:gd name="connsiteX109" fmla="*/ 691822 w 1304925"/>
                  <a:gd name="connsiteY109" fmla="*/ 636587 h 1304925"/>
                  <a:gd name="connsiteX110" fmla="*/ 666750 w 1304925"/>
                  <a:gd name="connsiteY110" fmla="*/ 611591 h 1304925"/>
                  <a:gd name="connsiteX111" fmla="*/ 666750 w 1304925"/>
                  <a:gd name="connsiteY111" fmla="*/ 385195 h 1304925"/>
                  <a:gd name="connsiteX112" fmla="*/ 691822 w 1304925"/>
                  <a:gd name="connsiteY112" fmla="*/ 359485 h 1304925"/>
                  <a:gd name="connsiteX113" fmla="*/ 835810 w 1304925"/>
                  <a:gd name="connsiteY113" fmla="*/ 344487 h 1304925"/>
                  <a:gd name="connsiteX114" fmla="*/ 401242 w 1304925"/>
                  <a:gd name="connsiteY114" fmla="*/ 330200 h 1304925"/>
                  <a:gd name="connsiteX115" fmla="*/ 610057 w 1304925"/>
                  <a:gd name="connsiteY115" fmla="*/ 359482 h 1304925"/>
                  <a:gd name="connsiteX116" fmla="*/ 635001 w 1304925"/>
                  <a:gd name="connsiteY116" fmla="*/ 385193 h 1304925"/>
                  <a:gd name="connsiteX117" fmla="*/ 635001 w 1304925"/>
                  <a:gd name="connsiteY117" fmla="*/ 611591 h 1304925"/>
                  <a:gd name="connsiteX118" fmla="*/ 610057 w 1304925"/>
                  <a:gd name="connsiteY118" fmla="*/ 636588 h 1304925"/>
                  <a:gd name="connsiteX119" fmla="*/ 481775 w 1304925"/>
                  <a:gd name="connsiteY119" fmla="*/ 636588 h 1304925"/>
                  <a:gd name="connsiteX120" fmla="*/ 334963 w 1304925"/>
                  <a:gd name="connsiteY120" fmla="*/ 475895 h 1304925"/>
                  <a:gd name="connsiteX121" fmla="*/ 367033 w 1304925"/>
                  <a:gd name="connsiteY121" fmla="*/ 348055 h 1304925"/>
                  <a:gd name="connsiteX122" fmla="*/ 401242 w 1304925"/>
                  <a:gd name="connsiteY122" fmla="*/ 330200 h 1304925"/>
                  <a:gd name="connsiteX123" fmla="*/ 1089556 w 1304925"/>
                  <a:gd name="connsiteY123" fmla="*/ 257175 h 1304925"/>
                  <a:gd name="connsiteX124" fmla="*/ 1241425 w 1304925"/>
                  <a:gd name="connsiteY124" fmla="*/ 636588 h 1304925"/>
                  <a:gd name="connsiteX125" fmla="*/ 1039410 w 1304925"/>
                  <a:gd name="connsiteY125" fmla="*/ 636588 h 1304925"/>
                  <a:gd name="connsiteX126" fmla="*/ 1013621 w 1304925"/>
                  <a:gd name="connsiteY126" fmla="*/ 611533 h 1304925"/>
                  <a:gd name="connsiteX127" fmla="*/ 984250 w 1304925"/>
                  <a:gd name="connsiteY127" fmla="*/ 402497 h 1304925"/>
                  <a:gd name="connsiteX128" fmla="*/ 1045858 w 1304925"/>
                  <a:gd name="connsiteY128" fmla="*/ 303707 h 1304925"/>
                  <a:gd name="connsiteX129" fmla="*/ 1043709 w 1304925"/>
                  <a:gd name="connsiteY129" fmla="*/ 280083 h 1304925"/>
                  <a:gd name="connsiteX130" fmla="*/ 1089556 w 1304925"/>
                  <a:gd name="connsiteY130" fmla="*/ 257175 h 1304925"/>
                  <a:gd name="connsiteX131" fmla="*/ 213142 w 1304925"/>
                  <a:gd name="connsiteY131" fmla="*/ 257175 h 1304925"/>
                  <a:gd name="connsiteX132" fmla="*/ 322284 w 1304925"/>
                  <a:gd name="connsiteY132" fmla="*/ 305855 h 1304925"/>
                  <a:gd name="connsiteX133" fmla="*/ 336551 w 1304925"/>
                  <a:gd name="connsiteY133" fmla="*/ 336637 h 1304925"/>
                  <a:gd name="connsiteX134" fmla="*/ 303024 w 1304925"/>
                  <a:gd name="connsiteY134" fmla="*/ 472653 h 1304925"/>
                  <a:gd name="connsiteX135" fmla="*/ 126114 w 1304925"/>
                  <a:gd name="connsiteY135" fmla="*/ 636588 h 1304925"/>
                  <a:gd name="connsiteX136" fmla="*/ 61913 w 1304925"/>
                  <a:gd name="connsiteY136" fmla="*/ 636588 h 1304925"/>
                  <a:gd name="connsiteX137" fmla="*/ 213142 w 1304925"/>
                  <a:gd name="connsiteY137" fmla="*/ 257175 h 1304925"/>
                  <a:gd name="connsiteX138" fmla="*/ 943845 w 1304925"/>
                  <a:gd name="connsiteY138" fmla="*/ 239712 h 1304925"/>
                  <a:gd name="connsiteX139" fmla="*/ 992680 w 1304925"/>
                  <a:gd name="connsiteY139" fmla="*/ 270133 h 1304925"/>
                  <a:gd name="connsiteX140" fmla="*/ 975444 w 1304925"/>
                  <a:gd name="connsiteY140" fmla="*/ 330976 h 1304925"/>
                  <a:gd name="connsiteX141" fmla="*/ 975444 w 1304925"/>
                  <a:gd name="connsiteY141" fmla="*/ 359275 h 1304925"/>
                  <a:gd name="connsiteX142" fmla="*/ 973289 w 1304925"/>
                  <a:gd name="connsiteY142" fmla="*/ 362105 h 1304925"/>
                  <a:gd name="connsiteX143" fmla="*/ 927328 w 1304925"/>
                  <a:gd name="connsiteY143" fmla="*/ 369887 h 1304925"/>
                  <a:gd name="connsiteX144" fmla="*/ 924455 w 1304925"/>
                  <a:gd name="connsiteY144" fmla="*/ 367057 h 1304925"/>
                  <a:gd name="connsiteX145" fmla="*/ 924455 w 1304925"/>
                  <a:gd name="connsiteY145" fmla="*/ 347248 h 1304925"/>
                  <a:gd name="connsiteX146" fmla="*/ 900756 w 1304925"/>
                  <a:gd name="connsiteY146" fmla="*/ 345833 h 1304925"/>
                  <a:gd name="connsiteX147" fmla="*/ 896447 w 1304925"/>
                  <a:gd name="connsiteY147" fmla="*/ 333099 h 1304925"/>
                  <a:gd name="connsiteX148" fmla="*/ 896447 w 1304925"/>
                  <a:gd name="connsiteY148" fmla="*/ 332391 h 1304925"/>
                  <a:gd name="connsiteX149" fmla="*/ 897165 w 1304925"/>
                  <a:gd name="connsiteY149" fmla="*/ 316827 h 1304925"/>
                  <a:gd name="connsiteX150" fmla="*/ 885675 w 1304925"/>
                  <a:gd name="connsiteY150" fmla="*/ 310459 h 1304925"/>
                  <a:gd name="connsiteX151" fmla="*/ 890702 w 1304925"/>
                  <a:gd name="connsiteY151" fmla="*/ 299847 h 1304925"/>
                  <a:gd name="connsiteX152" fmla="*/ 892138 w 1304925"/>
                  <a:gd name="connsiteY152" fmla="*/ 299140 h 1304925"/>
                  <a:gd name="connsiteX153" fmla="*/ 896447 w 1304925"/>
                  <a:gd name="connsiteY153" fmla="*/ 289235 h 1304925"/>
                  <a:gd name="connsiteX154" fmla="*/ 897883 w 1304925"/>
                  <a:gd name="connsiteY154" fmla="*/ 284283 h 1304925"/>
                  <a:gd name="connsiteX155" fmla="*/ 900038 w 1304925"/>
                  <a:gd name="connsiteY155" fmla="*/ 277208 h 1304925"/>
                  <a:gd name="connsiteX156" fmla="*/ 901474 w 1304925"/>
                  <a:gd name="connsiteY156" fmla="*/ 263766 h 1304925"/>
                  <a:gd name="connsiteX157" fmla="*/ 900038 w 1304925"/>
                  <a:gd name="connsiteY157" fmla="*/ 263766 h 1304925"/>
                  <a:gd name="connsiteX158" fmla="*/ 892138 w 1304925"/>
                  <a:gd name="connsiteY158" fmla="*/ 246787 h 1304925"/>
                  <a:gd name="connsiteX159" fmla="*/ 943845 w 1304925"/>
                  <a:gd name="connsiteY159" fmla="*/ 239712 h 1304925"/>
                  <a:gd name="connsiteX160" fmla="*/ 806450 w 1304925"/>
                  <a:gd name="connsiteY160" fmla="*/ 82550 h 1304925"/>
                  <a:gd name="connsiteX161" fmla="*/ 1066800 w 1304925"/>
                  <a:gd name="connsiteY161" fmla="*/ 233712 h 1304925"/>
                  <a:gd name="connsiteX162" fmla="*/ 1032562 w 1304925"/>
                  <a:gd name="connsiteY162" fmla="*/ 250825 h 1304925"/>
                  <a:gd name="connsiteX163" fmla="*/ 937695 w 1304925"/>
                  <a:gd name="connsiteY163" fmla="*/ 194496 h 1304925"/>
                  <a:gd name="connsiteX164" fmla="*/ 904171 w 1304925"/>
                  <a:gd name="connsiteY164" fmla="*/ 199487 h 1304925"/>
                  <a:gd name="connsiteX165" fmla="*/ 806450 w 1304925"/>
                  <a:gd name="connsiteY165" fmla="*/ 82550 h 1304925"/>
                  <a:gd name="connsiteX166" fmla="*/ 496888 w 1304925"/>
                  <a:gd name="connsiteY166" fmla="*/ 82550 h 1304925"/>
                  <a:gd name="connsiteX167" fmla="*/ 392748 w 1304925"/>
                  <a:gd name="connsiteY167" fmla="*/ 211190 h 1304925"/>
                  <a:gd name="connsiteX168" fmla="*/ 367069 w 1304925"/>
                  <a:gd name="connsiteY168" fmla="*/ 260502 h 1304925"/>
                  <a:gd name="connsiteX169" fmla="*/ 366356 w 1304925"/>
                  <a:gd name="connsiteY169" fmla="*/ 260502 h 1304925"/>
                  <a:gd name="connsiteX170" fmla="*/ 332118 w 1304925"/>
                  <a:gd name="connsiteY170" fmla="*/ 276225 h 1304925"/>
                  <a:gd name="connsiteX171" fmla="*/ 236538 w 1304925"/>
                  <a:gd name="connsiteY171" fmla="*/ 234059 h 1304925"/>
                  <a:gd name="connsiteX172" fmla="*/ 496888 w 1304925"/>
                  <a:gd name="connsiteY172" fmla="*/ 82550 h 1304925"/>
                  <a:gd name="connsiteX173" fmla="*/ 666750 w 1304925"/>
                  <a:gd name="connsiteY173" fmla="*/ 61912 h 1304925"/>
                  <a:gd name="connsiteX174" fmla="*/ 710343 w 1304925"/>
                  <a:gd name="connsiteY174" fmla="*/ 64763 h 1304925"/>
                  <a:gd name="connsiteX175" fmla="*/ 874713 w 1304925"/>
                  <a:gd name="connsiteY175" fmla="*/ 213710 h 1304925"/>
                  <a:gd name="connsiteX176" fmla="*/ 828261 w 1304925"/>
                  <a:gd name="connsiteY176" fmla="*/ 303507 h 1304925"/>
                  <a:gd name="connsiteX177" fmla="*/ 828261 w 1304925"/>
                  <a:gd name="connsiteY177" fmla="*/ 312772 h 1304925"/>
                  <a:gd name="connsiteX178" fmla="*/ 691048 w 1304925"/>
                  <a:gd name="connsiteY178" fmla="*/ 327025 h 1304925"/>
                  <a:gd name="connsiteX179" fmla="*/ 666750 w 1304925"/>
                  <a:gd name="connsiteY179" fmla="*/ 302794 h 1304925"/>
                  <a:gd name="connsiteX180" fmla="*/ 666750 w 1304925"/>
                  <a:gd name="connsiteY180" fmla="*/ 61912 h 1304925"/>
                  <a:gd name="connsiteX181" fmla="*/ 635000 w 1304925"/>
                  <a:gd name="connsiteY181" fmla="*/ 61912 h 1304925"/>
                  <a:gd name="connsiteX182" fmla="*/ 635000 w 1304925"/>
                  <a:gd name="connsiteY182" fmla="*/ 302794 h 1304925"/>
                  <a:gd name="connsiteX183" fmla="*/ 610832 w 1304925"/>
                  <a:gd name="connsiteY183" fmla="*/ 327025 h 1304925"/>
                  <a:gd name="connsiteX184" fmla="*/ 409670 w 1304925"/>
                  <a:gd name="connsiteY184" fmla="*/ 299231 h 1304925"/>
                  <a:gd name="connsiteX185" fmla="*/ 396875 w 1304925"/>
                  <a:gd name="connsiteY185" fmla="*/ 272150 h 1304925"/>
                  <a:gd name="connsiteX186" fmla="*/ 420332 w 1304925"/>
                  <a:gd name="connsiteY186" fmla="*/ 226538 h 1304925"/>
                  <a:gd name="connsiteX187" fmla="*/ 591640 w 1304925"/>
                  <a:gd name="connsiteY187" fmla="*/ 64763 h 1304925"/>
                  <a:gd name="connsiteX188" fmla="*/ 635000 w 1304925"/>
                  <a:gd name="connsiteY188" fmla="*/ 61912 h 1304925"/>
                  <a:gd name="connsiteX189" fmla="*/ 651670 w 1304925"/>
                  <a:gd name="connsiteY189" fmla="*/ 31750 h 1304925"/>
                  <a:gd name="connsiteX190" fmla="*/ 30163 w 1304925"/>
                  <a:gd name="connsiteY190" fmla="*/ 652463 h 1304925"/>
                  <a:gd name="connsiteX191" fmla="*/ 651670 w 1304925"/>
                  <a:gd name="connsiteY191" fmla="*/ 1273176 h 1304925"/>
                  <a:gd name="connsiteX192" fmla="*/ 1273177 w 1304925"/>
                  <a:gd name="connsiteY192" fmla="*/ 652463 h 1304925"/>
                  <a:gd name="connsiteX193" fmla="*/ 651670 w 1304925"/>
                  <a:gd name="connsiteY193" fmla="*/ 31750 h 1304925"/>
                  <a:gd name="connsiteX194" fmla="*/ 652463 w 1304925"/>
                  <a:gd name="connsiteY194" fmla="*/ 0 h 1304925"/>
                  <a:gd name="connsiteX195" fmla="*/ 1113403 w 1304925"/>
                  <a:gd name="connsiteY195" fmla="*/ 191313 h 1304925"/>
                  <a:gd name="connsiteX196" fmla="*/ 1304925 w 1304925"/>
                  <a:gd name="connsiteY196" fmla="*/ 652463 h 1304925"/>
                  <a:gd name="connsiteX197" fmla="*/ 1113403 w 1304925"/>
                  <a:gd name="connsiteY197" fmla="*/ 1113612 h 1304925"/>
                  <a:gd name="connsiteX198" fmla="*/ 652463 w 1304925"/>
                  <a:gd name="connsiteY198" fmla="*/ 1304925 h 1304925"/>
                  <a:gd name="connsiteX199" fmla="*/ 191523 w 1304925"/>
                  <a:gd name="connsiteY199" fmla="*/ 1113612 h 1304925"/>
                  <a:gd name="connsiteX200" fmla="*/ 0 w 1304925"/>
                  <a:gd name="connsiteY200" fmla="*/ 652463 h 1304925"/>
                  <a:gd name="connsiteX201" fmla="*/ 191523 w 1304925"/>
                  <a:gd name="connsiteY201" fmla="*/ 191313 h 1304925"/>
                  <a:gd name="connsiteX202" fmla="*/ 652463 w 1304925"/>
                  <a:gd name="connsiteY202" fmla="*/ 0 h 1304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</a:cxnLst>
                <a:rect l="l" t="t" r="r" b="b"/>
                <a:pathLst>
                  <a:path w="1304925" h="1304925">
                    <a:moveTo>
                      <a:pt x="971220" y="1027112"/>
                    </a:moveTo>
                    <a:cubicBezTo>
                      <a:pt x="1004744" y="1039261"/>
                      <a:pt x="1037555" y="1053555"/>
                      <a:pt x="1066800" y="1069278"/>
                    </a:cubicBezTo>
                    <a:cubicBezTo>
                      <a:pt x="995471" y="1140744"/>
                      <a:pt x="905597" y="1193630"/>
                      <a:pt x="806450" y="1220787"/>
                    </a:cubicBezTo>
                    <a:cubicBezTo>
                      <a:pt x="844967" y="1189342"/>
                      <a:pt x="879918" y="1146462"/>
                      <a:pt x="910590" y="1092147"/>
                    </a:cubicBezTo>
                    <a:cubicBezTo>
                      <a:pt x="919863" y="1076424"/>
                      <a:pt x="928422" y="1059987"/>
                      <a:pt x="936269" y="1042835"/>
                    </a:cubicBezTo>
                    <a:cubicBezTo>
                      <a:pt x="936269" y="1042835"/>
                      <a:pt x="936982" y="1042835"/>
                      <a:pt x="937695" y="1042835"/>
                    </a:cubicBezTo>
                    <a:cubicBezTo>
                      <a:pt x="950534" y="1042835"/>
                      <a:pt x="962660" y="1036403"/>
                      <a:pt x="971220" y="1027112"/>
                    </a:cubicBezTo>
                    <a:close/>
                    <a:moveTo>
                      <a:pt x="332118" y="1027112"/>
                    </a:moveTo>
                    <a:cubicBezTo>
                      <a:pt x="340678" y="1036403"/>
                      <a:pt x="352804" y="1042835"/>
                      <a:pt x="366356" y="1042835"/>
                    </a:cubicBezTo>
                    <a:cubicBezTo>
                      <a:pt x="366356" y="1042835"/>
                      <a:pt x="366356" y="1042835"/>
                      <a:pt x="367069" y="1042835"/>
                    </a:cubicBezTo>
                    <a:cubicBezTo>
                      <a:pt x="374916" y="1059987"/>
                      <a:pt x="383475" y="1076424"/>
                      <a:pt x="392748" y="1092147"/>
                    </a:cubicBezTo>
                    <a:cubicBezTo>
                      <a:pt x="423419" y="1146462"/>
                      <a:pt x="458370" y="1189342"/>
                      <a:pt x="496888" y="1220787"/>
                    </a:cubicBezTo>
                    <a:cubicBezTo>
                      <a:pt x="397741" y="1193630"/>
                      <a:pt x="307867" y="1140744"/>
                      <a:pt x="236538" y="1069278"/>
                    </a:cubicBezTo>
                    <a:cubicBezTo>
                      <a:pt x="265783" y="1053555"/>
                      <a:pt x="298594" y="1039261"/>
                      <a:pt x="332118" y="1027112"/>
                    </a:cubicBezTo>
                    <a:close/>
                    <a:moveTo>
                      <a:pt x="776946" y="982662"/>
                    </a:moveTo>
                    <a:cubicBezTo>
                      <a:pt x="817733" y="987652"/>
                      <a:pt x="855658" y="994781"/>
                      <a:pt x="893583" y="1004047"/>
                    </a:cubicBezTo>
                    <a:cubicBezTo>
                      <a:pt x="894299" y="1014740"/>
                      <a:pt x="899308" y="1024007"/>
                      <a:pt x="906463" y="1031136"/>
                    </a:cubicBezTo>
                    <a:cubicBezTo>
                      <a:pt x="899308" y="1046818"/>
                      <a:pt x="891436" y="1062501"/>
                      <a:pt x="882849" y="1076758"/>
                    </a:cubicBezTo>
                    <a:cubicBezTo>
                      <a:pt x="834907" y="1161586"/>
                      <a:pt x="775515" y="1217188"/>
                      <a:pt x="710399" y="1238574"/>
                    </a:cubicBezTo>
                    <a:cubicBezTo>
                      <a:pt x="696088" y="1239999"/>
                      <a:pt x="681777" y="1240712"/>
                      <a:pt x="666750" y="1241425"/>
                    </a:cubicBezTo>
                    <a:cubicBezTo>
                      <a:pt x="666750" y="1241425"/>
                      <a:pt x="666750" y="1241425"/>
                      <a:pt x="666750" y="1086738"/>
                    </a:cubicBezTo>
                    <a:cubicBezTo>
                      <a:pt x="722564" y="1079609"/>
                      <a:pt x="766928" y="1037551"/>
                      <a:pt x="776946" y="982662"/>
                    </a:cubicBezTo>
                    <a:close/>
                    <a:moveTo>
                      <a:pt x="525533" y="982662"/>
                    </a:moveTo>
                    <a:cubicBezTo>
                      <a:pt x="535485" y="1037551"/>
                      <a:pt x="579556" y="1079609"/>
                      <a:pt x="635000" y="1086738"/>
                    </a:cubicBezTo>
                    <a:cubicBezTo>
                      <a:pt x="635000" y="1086738"/>
                      <a:pt x="635000" y="1086738"/>
                      <a:pt x="635000" y="1241425"/>
                    </a:cubicBezTo>
                    <a:cubicBezTo>
                      <a:pt x="620073" y="1240712"/>
                      <a:pt x="605856" y="1239999"/>
                      <a:pt x="591640" y="1238574"/>
                    </a:cubicBezTo>
                    <a:cubicBezTo>
                      <a:pt x="526955" y="1217188"/>
                      <a:pt x="467957" y="1161586"/>
                      <a:pt x="420332" y="1076758"/>
                    </a:cubicBezTo>
                    <a:cubicBezTo>
                      <a:pt x="411802" y="1062501"/>
                      <a:pt x="403983" y="1046818"/>
                      <a:pt x="396875" y="1031136"/>
                    </a:cubicBezTo>
                    <a:cubicBezTo>
                      <a:pt x="403983" y="1024007"/>
                      <a:pt x="408959" y="1014740"/>
                      <a:pt x="409670" y="1004047"/>
                    </a:cubicBezTo>
                    <a:cubicBezTo>
                      <a:pt x="447343" y="994781"/>
                      <a:pt x="485017" y="987652"/>
                      <a:pt x="525533" y="982662"/>
                    </a:cubicBezTo>
                    <a:close/>
                    <a:moveTo>
                      <a:pt x="645238" y="882650"/>
                    </a:moveTo>
                    <a:cubicBezTo>
                      <a:pt x="682301" y="882650"/>
                      <a:pt x="671609" y="891918"/>
                      <a:pt x="705822" y="891205"/>
                    </a:cubicBezTo>
                    <a:cubicBezTo>
                      <a:pt x="709385" y="891205"/>
                      <a:pt x="698694" y="903324"/>
                      <a:pt x="696556" y="911166"/>
                    </a:cubicBezTo>
                    <a:cubicBezTo>
                      <a:pt x="695843" y="911166"/>
                      <a:pt x="695130" y="911166"/>
                      <a:pt x="694418" y="911166"/>
                    </a:cubicBezTo>
                    <a:cubicBezTo>
                      <a:pt x="695130" y="915444"/>
                      <a:pt x="695843" y="923999"/>
                      <a:pt x="696556" y="926850"/>
                    </a:cubicBezTo>
                    <a:cubicBezTo>
                      <a:pt x="697269" y="929702"/>
                      <a:pt x="697981" y="932554"/>
                      <a:pt x="698694" y="935405"/>
                    </a:cubicBezTo>
                    <a:cubicBezTo>
                      <a:pt x="699407" y="937544"/>
                      <a:pt x="699407" y="939683"/>
                      <a:pt x="700120" y="941109"/>
                    </a:cubicBezTo>
                    <a:cubicBezTo>
                      <a:pt x="701545" y="946812"/>
                      <a:pt x="703683" y="950376"/>
                      <a:pt x="705822" y="952515"/>
                    </a:cubicBezTo>
                    <a:cubicBezTo>
                      <a:pt x="705822" y="953228"/>
                      <a:pt x="706534" y="953228"/>
                      <a:pt x="706534" y="953941"/>
                    </a:cubicBezTo>
                    <a:cubicBezTo>
                      <a:pt x="710811" y="958218"/>
                      <a:pt x="714375" y="962496"/>
                      <a:pt x="712949" y="966060"/>
                    </a:cubicBezTo>
                    <a:cubicBezTo>
                      <a:pt x="712236" y="968199"/>
                      <a:pt x="710098" y="973189"/>
                      <a:pt x="699407" y="973902"/>
                    </a:cubicBezTo>
                    <a:cubicBezTo>
                      <a:pt x="700120" y="978180"/>
                      <a:pt x="700832" y="986735"/>
                      <a:pt x="700120" y="992438"/>
                    </a:cubicBezTo>
                    <a:cubicBezTo>
                      <a:pt x="700120" y="992438"/>
                      <a:pt x="700120" y="992438"/>
                      <a:pt x="700120" y="993151"/>
                    </a:cubicBezTo>
                    <a:cubicBezTo>
                      <a:pt x="699407" y="1001706"/>
                      <a:pt x="699407" y="1006696"/>
                      <a:pt x="695843" y="1008122"/>
                    </a:cubicBezTo>
                    <a:cubicBezTo>
                      <a:pt x="692279" y="1010261"/>
                      <a:pt x="682301" y="1011686"/>
                      <a:pt x="668046" y="1010261"/>
                    </a:cubicBezTo>
                    <a:cubicBezTo>
                      <a:pt x="668046" y="1010261"/>
                      <a:pt x="668046" y="1010261"/>
                      <a:pt x="668046" y="1033787"/>
                    </a:cubicBezTo>
                    <a:cubicBezTo>
                      <a:pt x="668046" y="1035212"/>
                      <a:pt x="666620" y="1036638"/>
                      <a:pt x="664482" y="1036638"/>
                    </a:cubicBezTo>
                    <a:cubicBezTo>
                      <a:pt x="662344" y="1036638"/>
                      <a:pt x="633833" y="1036638"/>
                      <a:pt x="611025" y="1027370"/>
                    </a:cubicBezTo>
                    <a:cubicBezTo>
                      <a:pt x="609600" y="1026657"/>
                      <a:pt x="608887" y="1025945"/>
                      <a:pt x="608887" y="1024519"/>
                    </a:cubicBezTo>
                    <a:cubicBezTo>
                      <a:pt x="608887" y="1024519"/>
                      <a:pt x="608887" y="1024519"/>
                      <a:pt x="608887" y="990299"/>
                    </a:cubicBezTo>
                    <a:cubicBezTo>
                      <a:pt x="597483" y="978180"/>
                      <a:pt x="574675" y="948238"/>
                      <a:pt x="588930" y="918295"/>
                    </a:cubicBezTo>
                    <a:cubicBezTo>
                      <a:pt x="596770" y="901899"/>
                      <a:pt x="613164" y="882650"/>
                      <a:pt x="645238" y="882650"/>
                    </a:cubicBezTo>
                    <a:close/>
                    <a:moveTo>
                      <a:pt x="1039099" y="666750"/>
                    </a:moveTo>
                    <a:cubicBezTo>
                      <a:pt x="1039099" y="666750"/>
                      <a:pt x="1039099" y="666750"/>
                      <a:pt x="1241425" y="666750"/>
                    </a:cubicBezTo>
                    <a:cubicBezTo>
                      <a:pt x="1237120" y="812788"/>
                      <a:pt x="1180441" y="945225"/>
                      <a:pt x="1089322" y="1046163"/>
                    </a:cubicBezTo>
                    <a:cubicBezTo>
                      <a:pt x="1055601" y="1027550"/>
                      <a:pt x="1019010" y="1011085"/>
                      <a:pt x="979550" y="997484"/>
                    </a:cubicBezTo>
                    <a:cubicBezTo>
                      <a:pt x="979550" y="985314"/>
                      <a:pt x="973810" y="974576"/>
                      <a:pt x="965200" y="966701"/>
                    </a:cubicBezTo>
                    <a:cubicBezTo>
                      <a:pt x="993181" y="883660"/>
                      <a:pt x="1009683" y="789880"/>
                      <a:pt x="1013271" y="691806"/>
                    </a:cubicBezTo>
                    <a:cubicBezTo>
                      <a:pt x="1024750" y="687510"/>
                      <a:pt x="1034077" y="678204"/>
                      <a:pt x="1039099" y="666750"/>
                    </a:cubicBezTo>
                    <a:close/>
                    <a:moveTo>
                      <a:pt x="691822" y="666750"/>
                    </a:moveTo>
                    <a:cubicBezTo>
                      <a:pt x="691822" y="666750"/>
                      <a:pt x="691822" y="666750"/>
                      <a:pt x="958307" y="666750"/>
                    </a:cubicBezTo>
                    <a:cubicBezTo>
                      <a:pt x="962605" y="678177"/>
                      <a:pt x="971202" y="686747"/>
                      <a:pt x="982663" y="691033"/>
                    </a:cubicBezTo>
                    <a:cubicBezTo>
                      <a:pt x="979081" y="785306"/>
                      <a:pt x="963322" y="875294"/>
                      <a:pt x="936100" y="955283"/>
                    </a:cubicBezTo>
                    <a:cubicBezTo>
                      <a:pt x="922489" y="955283"/>
                      <a:pt x="909595" y="962425"/>
                      <a:pt x="901715" y="973138"/>
                    </a:cubicBezTo>
                    <a:cubicBezTo>
                      <a:pt x="862315" y="963139"/>
                      <a:pt x="821483" y="955283"/>
                      <a:pt x="779218" y="950284"/>
                    </a:cubicBezTo>
                    <a:cubicBezTo>
                      <a:pt x="774920" y="888864"/>
                      <a:pt x="727640" y="839584"/>
                      <a:pt x="666750" y="831728"/>
                    </a:cubicBezTo>
                    <a:cubicBezTo>
                      <a:pt x="666750" y="831728"/>
                      <a:pt x="666750" y="831728"/>
                      <a:pt x="666750" y="691747"/>
                    </a:cubicBezTo>
                    <a:cubicBezTo>
                      <a:pt x="678211" y="687462"/>
                      <a:pt x="687524" y="678177"/>
                      <a:pt x="691822" y="666750"/>
                    </a:cubicBezTo>
                    <a:close/>
                    <a:moveTo>
                      <a:pt x="481775" y="666750"/>
                    </a:moveTo>
                    <a:cubicBezTo>
                      <a:pt x="481775" y="666750"/>
                      <a:pt x="481775" y="666750"/>
                      <a:pt x="610057" y="666750"/>
                    </a:cubicBezTo>
                    <a:cubicBezTo>
                      <a:pt x="614333" y="678177"/>
                      <a:pt x="623598" y="687462"/>
                      <a:pt x="635001" y="691747"/>
                    </a:cubicBezTo>
                    <a:cubicBezTo>
                      <a:pt x="635001" y="691747"/>
                      <a:pt x="635001" y="691747"/>
                      <a:pt x="635001" y="831728"/>
                    </a:cubicBezTo>
                    <a:cubicBezTo>
                      <a:pt x="574423" y="839584"/>
                      <a:pt x="527386" y="888864"/>
                      <a:pt x="523110" y="950284"/>
                    </a:cubicBezTo>
                    <a:cubicBezTo>
                      <a:pt x="481062" y="955283"/>
                      <a:pt x="440439" y="963139"/>
                      <a:pt x="401242" y="973138"/>
                    </a:cubicBezTo>
                    <a:cubicBezTo>
                      <a:pt x="393402" y="962425"/>
                      <a:pt x="380574" y="955283"/>
                      <a:pt x="367033" y="955283"/>
                    </a:cubicBezTo>
                    <a:cubicBezTo>
                      <a:pt x="353492" y="915289"/>
                      <a:pt x="342802" y="872437"/>
                      <a:pt x="334963" y="827443"/>
                    </a:cubicBezTo>
                    <a:cubicBezTo>
                      <a:pt x="414070" y="813874"/>
                      <a:pt x="474648" y="748168"/>
                      <a:pt x="481775" y="666750"/>
                    </a:cubicBezTo>
                    <a:close/>
                    <a:moveTo>
                      <a:pt x="61913" y="666750"/>
                    </a:moveTo>
                    <a:cubicBezTo>
                      <a:pt x="61913" y="666750"/>
                      <a:pt x="61913" y="666750"/>
                      <a:pt x="126114" y="666750"/>
                    </a:cubicBezTo>
                    <a:cubicBezTo>
                      <a:pt x="133961" y="758382"/>
                      <a:pt x="210289" y="829969"/>
                      <a:pt x="303024" y="830685"/>
                    </a:cubicBezTo>
                    <a:cubicBezTo>
                      <a:pt x="310870" y="877933"/>
                      <a:pt x="322284" y="923749"/>
                      <a:pt x="336551" y="966701"/>
                    </a:cubicBezTo>
                    <a:cubicBezTo>
                      <a:pt x="327991" y="974576"/>
                      <a:pt x="322284" y="985314"/>
                      <a:pt x="322284" y="997484"/>
                    </a:cubicBezTo>
                    <a:cubicBezTo>
                      <a:pt x="283050" y="1011085"/>
                      <a:pt x="246669" y="1027550"/>
                      <a:pt x="213142" y="1046163"/>
                    </a:cubicBezTo>
                    <a:cubicBezTo>
                      <a:pt x="122547" y="945225"/>
                      <a:pt x="66193" y="812788"/>
                      <a:pt x="61913" y="666750"/>
                    </a:cubicBezTo>
                    <a:close/>
                    <a:moveTo>
                      <a:pt x="297686" y="534987"/>
                    </a:moveTo>
                    <a:cubicBezTo>
                      <a:pt x="352805" y="534987"/>
                      <a:pt x="375712" y="560774"/>
                      <a:pt x="373565" y="572235"/>
                    </a:cubicBezTo>
                    <a:cubicBezTo>
                      <a:pt x="372133" y="574384"/>
                      <a:pt x="371417" y="576533"/>
                      <a:pt x="369986" y="578682"/>
                    </a:cubicBezTo>
                    <a:cubicBezTo>
                      <a:pt x="372133" y="581547"/>
                      <a:pt x="378576" y="590859"/>
                      <a:pt x="377860" y="605186"/>
                    </a:cubicBezTo>
                    <a:cubicBezTo>
                      <a:pt x="377144" y="613065"/>
                      <a:pt x="377860" y="625242"/>
                      <a:pt x="379291" y="628108"/>
                    </a:cubicBezTo>
                    <a:cubicBezTo>
                      <a:pt x="381439" y="633122"/>
                      <a:pt x="385018" y="639569"/>
                      <a:pt x="389313" y="643866"/>
                    </a:cubicBezTo>
                    <a:cubicBezTo>
                      <a:pt x="393608" y="648164"/>
                      <a:pt x="400051" y="657476"/>
                      <a:pt x="397903" y="663207"/>
                    </a:cubicBezTo>
                    <a:cubicBezTo>
                      <a:pt x="395756" y="667505"/>
                      <a:pt x="389313" y="673951"/>
                      <a:pt x="376428" y="673951"/>
                    </a:cubicBezTo>
                    <a:cubicBezTo>
                      <a:pt x="376428" y="678249"/>
                      <a:pt x="376428" y="683980"/>
                      <a:pt x="376428" y="690427"/>
                    </a:cubicBezTo>
                    <a:cubicBezTo>
                      <a:pt x="376428" y="711916"/>
                      <a:pt x="374281" y="717646"/>
                      <a:pt x="371417" y="720512"/>
                    </a:cubicBezTo>
                    <a:cubicBezTo>
                      <a:pt x="368554" y="722661"/>
                      <a:pt x="363543" y="725526"/>
                      <a:pt x="343500" y="725526"/>
                    </a:cubicBezTo>
                    <a:cubicBezTo>
                      <a:pt x="339920" y="725526"/>
                      <a:pt x="332762" y="725526"/>
                      <a:pt x="327035" y="724810"/>
                    </a:cubicBezTo>
                    <a:cubicBezTo>
                      <a:pt x="327035" y="724810"/>
                      <a:pt x="327035" y="724810"/>
                      <a:pt x="327035" y="764207"/>
                    </a:cubicBezTo>
                    <a:cubicBezTo>
                      <a:pt x="327035" y="767072"/>
                      <a:pt x="324888" y="769221"/>
                      <a:pt x="322024" y="769937"/>
                    </a:cubicBezTo>
                    <a:cubicBezTo>
                      <a:pt x="322024" y="769937"/>
                      <a:pt x="319877" y="769937"/>
                      <a:pt x="317014" y="769937"/>
                    </a:cubicBezTo>
                    <a:cubicBezTo>
                      <a:pt x="306276" y="769937"/>
                      <a:pt x="279790" y="768505"/>
                      <a:pt x="259031" y="755611"/>
                    </a:cubicBezTo>
                    <a:cubicBezTo>
                      <a:pt x="257599" y="754895"/>
                      <a:pt x="256167" y="753462"/>
                      <a:pt x="256167" y="751313"/>
                    </a:cubicBezTo>
                    <a:cubicBezTo>
                      <a:pt x="256167" y="751313"/>
                      <a:pt x="256167" y="751313"/>
                      <a:pt x="254736" y="725526"/>
                    </a:cubicBezTo>
                    <a:cubicBezTo>
                      <a:pt x="221091" y="711916"/>
                      <a:pt x="166688" y="671803"/>
                      <a:pt x="207490" y="587278"/>
                    </a:cubicBezTo>
                    <a:cubicBezTo>
                      <a:pt x="219660" y="561491"/>
                      <a:pt x="249009" y="534987"/>
                      <a:pt x="297686" y="534987"/>
                    </a:cubicBezTo>
                    <a:close/>
                    <a:moveTo>
                      <a:pt x="835810" y="344487"/>
                    </a:moveTo>
                    <a:cubicBezTo>
                      <a:pt x="852286" y="385195"/>
                      <a:pt x="890970" y="413763"/>
                      <a:pt x="937533" y="413763"/>
                    </a:cubicBezTo>
                    <a:cubicBezTo>
                      <a:pt x="943264" y="413763"/>
                      <a:pt x="948995" y="413048"/>
                      <a:pt x="954725" y="412334"/>
                    </a:cubicBezTo>
                    <a:cubicBezTo>
                      <a:pt x="970485" y="475182"/>
                      <a:pt x="979798" y="542315"/>
                      <a:pt x="982663" y="612305"/>
                    </a:cubicBezTo>
                    <a:cubicBezTo>
                      <a:pt x="971202" y="616590"/>
                      <a:pt x="962605" y="625160"/>
                      <a:pt x="958307" y="636587"/>
                    </a:cubicBezTo>
                    <a:cubicBezTo>
                      <a:pt x="958307" y="636587"/>
                      <a:pt x="958307" y="636587"/>
                      <a:pt x="691822" y="636587"/>
                    </a:cubicBezTo>
                    <a:cubicBezTo>
                      <a:pt x="687524" y="625160"/>
                      <a:pt x="678211" y="615876"/>
                      <a:pt x="666750" y="611591"/>
                    </a:cubicBezTo>
                    <a:cubicBezTo>
                      <a:pt x="666750" y="611591"/>
                      <a:pt x="666750" y="611591"/>
                      <a:pt x="666750" y="385195"/>
                    </a:cubicBezTo>
                    <a:cubicBezTo>
                      <a:pt x="678211" y="380910"/>
                      <a:pt x="687524" y="370912"/>
                      <a:pt x="691822" y="359485"/>
                    </a:cubicBezTo>
                    <a:cubicBezTo>
                      <a:pt x="741251" y="357342"/>
                      <a:pt x="789963" y="352343"/>
                      <a:pt x="835810" y="344487"/>
                    </a:cubicBezTo>
                    <a:close/>
                    <a:moveTo>
                      <a:pt x="401242" y="330200"/>
                    </a:moveTo>
                    <a:cubicBezTo>
                      <a:pt x="466096" y="346627"/>
                      <a:pt x="536651" y="356625"/>
                      <a:pt x="610057" y="359482"/>
                    </a:cubicBezTo>
                    <a:cubicBezTo>
                      <a:pt x="614333" y="370909"/>
                      <a:pt x="623598" y="380908"/>
                      <a:pt x="635001" y="385193"/>
                    </a:cubicBezTo>
                    <a:cubicBezTo>
                      <a:pt x="635001" y="611591"/>
                      <a:pt x="635001" y="611591"/>
                      <a:pt x="635001" y="611591"/>
                    </a:cubicBezTo>
                    <a:cubicBezTo>
                      <a:pt x="623598" y="615877"/>
                      <a:pt x="614333" y="625161"/>
                      <a:pt x="610057" y="636588"/>
                    </a:cubicBezTo>
                    <a:cubicBezTo>
                      <a:pt x="481775" y="636588"/>
                      <a:pt x="481775" y="636588"/>
                      <a:pt x="481775" y="636588"/>
                    </a:cubicBezTo>
                    <a:cubicBezTo>
                      <a:pt x="474648" y="555170"/>
                      <a:pt x="414070" y="489465"/>
                      <a:pt x="334963" y="475895"/>
                    </a:cubicBezTo>
                    <a:cubicBezTo>
                      <a:pt x="342802" y="430901"/>
                      <a:pt x="353492" y="388050"/>
                      <a:pt x="367033" y="348055"/>
                    </a:cubicBezTo>
                    <a:cubicBezTo>
                      <a:pt x="380574" y="348055"/>
                      <a:pt x="393402" y="340913"/>
                      <a:pt x="401242" y="330200"/>
                    </a:cubicBezTo>
                    <a:close/>
                    <a:moveTo>
                      <a:pt x="1089556" y="257175"/>
                    </a:moveTo>
                    <a:cubicBezTo>
                      <a:pt x="1180534" y="358113"/>
                      <a:pt x="1237127" y="490550"/>
                      <a:pt x="1241425" y="636588"/>
                    </a:cubicBezTo>
                    <a:cubicBezTo>
                      <a:pt x="1241425" y="636588"/>
                      <a:pt x="1241425" y="636588"/>
                      <a:pt x="1039410" y="636588"/>
                    </a:cubicBezTo>
                    <a:cubicBezTo>
                      <a:pt x="1034396" y="625134"/>
                      <a:pt x="1025083" y="615828"/>
                      <a:pt x="1013621" y="611533"/>
                    </a:cubicBezTo>
                    <a:cubicBezTo>
                      <a:pt x="1010756" y="538513"/>
                      <a:pt x="1000727" y="467642"/>
                      <a:pt x="984250" y="402497"/>
                    </a:cubicBezTo>
                    <a:cubicBezTo>
                      <a:pt x="1020785" y="384601"/>
                      <a:pt x="1045858" y="346659"/>
                      <a:pt x="1045858" y="303707"/>
                    </a:cubicBezTo>
                    <a:cubicBezTo>
                      <a:pt x="1045858" y="295832"/>
                      <a:pt x="1045141" y="287958"/>
                      <a:pt x="1043709" y="280083"/>
                    </a:cubicBezTo>
                    <a:cubicBezTo>
                      <a:pt x="1059469" y="272924"/>
                      <a:pt x="1074512" y="265050"/>
                      <a:pt x="1089556" y="257175"/>
                    </a:cubicBezTo>
                    <a:close/>
                    <a:moveTo>
                      <a:pt x="213142" y="257175"/>
                    </a:moveTo>
                    <a:cubicBezTo>
                      <a:pt x="246669" y="275788"/>
                      <a:pt x="283050" y="292253"/>
                      <a:pt x="322284" y="305855"/>
                    </a:cubicBezTo>
                    <a:cubicBezTo>
                      <a:pt x="322284" y="318024"/>
                      <a:pt x="327991" y="328762"/>
                      <a:pt x="336551" y="336637"/>
                    </a:cubicBezTo>
                    <a:cubicBezTo>
                      <a:pt x="322284" y="379590"/>
                      <a:pt x="310870" y="425405"/>
                      <a:pt x="303024" y="472653"/>
                    </a:cubicBezTo>
                    <a:cubicBezTo>
                      <a:pt x="210289" y="473369"/>
                      <a:pt x="133961" y="544956"/>
                      <a:pt x="126114" y="636588"/>
                    </a:cubicBezTo>
                    <a:cubicBezTo>
                      <a:pt x="126114" y="636588"/>
                      <a:pt x="126114" y="636588"/>
                      <a:pt x="61913" y="636588"/>
                    </a:cubicBezTo>
                    <a:cubicBezTo>
                      <a:pt x="66193" y="490550"/>
                      <a:pt x="122547" y="358113"/>
                      <a:pt x="213142" y="257175"/>
                    </a:cubicBezTo>
                    <a:close/>
                    <a:moveTo>
                      <a:pt x="943845" y="239712"/>
                    </a:moveTo>
                    <a:cubicBezTo>
                      <a:pt x="971853" y="239712"/>
                      <a:pt x="985498" y="255984"/>
                      <a:pt x="992680" y="270133"/>
                    </a:cubicBezTo>
                    <a:cubicBezTo>
                      <a:pt x="1004888" y="295602"/>
                      <a:pt x="984780" y="320364"/>
                      <a:pt x="975444" y="330976"/>
                    </a:cubicBezTo>
                    <a:cubicBezTo>
                      <a:pt x="975444" y="330976"/>
                      <a:pt x="975444" y="330976"/>
                      <a:pt x="975444" y="359275"/>
                    </a:cubicBezTo>
                    <a:cubicBezTo>
                      <a:pt x="975444" y="360690"/>
                      <a:pt x="974726" y="362105"/>
                      <a:pt x="973289" y="362105"/>
                    </a:cubicBezTo>
                    <a:cubicBezTo>
                      <a:pt x="953899" y="369887"/>
                      <a:pt x="928764" y="369887"/>
                      <a:pt x="927328" y="369887"/>
                    </a:cubicBezTo>
                    <a:cubicBezTo>
                      <a:pt x="925173" y="369887"/>
                      <a:pt x="924455" y="369180"/>
                      <a:pt x="924455" y="367057"/>
                    </a:cubicBezTo>
                    <a:cubicBezTo>
                      <a:pt x="924455" y="367057"/>
                      <a:pt x="924455" y="367057"/>
                      <a:pt x="924455" y="347248"/>
                    </a:cubicBezTo>
                    <a:cubicBezTo>
                      <a:pt x="912246" y="348663"/>
                      <a:pt x="902910" y="347248"/>
                      <a:pt x="900756" y="345833"/>
                    </a:cubicBezTo>
                    <a:cubicBezTo>
                      <a:pt x="897165" y="344418"/>
                      <a:pt x="897165" y="340173"/>
                      <a:pt x="896447" y="333099"/>
                    </a:cubicBezTo>
                    <a:cubicBezTo>
                      <a:pt x="896447" y="333099"/>
                      <a:pt x="896447" y="333099"/>
                      <a:pt x="896447" y="332391"/>
                    </a:cubicBezTo>
                    <a:cubicBezTo>
                      <a:pt x="896447" y="328146"/>
                      <a:pt x="897165" y="321072"/>
                      <a:pt x="897165" y="316827"/>
                    </a:cubicBezTo>
                    <a:cubicBezTo>
                      <a:pt x="888547" y="316827"/>
                      <a:pt x="885675" y="311874"/>
                      <a:pt x="885675" y="310459"/>
                    </a:cubicBezTo>
                    <a:cubicBezTo>
                      <a:pt x="884238" y="306922"/>
                      <a:pt x="887111" y="303385"/>
                      <a:pt x="890702" y="299847"/>
                    </a:cubicBezTo>
                    <a:cubicBezTo>
                      <a:pt x="891420" y="299847"/>
                      <a:pt x="891420" y="299140"/>
                      <a:pt x="892138" y="299140"/>
                    </a:cubicBezTo>
                    <a:cubicBezTo>
                      <a:pt x="893574" y="297017"/>
                      <a:pt x="895011" y="293480"/>
                      <a:pt x="896447" y="289235"/>
                    </a:cubicBezTo>
                    <a:cubicBezTo>
                      <a:pt x="897165" y="288528"/>
                      <a:pt x="897883" y="286405"/>
                      <a:pt x="897883" y="284283"/>
                    </a:cubicBezTo>
                    <a:cubicBezTo>
                      <a:pt x="898601" y="282160"/>
                      <a:pt x="899319" y="279331"/>
                      <a:pt x="900038" y="277208"/>
                    </a:cubicBezTo>
                    <a:cubicBezTo>
                      <a:pt x="900756" y="274378"/>
                      <a:pt x="901474" y="267304"/>
                      <a:pt x="901474" y="263766"/>
                    </a:cubicBezTo>
                    <a:cubicBezTo>
                      <a:pt x="900756" y="263766"/>
                      <a:pt x="900038" y="263766"/>
                      <a:pt x="900038" y="263766"/>
                    </a:cubicBezTo>
                    <a:cubicBezTo>
                      <a:pt x="897883" y="257399"/>
                      <a:pt x="888547" y="246787"/>
                      <a:pt x="892138" y="246787"/>
                    </a:cubicBezTo>
                    <a:cubicBezTo>
                      <a:pt x="921582" y="247494"/>
                      <a:pt x="912246" y="239712"/>
                      <a:pt x="943845" y="239712"/>
                    </a:cubicBezTo>
                    <a:close/>
                    <a:moveTo>
                      <a:pt x="806450" y="82550"/>
                    </a:moveTo>
                    <a:cubicBezTo>
                      <a:pt x="906311" y="109645"/>
                      <a:pt x="995471" y="162409"/>
                      <a:pt x="1066800" y="233712"/>
                    </a:cubicBezTo>
                    <a:cubicBezTo>
                      <a:pt x="1056101" y="239416"/>
                      <a:pt x="1044688" y="245121"/>
                      <a:pt x="1032562" y="250825"/>
                    </a:cubicBezTo>
                    <a:cubicBezTo>
                      <a:pt x="1014017" y="217312"/>
                      <a:pt x="978353" y="194496"/>
                      <a:pt x="937695" y="194496"/>
                    </a:cubicBezTo>
                    <a:cubicBezTo>
                      <a:pt x="925569" y="194496"/>
                      <a:pt x="914870" y="196635"/>
                      <a:pt x="904171" y="199487"/>
                    </a:cubicBezTo>
                    <a:cubicBezTo>
                      <a:pt x="874925" y="151001"/>
                      <a:pt x="842827" y="111071"/>
                      <a:pt x="806450" y="82550"/>
                    </a:cubicBezTo>
                    <a:close/>
                    <a:moveTo>
                      <a:pt x="496888" y="82550"/>
                    </a:moveTo>
                    <a:cubicBezTo>
                      <a:pt x="458370" y="113995"/>
                      <a:pt x="423419" y="156875"/>
                      <a:pt x="392748" y="211190"/>
                    </a:cubicBezTo>
                    <a:cubicBezTo>
                      <a:pt x="383475" y="226913"/>
                      <a:pt x="374916" y="243350"/>
                      <a:pt x="367069" y="260502"/>
                    </a:cubicBezTo>
                    <a:cubicBezTo>
                      <a:pt x="367069" y="260502"/>
                      <a:pt x="367069" y="260502"/>
                      <a:pt x="366356" y="260502"/>
                    </a:cubicBezTo>
                    <a:cubicBezTo>
                      <a:pt x="352804" y="260502"/>
                      <a:pt x="340678" y="266934"/>
                      <a:pt x="332118" y="276225"/>
                    </a:cubicBezTo>
                    <a:cubicBezTo>
                      <a:pt x="298594" y="264076"/>
                      <a:pt x="265783" y="249782"/>
                      <a:pt x="236538" y="234059"/>
                    </a:cubicBezTo>
                    <a:cubicBezTo>
                      <a:pt x="307867" y="162593"/>
                      <a:pt x="397741" y="109707"/>
                      <a:pt x="496888" y="82550"/>
                    </a:cubicBezTo>
                    <a:close/>
                    <a:moveTo>
                      <a:pt x="666750" y="61912"/>
                    </a:moveTo>
                    <a:cubicBezTo>
                      <a:pt x="681757" y="62625"/>
                      <a:pt x="696050" y="63337"/>
                      <a:pt x="710343" y="64763"/>
                    </a:cubicBezTo>
                    <a:cubicBezTo>
                      <a:pt x="771803" y="84717"/>
                      <a:pt x="828975" y="136029"/>
                      <a:pt x="874713" y="213710"/>
                    </a:cubicBezTo>
                    <a:cubicBezTo>
                      <a:pt x="846841" y="232953"/>
                      <a:pt x="828261" y="266448"/>
                      <a:pt x="828261" y="303507"/>
                    </a:cubicBezTo>
                    <a:cubicBezTo>
                      <a:pt x="828261" y="306358"/>
                      <a:pt x="828261" y="309921"/>
                      <a:pt x="828261" y="312772"/>
                    </a:cubicBezTo>
                    <a:cubicBezTo>
                      <a:pt x="783952" y="320611"/>
                      <a:pt x="738215" y="324887"/>
                      <a:pt x="691048" y="327025"/>
                    </a:cubicBezTo>
                    <a:cubicBezTo>
                      <a:pt x="686760" y="315622"/>
                      <a:pt x="678184" y="307070"/>
                      <a:pt x="666750" y="302794"/>
                    </a:cubicBezTo>
                    <a:cubicBezTo>
                      <a:pt x="666750" y="302794"/>
                      <a:pt x="666750" y="302794"/>
                      <a:pt x="666750" y="61912"/>
                    </a:cubicBezTo>
                    <a:close/>
                    <a:moveTo>
                      <a:pt x="635000" y="61912"/>
                    </a:moveTo>
                    <a:cubicBezTo>
                      <a:pt x="635000" y="61912"/>
                      <a:pt x="635000" y="61912"/>
                      <a:pt x="635000" y="302794"/>
                    </a:cubicBezTo>
                    <a:cubicBezTo>
                      <a:pt x="623627" y="307070"/>
                      <a:pt x="615097" y="315622"/>
                      <a:pt x="610832" y="327025"/>
                    </a:cubicBezTo>
                    <a:cubicBezTo>
                      <a:pt x="540461" y="324174"/>
                      <a:pt x="472222" y="314910"/>
                      <a:pt x="409670" y="299231"/>
                    </a:cubicBezTo>
                    <a:cubicBezTo>
                      <a:pt x="408959" y="288541"/>
                      <a:pt x="403983" y="279276"/>
                      <a:pt x="396875" y="272150"/>
                    </a:cubicBezTo>
                    <a:cubicBezTo>
                      <a:pt x="403983" y="256471"/>
                      <a:pt x="411802" y="240792"/>
                      <a:pt x="420332" y="226538"/>
                    </a:cubicBezTo>
                    <a:cubicBezTo>
                      <a:pt x="467957" y="141731"/>
                      <a:pt x="526955" y="86143"/>
                      <a:pt x="591640" y="64763"/>
                    </a:cubicBezTo>
                    <a:cubicBezTo>
                      <a:pt x="605856" y="63337"/>
                      <a:pt x="620073" y="62625"/>
                      <a:pt x="635000" y="61912"/>
                    </a:cubicBezTo>
                    <a:close/>
                    <a:moveTo>
                      <a:pt x="651670" y="31750"/>
                    </a:moveTo>
                    <a:cubicBezTo>
                      <a:pt x="308421" y="31750"/>
                      <a:pt x="30163" y="309653"/>
                      <a:pt x="30163" y="652463"/>
                    </a:cubicBezTo>
                    <a:cubicBezTo>
                      <a:pt x="30163" y="995273"/>
                      <a:pt x="308421" y="1273176"/>
                      <a:pt x="651670" y="1273176"/>
                    </a:cubicBezTo>
                    <a:cubicBezTo>
                      <a:pt x="994919" y="1273176"/>
                      <a:pt x="1273177" y="995273"/>
                      <a:pt x="1273177" y="652463"/>
                    </a:cubicBezTo>
                    <a:cubicBezTo>
                      <a:pt x="1273177" y="309653"/>
                      <a:pt x="994919" y="31750"/>
                      <a:pt x="651670" y="31750"/>
                    </a:cubicBezTo>
                    <a:close/>
                    <a:moveTo>
                      <a:pt x="652463" y="0"/>
                    </a:moveTo>
                    <a:cubicBezTo>
                      <a:pt x="826834" y="0"/>
                      <a:pt x="991200" y="67816"/>
                      <a:pt x="1113403" y="191313"/>
                    </a:cubicBezTo>
                    <a:cubicBezTo>
                      <a:pt x="1237035" y="314096"/>
                      <a:pt x="1304925" y="478282"/>
                      <a:pt x="1304925" y="652463"/>
                    </a:cubicBezTo>
                    <a:cubicBezTo>
                      <a:pt x="1304925" y="826643"/>
                      <a:pt x="1237035" y="990829"/>
                      <a:pt x="1113403" y="1113612"/>
                    </a:cubicBezTo>
                    <a:cubicBezTo>
                      <a:pt x="991200" y="1237109"/>
                      <a:pt x="826834" y="1304925"/>
                      <a:pt x="652463" y="1304925"/>
                    </a:cubicBezTo>
                    <a:cubicBezTo>
                      <a:pt x="478092" y="1304925"/>
                      <a:pt x="314440" y="1237109"/>
                      <a:pt x="191523" y="1113612"/>
                    </a:cubicBezTo>
                    <a:cubicBezTo>
                      <a:pt x="67891" y="990829"/>
                      <a:pt x="0" y="826643"/>
                      <a:pt x="0" y="652463"/>
                    </a:cubicBezTo>
                    <a:cubicBezTo>
                      <a:pt x="0" y="478282"/>
                      <a:pt x="67891" y="314096"/>
                      <a:pt x="191523" y="191313"/>
                    </a:cubicBezTo>
                    <a:cubicBezTo>
                      <a:pt x="314440" y="67816"/>
                      <a:pt x="478092" y="0"/>
                      <a:pt x="65246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141" name="Group 140"/>
            <p:cNvGrpSpPr>
              <a:grpSpLocks noChangeAspect="1"/>
            </p:cNvGrpSpPr>
            <p:nvPr/>
          </p:nvGrpSpPr>
          <p:grpSpPr>
            <a:xfrm>
              <a:off x="6716834" y="2088832"/>
              <a:ext cx="527958" cy="527958"/>
              <a:chOff x="5273675" y="2606675"/>
              <a:chExt cx="1644650" cy="1644650"/>
            </a:xfrm>
          </p:grpSpPr>
          <p:sp>
            <p:nvSpPr>
              <p:cNvPr id="142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4650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3" name="Freeform 142"/>
              <p:cNvSpPr>
                <a:spLocks/>
              </p:cNvSpPr>
              <p:nvPr/>
            </p:nvSpPr>
            <p:spPr bwMode="auto">
              <a:xfrm>
                <a:off x="5335588" y="2770188"/>
                <a:ext cx="1517650" cy="1311275"/>
              </a:xfrm>
              <a:custGeom>
                <a:avLst/>
                <a:gdLst>
                  <a:gd name="connsiteX0" fmla="*/ 955047 w 1517650"/>
                  <a:gd name="connsiteY0" fmla="*/ 1035050 h 1311275"/>
                  <a:gd name="connsiteX1" fmla="*/ 1088898 w 1517650"/>
                  <a:gd name="connsiteY1" fmla="*/ 1144255 h 1311275"/>
                  <a:gd name="connsiteX2" fmla="*/ 1095340 w 1517650"/>
                  <a:gd name="connsiteY2" fmla="*/ 1144255 h 1311275"/>
                  <a:gd name="connsiteX3" fmla="*/ 1228475 w 1517650"/>
                  <a:gd name="connsiteY3" fmla="*/ 1035050 h 1311275"/>
                  <a:gd name="connsiteX4" fmla="*/ 1410283 w 1517650"/>
                  <a:gd name="connsiteY4" fmla="*/ 1065742 h 1311275"/>
                  <a:gd name="connsiteX5" fmla="*/ 1466114 w 1517650"/>
                  <a:gd name="connsiteY5" fmla="*/ 1119274 h 1311275"/>
                  <a:gd name="connsiteX6" fmla="*/ 1517650 w 1517650"/>
                  <a:gd name="connsiteY6" fmla="*/ 1293431 h 1311275"/>
                  <a:gd name="connsiteX7" fmla="*/ 1517650 w 1517650"/>
                  <a:gd name="connsiteY7" fmla="*/ 1295572 h 1311275"/>
                  <a:gd name="connsiteX8" fmla="*/ 1501903 w 1517650"/>
                  <a:gd name="connsiteY8" fmla="*/ 1311275 h 1311275"/>
                  <a:gd name="connsiteX9" fmla="*/ 879175 w 1517650"/>
                  <a:gd name="connsiteY9" fmla="*/ 1311275 h 1311275"/>
                  <a:gd name="connsiteX10" fmla="*/ 882038 w 1517650"/>
                  <a:gd name="connsiteY10" fmla="*/ 1295572 h 1311275"/>
                  <a:gd name="connsiteX11" fmla="*/ 882038 w 1517650"/>
                  <a:gd name="connsiteY11" fmla="*/ 1293431 h 1311275"/>
                  <a:gd name="connsiteX12" fmla="*/ 824776 w 1517650"/>
                  <a:gd name="connsiteY12" fmla="*/ 1102144 h 1311275"/>
                  <a:gd name="connsiteX13" fmla="*/ 788987 w 1517650"/>
                  <a:gd name="connsiteY13" fmla="*/ 1059318 h 1311275"/>
                  <a:gd name="connsiteX14" fmla="*/ 955047 w 1517650"/>
                  <a:gd name="connsiteY14" fmla="*/ 1035050 h 1311275"/>
                  <a:gd name="connsiteX15" fmla="*/ 288162 w 1517650"/>
                  <a:gd name="connsiteY15" fmla="*/ 1035050 h 1311275"/>
                  <a:gd name="connsiteX16" fmla="*/ 366593 w 1517650"/>
                  <a:gd name="connsiteY16" fmla="*/ 1090456 h 1311275"/>
                  <a:gd name="connsiteX17" fmla="*/ 425092 w 1517650"/>
                  <a:gd name="connsiteY17" fmla="*/ 1100295 h 1311275"/>
                  <a:gd name="connsiteX18" fmla="*/ 422590 w 1517650"/>
                  <a:gd name="connsiteY18" fmla="*/ 1100716 h 1311275"/>
                  <a:gd name="connsiteX19" fmla="*/ 427595 w 1517650"/>
                  <a:gd name="connsiteY19" fmla="*/ 1100716 h 1311275"/>
                  <a:gd name="connsiteX20" fmla="*/ 425092 w 1517650"/>
                  <a:gd name="connsiteY20" fmla="*/ 1100295 h 1311275"/>
                  <a:gd name="connsiteX21" fmla="*/ 483592 w 1517650"/>
                  <a:gd name="connsiteY21" fmla="*/ 1090456 h 1311275"/>
                  <a:gd name="connsiteX22" fmla="*/ 562023 w 1517650"/>
                  <a:gd name="connsiteY22" fmla="*/ 1035050 h 1311275"/>
                  <a:gd name="connsiteX23" fmla="*/ 744359 w 1517650"/>
                  <a:gd name="connsiteY23" fmla="*/ 1065742 h 1311275"/>
                  <a:gd name="connsiteX24" fmla="*/ 799417 w 1517650"/>
                  <a:gd name="connsiteY24" fmla="*/ 1119274 h 1311275"/>
                  <a:gd name="connsiteX25" fmla="*/ 850900 w 1517650"/>
                  <a:gd name="connsiteY25" fmla="*/ 1293431 h 1311275"/>
                  <a:gd name="connsiteX26" fmla="*/ 850900 w 1517650"/>
                  <a:gd name="connsiteY26" fmla="*/ 1295572 h 1311275"/>
                  <a:gd name="connsiteX27" fmla="*/ 835169 w 1517650"/>
                  <a:gd name="connsiteY27" fmla="*/ 1311275 h 1311275"/>
                  <a:gd name="connsiteX28" fmla="*/ 15731 w 1517650"/>
                  <a:gd name="connsiteY28" fmla="*/ 1311275 h 1311275"/>
                  <a:gd name="connsiteX29" fmla="*/ 0 w 1517650"/>
                  <a:gd name="connsiteY29" fmla="*/ 1295572 h 1311275"/>
                  <a:gd name="connsiteX30" fmla="*/ 0 w 1517650"/>
                  <a:gd name="connsiteY30" fmla="*/ 1293431 h 1311275"/>
                  <a:gd name="connsiteX31" fmla="*/ 50768 w 1517650"/>
                  <a:gd name="connsiteY31" fmla="*/ 1119274 h 1311275"/>
                  <a:gd name="connsiteX32" fmla="*/ 106541 w 1517650"/>
                  <a:gd name="connsiteY32" fmla="*/ 1065742 h 1311275"/>
                  <a:gd name="connsiteX33" fmla="*/ 288162 w 1517650"/>
                  <a:gd name="connsiteY33" fmla="*/ 1035050 h 1311275"/>
                  <a:gd name="connsiteX34" fmla="*/ 1302460 w 1517650"/>
                  <a:gd name="connsiteY34" fmla="*/ 871537 h 1311275"/>
                  <a:gd name="connsiteX35" fmla="*/ 1355725 w 1517650"/>
                  <a:gd name="connsiteY35" fmla="*/ 972693 h 1311275"/>
                  <a:gd name="connsiteX36" fmla="*/ 1301020 w 1517650"/>
                  <a:gd name="connsiteY36" fmla="*/ 1008062 h 1311275"/>
                  <a:gd name="connsiteX37" fmla="*/ 1239837 w 1517650"/>
                  <a:gd name="connsiteY37" fmla="*/ 1003110 h 1311275"/>
                  <a:gd name="connsiteX38" fmla="*/ 1239837 w 1517650"/>
                  <a:gd name="connsiteY38" fmla="*/ 990378 h 1311275"/>
                  <a:gd name="connsiteX39" fmla="*/ 1302460 w 1517650"/>
                  <a:gd name="connsiteY39" fmla="*/ 871537 h 1311275"/>
                  <a:gd name="connsiteX40" fmla="*/ 880352 w 1517650"/>
                  <a:gd name="connsiteY40" fmla="*/ 869950 h 1311275"/>
                  <a:gd name="connsiteX41" fmla="*/ 942975 w 1517650"/>
                  <a:gd name="connsiteY41" fmla="*/ 989553 h 1311275"/>
                  <a:gd name="connsiteX42" fmla="*/ 942975 w 1517650"/>
                  <a:gd name="connsiteY42" fmla="*/ 1003080 h 1311275"/>
                  <a:gd name="connsiteX43" fmla="*/ 882511 w 1517650"/>
                  <a:gd name="connsiteY43" fmla="*/ 1008063 h 1311275"/>
                  <a:gd name="connsiteX44" fmla="*/ 827087 w 1517650"/>
                  <a:gd name="connsiteY44" fmla="*/ 972467 h 1311275"/>
                  <a:gd name="connsiteX45" fmla="*/ 880352 w 1517650"/>
                  <a:gd name="connsiteY45" fmla="*/ 869950 h 1311275"/>
                  <a:gd name="connsiteX46" fmla="*/ 863600 w 1517650"/>
                  <a:gd name="connsiteY46" fmla="*/ 768350 h 1311275"/>
                  <a:gd name="connsiteX47" fmla="*/ 901462 w 1517650"/>
                  <a:gd name="connsiteY47" fmla="*/ 786177 h 1311275"/>
                  <a:gd name="connsiteX48" fmla="*/ 917178 w 1517650"/>
                  <a:gd name="connsiteY48" fmla="*/ 801153 h 1311275"/>
                  <a:gd name="connsiteX49" fmla="*/ 924322 w 1517650"/>
                  <a:gd name="connsiteY49" fmla="*/ 809710 h 1311275"/>
                  <a:gd name="connsiteX50" fmla="*/ 990044 w 1517650"/>
                  <a:gd name="connsiteY50" fmla="*/ 948765 h 1311275"/>
                  <a:gd name="connsiteX51" fmla="*/ 1092200 w 1517650"/>
                  <a:gd name="connsiteY51" fmla="*/ 1000108 h 1311275"/>
                  <a:gd name="connsiteX52" fmla="*/ 1193641 w 1517650"/>
                  <a:gd name="connsiteY52" fmla="*/ 948765 h 1311275"/>
                  <a:gd name="connsiteX53" fmla="*/ 1260078 w 1517650"/>
                  <a:gd name="connsiteY53" fmla="*/ 809710 h 1311275"/>
                  <a:gd name="connsiteX54" fmla="*/ 1267222 w 1517650"/>
                  <a:gd name="connsiteY54" fmla="*/ 801153 h 1311275"/>
                  <a:gd name="connsiteX55" fmla="*/ 1282938 w 1517650"/>
                  <a:gd name="connsiteY55" fmla="*/ 786177 h 1311275"/>
                  <a:gd name="connsiteX56" fmla="*/ 1320800 w 1517650"/>
                  <a:gd name="connsiteY56" fmla="*/ 768350 h 1311275"/>
                  <a:gd name="connsiteX57" fmla="*/ 1320800 w 1517650"/>
                  <a:gd name="connsiteY57" fmla="*/ 771915 h 1311275"/>
                  <a:gd name="connsiteX58" fmla="*/ 1287225 w 1517650"/>
                  <a:gd name="connsiteY58" fmla="*/ 826111 h 1311275"/>
                  <a:gd name="connsiteX59" fmla="*/ 1215072 w 1517650"/>
                  <a:gd name="connsiteY59" fmla="*/ 972297 h 1311275"/>
                  <a:gd name="connsiteX60" fmla="*/ 1209357 w 1517650"/>
                  <a:gd name="connsiteY60" fmla="*/ 976576 h 1311275"/>
                  <a:gd name="connsiteX61" fmla="*/ 1209357 w 1517650"/>
                  <a:gd name="connsiteY61" fmla="*/ 1009378 h 1311275"/>
                  <a:gd name="connsiteX62" fmla="*/ 1208643 w 1517650"/>
                  <a:gd name="connsiteY62" fmla="*/ 1010092 h 1311275"/>
                  <a:gd name="connsiteX63" fmla="*/ 1177925 w 1517650"/>
                  <a:gd name="connsiteY63" fmla="*/ 1035050 h 1311275"/>
                  <a:gd name="connsiteX64" fmla="*/ 1177925 w 1517650"/>
                  <a:gd name="connsiteY64" fmla="*/ 998682 h 1311275"/>
                  <a:gd name="connsiteX65" fmla="*/ 1092200 w 1517650"/>
                  <a:gd name="connsiteY65" fmla="*/ 1031485 h 1311275"/>
                  <a:gd name="connsiteX66" fmla="*/ 1005760 w 1517650"/>
                  <a:gd name="connsiteY66" fmla="*/ 998682 h 1311275"/>
                  <a:gd name="connsiteX67" fmla="*/ 1005760 w 1517650"/>
                  <a:gd name="connsiteY67" fmla="*/ 1035050 h 1311275"/>
                  <a:gd name="connsiteX68" fmla="*/ 975757 w 1517650"/>
                  <a:gd name="connsiteY68" fmla="*/ 1010092 h 1311275"/>
                  <a:gd name="connsiteX69" fmla="*/ 974328 w 1517650"/>
                  <a:gd name="connsiteY69" fmla="*/ 1009378 h 1311275"/>
                  <a:gd name="connsiteX70" fmla="*/ 974328 w 1517650"/>
                  <a:gd name="connsiteY70" fmla="*/ 975863 h 1311275"/>
                  <a:gd name="connsiteX71" fmla="*/ 969327 w 1517650"/>
                  <a:gd name="connsiteY71" fmla="*/ 972297 h 1311275"/>
                  <a:gd name="connsiteX72" fmla="*/ 897175 w 1517650"/>
                  <a:gd name="connsiteY72" fmla="*/ 826111 h 1311275"/>
                  <a:gd name="connsiteX73" fmla="*/ 863600 w 1517650"/>
                  <a:gd name="connsiteY73" fmla="*/ 773342 h 1311275"/>
                  <a:gd name="connsiteX74" fmla="*/ 863600 w 1517650"/>
                  <a:gd name="connsiteY74" fmla="*/ 768350 h 1311275"/>
                  <a:gd name="connsiteX75" fmla="*/ 196850 w 1517650"/>
                  <a:gd name="connsiteY75" fmla="*/ 768350 h 1311275"/>
                  <a:gd name="connsiteX76" fmla="*/ 234653 w 1517650"/>
                  <a:gd name="connsiteY76" fmla="*/ 786267 h 1311275"/>
                  <a:gd name="connsiteX77" fmla="*/ 250344 w 1517650"/>
                  <a:gd name="connsiteY77" fmla="*/ 801317 h 1311275"/>
                  <a:gd name="connsiteX78" fmla="*/ 257477 w 1517650"/>
                  <a:gd name="connsiteY78" fmla="*/ 809917 h 1311275"/>
                  <a:gd name="connsiteX79" fmla="*/ 323097 w 1517650"/>
                  <a:gd name="connsiteY79" fmla="*/ 949667 h 1311275"/>
                  <a:gd name="connsiteX80" fmla="*/ 425093 w 1517650"/>
                  <a:gd name="connsiteY80" fmla="*/ 1001267 h 1311275"/>
                  <a:gd name="connsiteX81" fmla="*/ 527089 w 1517650"/>
                  <a:gd name="connsiteY81" fmla="*/ 949667 h 1311275"/>
                  <a:gd name="connsiteX82" fmla="*/ 593423 w 1517650"/>
                  <a:gd name="connsiteY82" fmla="*/ 809917 h 1311275"/>
                  <a:gd name="connsiteX83" fmla="*/ 600555 w 1517650"/>
                  <a:gd name="connsiteY83" fmla="*/ 801317 h 1311275"/>
                  <a:gd name="connsiteX84" fmla="*/ 616247 w 1517650"/>
                  <a:gd name="connsiteY84" fmla="*/ 786267 h 1311275"/>
                  <a:gd name="connsiteX85" fmla="*/ 654050 w 1517650"/>
                  <a:gd name="connsiteY85" fmla="*/ 768350 h 1311275"/>
                  <a:gd name="connsiteX86" fmla="*/ 654050 w 1517650"/>
                  <a:gd name="connsiteY86" fmla="*/ 771933 h 1311275"/>
                  <a:gd name="connsiteX87" fmla="*/ 620527 w 1517650"/>
                  <a:gd name="connsiteY87" fmla="*/ 826400 h 1311275"/>
                  <a:gd name="connsiteX88" fmla="*/ 548487 w 1517650"/>
                  <a:gd name="connsiteY88" fmla="*/ 973317 h 1311275"/>
                  <a:gd name="connsiteX89" fmla="*/ 543494 w 1517650"/>
                  <a:gd name="connsiteY89" fmla="*/ 976900 h 1311275"/>
                  <a:gd name="connsiteX90" fmla="*/ 543494 w 1517650"/>
                  <a:gd name="connsiteY90" fmla="*/ 1008433 h 1311275"/>
                  <a:gd name="connsiteX91" fmla="*/ 536362 w 1517650"/>
                  <a:gd name="connsiteY91" fmla="*/ 1017033 h 1311275"/>
                  <a:gd name="connsiteX92" fmla="*/ 512111 w 1517650"/>
                  <a:gd name="connsiteY92" fmla="*/ 1041400 h 1311275"/>
                  <a:gd name="connsiteX93" fmla="*/ 512111 w 1517650"/>
                  <a:gd name="connsiteY93" fmla="*/ 999833 h 1311275"/>
                  <a:gd name="connsiteX94" fmla="*/ 425093 w 1517650"/>
                  <a:gd name="connsiteY94" fmla="*/ 1032800 h 1311275"/>
                  <a:gd name="connsiteX95" fmla="*/ 339502 w 1517650"/>
                  <a:gd name="connsiteY95" fmla="*/ 999833 h 1311275"/>
                  <a:gd name="connsiteX96" fmla="*/ 339502 w 1517650"/>
                  <a:gd name="connsiteY96" fmla="*/ 1041400 h 1311275"/>
                  <a:gd name="connsiteX97" fmla="*/ 314538 w 1517650"/>
                  <a:gd name="connsiteY97" fmla="*/ 1017033 h 1311275"/>
                  <a:gd name="connsiteX98" fmla="*/ 308118 w 1517650"/>
                  <a:gd name="connsiteY98" fmla="*/ 1008433 h 1311275"/>
                  <a:gd name="connsiteX99" fmla="*/ 308118 w 1517650"/>
                  <a:gd name="connsiteY99" fmla="*/ 977617 h 1311275"/>
                  <a:gd name="connsiteX100" fmla="*/ 302412 w 1517650"/>
                  <a:gd name="connsiteY100" fmla="*/ 973317 h 1311275"/>
                  <a:gd name="connsiteX101" fmla="*/ 230373 w 1517650"/>
                  <a:gd name="connsiteY101" fmla="*/ 826400 h 1311275"/>
                  <a:gd name="connsiteX102" fmla="*/ 196850 w 1517650"/>
                  <a:gd name="connsiteY102" fmla="*/ 773367 h 1311275"/>
                  <a:gd name="connsiteX103" fmla="*/ 196850 w 1517650"/>
                  <a:gd name="connsiteY103" fmla="*/ 768350 h 1311275"/>
                  <a:gd name="connsiteX104" fmla="*/ 1091126 w 1517650"/>
                  <a:gd name="connsiteY104" fmla="*/ 431800 h 1311275"/>
                  <a:gd name="connsiteX105" fmla="*/ 1313734 w 1517650"/>
                  <a:gd name="connsiteY105" fmla="*/ 656987 h 1311275"/>
                  <a:gd name="connsiteX106" fmla="*/ 1305861 w 1517650"/>
                  <a:gd name="connsiteY106" fmla="*/ 733479 h 1311275"/>
                  <a:gd name="connsiteX107" fmla="*/ 1305861 w 1517650"/>
                  <a:gd name="connsiteY107" fmla="*/ 732764 h 1311275"/>
                  <a:gd name="connsiteX108" fmla="*/ 1281524 w 1517650"/>
                  <a:gd name="connsiteY108" fmla="*/ 767793 h 1311275"/>
                  <a:gd name="connsiteX109" fmla="*/ 1279377 w 1517650"/>
                  <a:gd name="connsiteY109" fmla="*/ 768508 h 1311275"/>
                  <a:gd name="connsiteX110" fmla="*/ 1265061 w 1517650"/>
                  <a:gd name="connsiteY110" fmla="*/ 768508 h 1311275"/>
                  <a:gd name="connsiteX111" fmla="*/ 1263630 w 1517650"/>
                  <a:gd name="connsiteY111" fmla="*/ 768508 h 1311275"/>
                  <a:gd name="connsiteX112" fmla="*/ 971591 w 1517650"/>
                  <a:gd name="connsiteY112" fmla="*/ 612664 h 1311275"/>
                  <a:gd name="connsiteX113" fmla="*/ 968728 w 1517650"/>
                  <a:gd name="connsiteY113" fmla="*/ 612664 h 1311275"/>
                  <a:gd name="connsiteX114" fmla="*/ 882118 w 1517650"/>
                  <a:gd name="connsiteY114" fmla="*/ 749921 h 1311275"/>
                  <a:gd name="connsiteX115" fmla="*/ 882118 w 1517650"/>
                  <a:gd name="connsiteY115" fmla="*/ 749206 h 1311275"/>
                  <a:gd name="connsiteX116" fmla="*/ 869950 w 1517650"/>
                  <a:gd name="connsiteY116" fmla="*/ 656987 h 1311275"/>
                  <a:gd name="connsiteX117" fmla="*/ 1091126 w 1517650"/>
                  <a:gd name="connsiteY117" fmla="*/ 431800 h 1311275"/>
                  <a:gd name="connsiteX118" fmla="*/ 425450 w 1517650"/>
                  <a:gd name="connsiteY118" fmla="*/ 431800 h 1311275"/>
                  <a:gd name="connsiteX119" fmla="*/ 646983 w 1517650"/>
                  <a:gd name="connsiteY119" fmla="*/ 659000 h 1311275"/>
                  <a:gd name="connsiteX120" fmla="*/ 639097 w 1517650"/>
                  <a:gd name="connsiteY120" fmla="*/ 735689 h 1311275"/>
                  <a:gd name="connsiteX121" fmla="*/ 614004 w 1517650"/>
                  <a:gd name="connsiteY121" fmla="*/ 771525 h 1311275"/>
                  <a:gd name="connsiteX122" fmla="*/ 597514 w 1517650"/>
                  <a:gd name="connsiteY122" fmla="*/ 771525 h 1311275"/>
                  <a:gd name="connsiteX123" fmla="*/ 595363 w 1517650"/>
                  <a:gd name="connsiteY123" fmla="*/ 603813 h 1311275"/>
                  <a:gd name="connsiteX124" fmla="*/ 303571 w 1517650"/>
                  <a:gd name="connsiteY124" fmla="*/ 613847 h 1311275"/>
                  <a:gd name="connsiteX125" fmla="*/ 249084 w 1517650"/>
                  <a:gd name="connsiteY125" fmla="*/ 768658 h 1311275"/>
                  <a:gd name="connsiteX126" fmla="*/ 234028 w 1517650"/>
                  <a:gd name="connsiteY126" fmla="*/ 766508 h 1311275"/>
                  <a:gd name="connsiteX127" fmla="*/ 211803 w 1517650"/>
                  <a:gd name="connsiteY127" fmla="*/ 738556 h 1311275"/>
                  <a:gd name="connsiteX128" fmla="*/ 211803 w 1517650"/>
                  <a:gd name="connsiteY128" fmla="*/ 737839 h 1311275"/>
                  <a:gd name="connsiteX129" fmla="*/ 203200 w 1517650"/>
                  <a:gd name="connsiteY129" fmla="*/ 659000 h 1311275"/>
                  <a:gd name="connsiteX130" fmla="*/ 425450 w 1517650"/>
                  <a:gd name="connsiteY130" fmla="*/ 431800 h 1311275"/>
                  <a:gd name="connsiteX131" fmla="*/ 1351838 w 1517650"/>
                  <a:gd name="connsiteY131" fmla="*/ 417512 h 1311275"/>
                  <a:gd name="connsiteX132" fmla="*/ 1470682 w 1517650"/>
                  <a:gd name="connsiteY132" fmla="*/ 472908 h 1311275"/>
                  <a:gd name="connsiteX133" fmla="*/ 1468547 w 1517650"/>
                  <a:gd name="connsiteY133" fmla="*/ 494924 h 1311275"/>
                  <a:gd name="connsiteX134" fmla="*/ 1458584 w 1517650"/>
                  <a:gd name="connsiteY134" fmla="*/ 498475 h 1311275"/>
                  <a:gd name="connsiteX135" fmla="*/ 1446486 w 1517650"/>
                  <a:gd name="connsiteY135" fmla="*/ 492793 h 1311275"/>
                  <a:gd name="connsiteX136" fmla="*/ 1351838 w 1517650"/>
                  <a:gd name="connsiteY136" fmla="*/ 448761 h 1311275"/>
                  <a:gd name="connsiteX137" fmla="*/ 1272135 w 1517650"/>
                  <a:gd name="connsiteY137" fmla="*/ 477169 h 1311275"/>
                  <a:gd name="connsiteX138" fmla="*/ 1272135 w 1517650"/>
                  <a:gd name="connsiteY138" fmla="*/ 476459 h 1311275"/>
                  <a:gd name="connsiteX139" fmla="*/ 1249362 w 1517650"/>
                  <a:gd name="connsiteY139" fmla="*/ 455863 h 1311275"/>
                  <a:gd name="connsiteX140" fmla="*/ 1351838 w 1517650"/>
                  <a:gd name="connsiteY140" fmla="*/ 417512 h 1311275"/>
                  <a:gd name="connsiteX141" fmla="*/ 759619 w 1517650"/>
                  <a:gd name="connsiteY141" fmla="*/ 417512 h 1311275"/>
                  <a:gd name="connsiteX142" fmla="*/ 878541 w 1517650"/>
                  <a:gd name="connsiteY142" fmla="*/ 473604 h 1311275"/>
                  <a:gd name="connsiteX143" fmla="*/ 877117 w 1517650"/>
                  <a:gd name="connsiteY143" fmla="*/ 495897 h 1311275"/>
                  <a:gd name="connsiteX144" fmla="*/ 867147 w 1517650"/>
                  <a:gd name="connsiteY144" fmla="*/ 499492 h 1311275"/>
                  <a:gd name="connsiteX145" fmla="*/ 855041 w 1517650"/>
                  <a:gd name="connsiteY145" fmla="*/ 493739 h 1311275"/>
                  <a:gd name="connsiteX146" fmla="*/ 759619 w 1517650"/>
                  <a:gd name="connsiteY146" fmla="*/ 449154 h 1311275"/>
                  <a:gd name="connsiteX147" fmla="*/ 664196 w 1517650"/>
                  <a:gd name="connsiteY147" fmla="*/ 493739 h 1311275"/>
                  <a:gd name="connsiteX148" fmla="*/ 642121 w 1517650"/>
                  <a:gd name="connsiteY148" fmla="*/ 495897 h 1311275"/>
                  <a:gd name="connsiteX149" fmla="*/ 640697 w 1517650"/>
                  <a:gd name="connsiteY149" fmla="*/ 473604 h 1311275"/>
                  <a:gd name="connsiteX150" fmla="*/ 759619 w 1517650"/>
                  <a:gd name="connsiteY150" fmla="*/ 417512 h 1311275"/>
                  <a:gd name="connsiteX151" fmla="*/ 165812 w 1517650"/>
                  <a:gd name="connsiteY151" fmla="*/ 417512 h 1311275"/>
                  <a:gd name="connsiteX152" fmla="*/ 268288 w 1517650"/>
                  <a:gd name="connsiteY152" fmla="*/ 456345 h 1311275"/>
                  <a:gd name="connsiteX153" fmla="*/ 244804 w 1517650"/>
                  <a:gd name="connsiteY153" fmla="*/ 477200 h 1311275"/>
                  <a:gd name="connsiteX154" fmla="*/ 165812 w 1517650"/>
                  <a:gd name="connsiteY154" fmla="*/ 449154 h 1311275"/>
                  <a:gd name="connsiteX155" fmla="*/ 71164 w 1517650"/>
                  <a:gd name="connsiteY155" fmla="*/ 493739 h 1311275"/>
                  <a:gd name="connsiteX156" fmla="*/ 49103 w 1517650"/>
                  <a:gd name="connsiteY156" fmla="*/ 495897 h 1311275"/>
                  <a:gd name="connsiteX157" fmla="*/ 46968 w 1517650"/>
                  <a:gd name="connsiteY157" fmla="*/ 473604 h 1311275"/>
                  <a:gd name="connsiteX158" fmla="*/ 165812 w 1517650"/>
                  <a:gd name="connsiteY158" fmla="*/ 417512 h 1311275"/>
                  <a:gd name="connsiteX159" fmla="*/ 1260912 w 1517650"/>
                  <a:gd name="connsiteY159" fmla="*/ 277812 h 1311275"/>
                  <a:gd name="connsiteX160" fmla="*/ 1380889 w 1517650"/>
                  <a:gd name="connsiteY160" fmla="*/ 333904 h 1311275"/>
                  <a:gd name="connsiteX161" fmla="*/ 1378747 w 1517650"/>
                  <a:gd name="connsiteY161" fmla="*/ 356197 h 1311275"/>
                  <a:gd name="connsiteX162" fmla="*/ 1368749 w 1517650"/>
                  <a:gd name="connsiteY162" fmla="*/ 359792 h 1311275"/>
                  <a:gd name="connsiteX163" fmla="*/ 1356608 w 1517650"/>
                  <a:gd name="connsiteY163" fmla="*/ 354759 h 1311275"/>
                  <a:gd name="connsiteX164" fmla="*/ 1260912 w 1517650"/>
                  <a:gd name="connsiteY164" fmla="*/ 309454 h 1311275"/>
                  <a:gd name="connsiteX165" fmla="*/ 1165930 w 1517650"/>
                  <a:gd name="connsiteY165" fmla="*/ 354759 h 1311275"/>
                  <a:gd name="connsiteX166" fmla="*/ 1143791 w 1517650"/>
                  <a:gd name="connsiteY166" fmla="*/ 356197 h 1311275"/>
                  <a:gd name="connsiteX167" fmla="*/ 1142363 w 1517650"/>
                  <a:gd name="connsiteY167" fmla="*/ 333904 h 1311275"/>
                  <a:gd name="connsiteX168" fmla="*/ 1260912 w 1517650"/>
                  <a:gd name="connsiteY168" fmla="*/ 277812 h 1311275"/>
                  <a:gd name="connsiteX169" fmla="*/ 926306 w 1517650"/>
                  <a:gd name="connsiteY169" fmla="*/ 277812 h 1311275"/>
                  <a:gd name="connsiteX170" fmla="*/ 1045940 w 1517650"/>
                  <a:gd name="connsiteY170" fmla="*/ 333904 h 1311275"/>
                  <a:gd name="connsiteX171" fmla="*/ 1043804 w 1517650"/>
                  <a:gd name="connsiteY171" fmla="*/ 356197 h 1311275"/>
                  <a:gd name="connsiteX172" fmla="*/ 1033834 w 1517650"/>
                  <a:gd name="connsiteY172" fmla="*/ 359792 h 1311275"/>
                  <a:gd name="connsiteX173" fmla="*/ 1021728 w 1517650"/>
                  <a:gd name="connsiteY173" fmla="*/ 354759 h 1311275"/>
                  <a:gd name="connsiteX174" fmla="*/ 926306 w 1517650"/>
                  <a:gd name="connsiteY174" fmla="*/ 309454 h 1311275"/>
                  <a:gd name="connsiteX175" fmla="*/ 830883 w 1517650"/>
                  <a:gd name="connsiteY175" fmla="*/ 354759 h 1311275"/>
                  <a:gd name="connsiteX176" fmla="*/ 808808 w 1517650"/>
                  <a:gd name="connsiteY176" fmla="*/ 356197 h 1311275"/>
                  <a:gd name="connsiteX177" fmla="*/ 807384 w 1517650"/>
                  <a:gd name="connsiteY177" fmla="*/ 333904 h 1311275"/>
                  <a:gd name="connsiteX178" fmla="*/ 926306 w 1517650"/>
                  <a:gd name="connsiteY178" fmla="*/ 277812 h 1311275"/>
                  <a:gd name="connsiteX179" fmla="*/ 592137 w 1517650"/>
                  <a:gd name="connsiteY179" fmla="*/ 277812 h 1311275"/>
                  <a:gd name="connsiteX180" fmla="*/ 711817 w 1517650"/>
                  <a:gd name="connsiteY180" fmla="*/ 333904 h 1311275"/>
                  <a:gd name="connsiteX181" fmla="*/ 710383 w 1517650"/>
                  <a:gd name="connsiteY181" fmla="*/ 356197 h 1311275"/>
                  <a:gd name="connsiteX182" fmla="*/ 700350 w 1517650"/>
                  <a:gd name="connsiteY182" fmla="*/ 359792 h 1311275"/>
                  <a:gd name="connsiteX183" fmla="*/ 688167 w 1517650"/>
                  <a:gd name="connsiteY183" fmla="*/ 354759 h 1311275"/>
                  <a:gd name="connsiteX184" fmla="*/ 592137 w 1517650"/>
                  <a:gd name="connsiteY184" fmla="*/ 309454 h 1311275"/>
                  <a:gd name="connsiteX185" fmla="*/ 496107 w 1517650"/>
                  <a:gd name="connsiteY185" fmla="*/ 354759 h 1311275"/>
                  <a:gd name="connsiteX186" fmla="*/ 473891 w 1517650"/>
                  <a:gd name="connsiteY186" fmla="*/ 356197 h 1311275"/>
                  <a:gd name="connsiteX187" fmla="*/ 471741 w 1517650"/>
                  <a:gd name="connsiteY187" fmla="*/ 333904 h 1311275"/>
                  <a:gd name="connsiteX188" fmla="*/ 592137 w 1517650"/>
                  <a:gd name="connsiteY188" fmla="*/ 277812 h 1311275"/>
                  <a:gd name="connsiteX189" fmla="*/ 257174 w 1517650"/>
                  <a:gd name="connsiteY189" fmla="*/ 277812 h 1311275"/>
                  <a:gd name="connsiteX190" fmla="*/ 376854 w 1517650"/>
                  <a:gd name="connsiteY190" fmla="*/ 333904 h 1311275"/>
                  <a:gd name="connsiteX191" fmla="*/ 375420 w 1517650"/>
                  <a:gd name="connsiteY191" fmla="*/ 356197 h 1311275"/>
                  <a:gd name="connsiteX192" fmla="*/ 365387 w 1517650"/>
                  <a:gd name="connsiteY192" fmla="*/ 359792 h 1311275"/>
                  <a:gd name="connsiteX193" fmla="*/ 353204 w 1517650"/>
                  <a:gd name="connsiteY193" fmla="*/ 354759 h 1311275"/>
                  <a:gd name="connsiteX194" fmla="*/ 257174 w 1517650"/>
                  <a:gd name="connsiteY194" fmla="*/ 309454 h 1311275"/>
                  <a:gd name="connsiteX195" fmla="*/ 161144 w 1517650"/>
                  <a:gd name="connsiteY195" fmla="*/ 354759 h 1311275"/>
                  <a:gd name="connsiteX196" fmla="*/ 138928 w 1517650"/>
                  <a:gd name="connsiteY196" fmla="*/ 356197 h 1311275"/>
                  <a:gd name="connsiteX197" fmla="*/ 136778 w 1517650"/>
                  <a:gd name="connsiteY197" fmla="*/ 333904 h 1311275"/>
                  <a:gd name="connsiteX198" fmla="*/ 257174 w 1517650"/>
                  <a:gd name="connsiteY198" fmla="*/ 277812 h 1311275"/>
                  <a:gd name="connsiteX199" fmla="*/ 1093351 w 1517650"/>
                  <a:gd name="connsiteY199" fmla="*/ 139700 h 1311275"/>
                  <a:gd name="connsiteX200" fmla="*/ 1212614 w 1517650"/>
                  <a:gd name="connsiteY200" fmla="*/ 196030 h 1311275"/>
                  <a:gd name="connsiteX201" fmla="*/ 1210471 w 1517650"/>
                  <a:gd name="connsiteY201" fmla="*/ 218134 h 1311275"/>
                  <a:gd name="connsiteX202" fmla="*/ 1200473 w 1517650"/>
                  <a:gd name="connsiteY202" fmla="*/ 221699 h 1311275"/>
                  <a:gd name="connsiteX203" fmla="*/ 1188333 w 1517650"/>
                  <a:gd name="connsiteY203" fmla="*/ 215994 h 1311275"/>
                  <a:gd name="connsiteX204" fmla="*/ 1093351 w 1517650"/>
                  <a:gd name="connsiteY204" fmla="*/ 171786 h 1311275"/>
                  <a:gd name="connsiteX205" fmla="*/ 997655 w 1517650"/>
                  <a:gd name="connsiteY205" fmla="*/ 215994 h 1311275"/>
                  <a:gd name="connsiteX206" fmla="*/ 975516 w 1517650"/>
                  <a:gd name="connsiteY206" fmla="*/ 218134 h 1311275"/>
                  <a:gd name="connsiteX207" fmla="*/ 974088 w 1517650"/>
                  <a:gd name="connsiteY207" fmla="*/ 196030 h 1311275"/>
                  <a:gd name="connsiteX208" fmla="*/ 1093351 w 1517650"/>
                  <a:gd name="connsiteY208" fmla="*/ 139700 h 1311275"/>
                  <a:gd name="connsiteX209" fmla="*/ 759619 w 1517650"/>
                  <a:gd name="connsiteY209" fmla="*/ 139700 h 1311275"/>
                  <a:gd name="connsiteX210" fmla="*/ 878541 w 1517650"/>
                  <a:gd name="connsiteY210" fmla="*/ 196030 h 1311275"/>
                  <a:gd name="connsiteX211" fmla="*/ 877117 w 1517650"/>
                  <a:gd name="connsiteY211" fmla="*/ 218134 h 1311275"/>
                  <a:gd name="connsiteX212" fmla="*/ 867147 w 1517650"/>
                  <a:gd name="connsiteY212" fmla="*/ 221699 h 1311275"/>
                  <a:gd name="connsiteX213" fmla="*/ 855041 w 1517650"/>
                  <a:gd name="connsiteY213" fmla="*/ 215994 h 1311275"/>
                  <a:gd name="connsiteX214" fmla="*/ 759619 w 1517650"/>
                  <a:gd name="connsiteY214" fmla="*/ 171786 h 1311275"/>
                  <a:gd name="connsiteX215" fmla="*/ 664196 w 1517650"/>
                  <a:gd name="connsiteY215" fmla="*/ 215994 h 1311275"/>
                  <a:gd name="connsiteX216" fmla="*/ 642121 w 1517650"/>
                  <a:gd name="connsiteY216" fmla="*/ 218134 h 1311275"/>
                  <a:gd name="connsiteX217" fmla="*/ 640697 w 1517650"/>
                  <a:gd name="connsiteY217" fmla="*/ 196030 h 1311275"/>
                  <a:gd name="connsiteX218" fmla="*/ 759619 w 1517650"/>
                  <a:gd name="connsiteY218" fmla="*/ 139700 h 1311275"/>
                  <a:gd name="connsiteX219" fmla="*/ 424656 w 1517650"/>
                  <a:gd name="connsiteY219" fmla="*/ 139700 h 1311275"/>
                  <a:gd name="connsiteX220" fmla="*/ 543578 w 1517650"/>
                  <a:gd name="connsiteY220" fmla="*/ 196030 h 1311275"/>
                  <a:gd name="connsiteX221" fmla="*/ 542154 w 1517650"/>
                  <a:gd name="connsiteY221" fmla="*/ 218134 h 1311275"/>
                  <a:gd name="connsiteX222" fmla="*/ 532184 w 1517650"/>
                  <a:gd name="connsiteY222" fmla="*/ 221699 h 1311275"/>
                  <a:gd name="connsiteX223" fmla="*/ 520078 w 1517650"/>
                  <a:gd name="connsiteY223" fmla="*/ 215994 h 1311275"/>
                  <a:gd name="connsiteX224" fmla="*/ 424656 w 1517650"/>
                  <a:gd name="connsiteY224" fmla="*/ 171786 h 1311275"/>
                  <a:gd name="connsiteX225" fmla="*/ 329233 w 1517650"/>
                  <a:gd name="connsiteY225" fmla="*/ 215994 h 1311275"/>
                  <a:gd name="connsiteX226" fmla="*/ 307158 w 1517650"/>
                  <a:gd name="connsiteY226" fmla="*/ 218134 h 1311275"/>
                  <a:gd name="connsiteX227" fmla="*/ 305022 w 1517650"/>
                  <a:gd name="connsiteY227" fmla="*/ 196030 h 1311275"/>
                  <a:gd name="connsiteX228" fmla="*/ 424656 w 1517650"/>
                  <a:gd name="connsiteY228" fmla="*/ 139700 h 1311275"/>
                  <a:gd name="connsiteX229" fmla="*/ 926306 w 1517650"/>
                  <a:gd name="connsiteY229" fmla="*/ 0 h 1311275"/>
                  <a:gd name="connsiteX230" fmla="*/ 1045940 w 1517650"/>
                  <a:gd name="connsiteY230" fmla="*/ 56092 h 1311275"/>
                  <a:gd name="connsiteX231" fmla="*/ 1043804 w 1517650"/>
                  <a:gd name="connsiteY231" fmla="*/ 78385 h 1311275"/>
                  <a:gd name="connsiteX232" fmla="*/ 1033834 w 1517650"/>
                  <a:gd name="connsiteY232" fmla="*/ 81980 h 1311275"/>
                  <a:gd name="connsiteX233" fmla="*/ 1021728 w 1517650"/>
                  <a:gd name="connsiteY233" fmla="*/ 76947 h 1311275"/>
                  <a:gd name="connsiteX234" fmla="*/ 926306 w 1517650"/>
                  <a:gd name="connsiteY234" fmla="*/ 31642 h 1311275"/>
                  <a:gd name="connsiteX235" fmla="*/ 830883 w 1517650"/>
                  <a:gd name="connsiteY235" fmla="*/ 76947 h 1311275"/>
                  <a:gd name="connsiteX236" fmla="*/ 808808 w 1517650"/>
                  <a:gd name="connsiteY236" fmla="*/ 78385 h 1311275"/>
                  <a:gd name="connsiteX237" fmla="*/ 807384 w 1517650"/>
                  <a:gd name="connsiteY237" fmla="*/ 56092 h 1311275"/>
                  <a:gd name="connsiteX238" fmla="*/ 926306 w 1517650"/>
                  <a:gd name="connsiteY238" fmla="*/ 0 h 1311275"/>
                  <a:gd name="connsiteX239" fmla="*/ 592137 w 1517650"/>
                  <a:gd name="connsiteY239" fmla="*/ 0 h 1311275"/>
                  <a:gd name="connsiteX240" fmla="*/ 711817 w 1517650"/>
                  <a:gd name="connsiteY240" fmla="*/ 56092 h 1311275"/>
                  <a:gd name="connsiteX241" fmla="*/ 710383 w 1517650"/>
                  <a:gd name="connsiteY241" fmla="*/ 78385 h 1311275"/>
                  <a:gd name="connsiteX242" fmla="*/ 700350 w 1517650"/>
                  <a:gd name="connsiteY242" fmla="*/ 81980 h 1311275"/>
                  <a:gd name="connsiteX243" fmla="*/ 688167 w 1517650"/>
                  <a:gd name="connsiteY243" fmla="*/ 76947 h 1311275"/>
                  <a:gd name="connsiteX244" fmla="*/ 592137 w 1517650"/>
                  <a:gd name="connsiteY244" fmla="*/ 31642 h 1311275"/>
                  <a:gd name="connsiteX245" fmla="*/ 496107 w 1517650"/>
                  <a:gd name="connsiteY245" fmla="*/ 76947 h 1311275"/>
                  <a:gd name="connsiteX246" fmla="*/ 473891 w 1517650"/>
                  <a:gd name="connsiteY246" fmla="*/ 78385 h 1311275"/>
                  <a:gd name="connsiteX247" fmla="*/ 471741 w 1517650"/>
                  <a:gd name="connsiteY247" fmla="*/ 56092 h 1311275"/>
                  <a:gd name="connsiteX248" fmla="*/ 592137 w 1517650"/>
                  <a:gd name="connsiteY248" fmla="*/ 0 h 1311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</a:cxnLst>
                <a:rect l="l" t="t" r="r" b="b"/>
                <a:pathLst>
                  <a:path w="1517650" h="1311275">
                    <a:moveTo>
                      <a:pt x="955047" y="1035050"/>
                    </a:moveTo>
                    <a:cubicBezTo>
                      <a:pt x="955047" y="1035050"/>
                      <a:pt x="1045951" y="1110709"/>
                      <a:pt x="1088898" y="1144255"/>
                    </a:cubicBezTo>
                    <a:cubicBezTo>
                      <a:pt x="1091045" y="1145683"/>
                      <a:pt x="1093193" y="1145683"/>
                      <a:pt x="1095340" y="1144255"/>
                    </a:cubicBezTo>
                    <a:cubicBezTo>
                      <a:pt x="1153318" y="1097861"/>
                      <a:pt x="1228475" y="1035050"/>
                      <a:pt x="1228475" y="1035050"/>
                    </a:cubicBezTo>
                    <a:cubicBezTo>
                      <a:pt x="1228475" y="1035050"/>
                      <a:pt x="1346579" y="1036478"/>
                      <a:pt x="1410283" y="1065742"/>
                    </a:cubicBezTo>
                    <a:cubicBezTo>
                      <a:pt x="1431757" y="1075734"/>
                      <a:pt x="1450367" y="1095720"/>
                      <a:pt x="1466114" y="1119274"/>
                    </a:cubicBezTo>
                    <a:cubicBezTo>
                      <a:pt x="1500472" y="1170664"/>
                      <a:pt x="1517650" y="1231334"/>
                      <a:pt x="1517650" y="1293431"/>
                    </a:cubicBezTo>
                    <a:cubicBezTo>
                      <a:pt x="1517650" y="1293431"/>
                      <a:pt x="1517650" y="1293431"/>
                      <a:pt x="1517650" y="1295572"/>
                    </a:cubicBezTo>
                    <a:cubicBezTo>
                      <a:pt x="1517650" y="1304138"/>
                      <a:pt x="1510492" y="1311275"/>
                      <a:pt x="1501903" y="1311275"/>
                    </a:cubicBezTo>
                    <a:cubicBezTo>
                      <a:pt x="1501903" y="1311275"/>
                      <a:pt x="1501903" y="1311275"/>
                      <a:pt x="879175" y="1311275"/>
                    </a:cubicBezTo>
                    <a:cubicBezTo>
                      <a:pt x="881322" y="1306279"/>
                      <a:pt x="882038" y="1300569"/>
                      <a:pt x="882038" y="1295572"/>
                    </a:cubicBezTo>
                    <a:cubicBezTo>
                      <a:pt x="882038" y="1295572"/>
                      <a:pt x="882038" y="1295572"/>
                      <a:pt x="882038" y="1293431"/>
                    </a:cubicBezTo>
                    <a:cubicBezTo>
                      <a:pt x="882038" y="1224196"/>
                      <a:pt x="862712" y="1157817"/>
                      <a:pt x="824776" y="1102144"/>
                    </a:cubicBezTo>
                    <a:cubicBezTo>
                      <a:pt x="813323" y="1085013"/>
                      <a:pt x="801871" y="1070738"/>
                      <a:pt x="788987" y="1059318"/>
                    </a:cubicBezTo>
                    <a:cubicBezTo>
                      <a:pt x="854838" y="1036478"/>
                      <a:pt x="955047" y="1035050"/>
                      <a:pt x="955047" y="1035050"/>
                    </a:cubicBezTo>
                    <a:close/>
                    <a:moveTo>
                      <a:pt x="288162" y="1035050"/>
                    </a:moveTo>
                    <a:cubicBezTo>
                      <a:pt x="288162" y="1035050"/>
                      <a:pt x="314305" y="1071987"/>
                      <a:pt x="366593" y="1090456"/>
                    </a:cubicBezTo>
                    <a:lnTo>
                      <a:pt x="425092" y="1100295"/>
                    </a:lnTo>
                    <a:lnTo>
                      <a:pt x="422590" y="1100716"/>
                    </a:lnTo>
                    <a:cubicBezTo>
                      <a:pt x="427595" y="1100716"/>
                      <a:pt x="427595" y="1100716"/>
                      <a:pt x="427595" y="1100716"/>
                    </a:cubicBezTo>
                    <a:lnTo>
                      <a:pt x="425092" y="1100295"/>
                    </a:lnTo>
                    <a:lnTo>
                      <a:pt x="483592" y="1090456"/>
                    </a:lnTo>
                    <a:cubicBezTo>
                      <a:pt x="535879" y="1071987"/>
                      <a:pt x="562023" y="1035050"/>
                      <a:pt x="562023" y="1035050"/>
                    </a:cubicBezTo>
                    <a:cubicBezTo>
                      <a:pt x="562023" y="1035050"/>
                      <a:pt x="680005" y="1036478"/>
                      <a:pt x="744359" y="1065742"/>
                    </a:cubicBezTo>
                    <a:cubicBezTo>
                      <a:pt x="765095" y="1075734"/>
                      <a:pt x="783686" y="1095720"/>
                      <a:pt x="799417" y="1119274"/>
                    </a:cubicBezTo>
                    <a:cubicBezTo>
                      <a:pt x="833739" y="1170664"/>
                      <a:pt x="850900" y="1231334"/>
                      <a:pt x="850900" y="1293431"/>
                    </a:cubicBezTo>
                    <a:cubicBezTo>
                      <a:pt x="850900" y="1293431"/>
                      <a:pt x="850900" y="1293431"/>
                      <a:pt x="850900" y="1295572"/>
                    </a:cubicBezTo>
                    <a:cubicBezTo>
                      <a:pt x="850900" y="1304138"/>
                      <a:pt x="843749" y="1311275"/>
                      <a:pt x="835169" y="1311275"/>
                    </a:cubicBezTo>
                    <a:cubicBezTo>
                      <a:pt x="835169" y="1311275"/>
                      <a:pt x="835169" y="1311275"/>
                      <a:pt x="15731" y="1311275"/>
                    </a:cubicBezTo>
                    <a:cubicBezTo>
                      <a:pt x="7150" y="1311275"/>
                      <a:pt x="0" y="1304138"/>
                      <a:pt x="0" y="1295572"/>
                    </a:cubicBezTo>
                    <a:cubicBezTo>
                      <a:pt x="0" y="1295572"/>
                      <a:pt x="0" y="1295572"/>
                      <a:pt x="0" y="1293431"/>
                    </a:cubicBezTo>
                    <a:cubicBezTo>
                      <a:pt x="0" y="1231334"/>
                      <a:pt x="17161" y="1170664"/>
                      <a:pt x="50768" y="1119274"/>
                    </a:cubicBezTo>
                    <a:cubicBezTo>
                      <a:pt x="66499" y="1095720"/>
                      <a:pt x="85090" y="1075734"/>
                      <a:pt x="106541" y="1065742"/>
                    </a:cubicBezTo>
                    <a:cubicBezTo>
                      <a:pt x="170180" y="1036478"/>
                      <a:pt x="288162" y="1035050"/>
                      <a:pt x="288162" y="1035050"/>
                    </a:cubicBezTo>
                    <a:close/>
                    <a:moveTo>
                      <a:pt x="1302460" y="871537"/>
                    </a:moveTo>
                    <a:cubicBezTo>
                      <a:pt x="1305339" y="913273"/>
                      <a:pt x="1312537" y="968449"/>
                      <a:pt x="1355725" y="972693"/>
                    </a:cubicBezTo>
                    <a:cubicBezTo>
                      <a:pt x="1337010" y="991792"/>
                      <a:pt x="1318296" y="1002403"/>
                      <a:pt x="1301020" y="1008062"/>
                    </a:cubicBezTo>
                    <a:cubicBezTo>
                      <a:pt x="1275827" y="1005233"/>
                      <a:pt x="1252794" y="1003818"/>
                      <a:pt x="1239837" y="1003110"/>
                    </a:cubicBezTo>
                    <a:cubicBezTo>
                      <a:pt x="1239837" y="1003110"/>
                      <a:pt x="1239837" y="1003110"/>
                      <a:pt x="1239837" y="990378"/>
                    </a:cubicBezTo>
                    <a:cubicBezTo>
                      <a:pt x="1255673" y="971986"/>
                      <a:pt x="1276547" y="932372"/>
                      <a:pt x="1302460" y="871537"/>
                    </a:cubicBezTo>
                    <a:close/>
                    <a:moveTo>
                      <a:pt x="880352" y="869950"/>
                    </a:moveTo>
                    <a:cubicBezTo>
                      <a:pt x="906265" y="931887"/>
                      <a:pt x="927139" y="971755"/>
                      <a:pt x="942975" y="989553"/>
                    </a:cubicBezTo>
                    <a:cubicBezTo>
                      <a:pt x="942975" y="989553"/>
                      <a:pt x="942975" y="989553"/>
                      <a:pt x="942975" y="1003080"/>
                    </a:cubicBezTo>
                    <a:cubicBezTo>
                      <a:pt x="930018" y="1003792"/>
                      <a:pt x="907704" y="1005215"/>
                      <a:pt x="882511" y="1008063"/>
                    </a:cubicBezTo>
                    <a:cubicBezTo>
                      <a:pt x="865236" y="1002368"/>
                      <a:pt x="846521" y="991689"/>
                      <a:pt x="827087" y="972467"/>
                    </a:cubicBezTo>
                    <a:cubicBezTo>
                      <a:pt x="870995" y="968195"/>
                      <a:pt x="878193" y="911954"/>
                      <a:pt x="880352" y="869950"/>
                    </a:cubicBezTo>
                    <a:close/>
                    <a:moveTo>
                      <a:pt x="863600" y="768350"/>
                    </a:moveTo>
                    <a:cubicBezTo>
                      <a:pt x="863600" y="768350"/>
                      <a:pt x="863600" y="768350"/>
                      <a:pt x="901462" y="786177"/>
                    </a:cubicBezTo>
                    <a:cubicBezTo>
                      <a:pt x="905034" y="791882"/>
                      <a:pt x="910034" y="797587"/>
                      <a:pt x="917178" y="801153"/>
                    </a:cubicBezTo>
                    <a:cubicBezTo>
                      <a:pt x="920035" y="802579"/>
                      <a:pt x="922893" y="806144"/>
                      <a:pt x="924322" y="809710"/>
                    </a:cubicBezTo>
                    <a:cubicBezTo>
                      <a:pt x="947896" y="868897"/>
                      <a:pt x="979329" y="938781"/>
                      <a:pt x="990044" y="948765"/>
                    </a:cubicBezTo>
                    <a:cubicBezTo>
                      <a:pt x="1010047" y="965879"/>
                      <a:pt x="1064339" y="1000108"/>
                      <a:pt x="1092200" y="1000108"/>
                    </a:cubicBezTo>
                    <a:cubicBezTo>
                      <a:pt x="1120775" y="1000108"/>
                      <a:pt x="1175067" y="965879"/>
                      <a:pt x="1193641" y="948765"/>
                    </a:cubicBezTo>
                    <a:cubicBezTo>
                      <a:pt x="1205071" y="938781"/>
                      <a:pt x="1236504" y="868897"/>
                      <a:pt x="1260078" y="809710"/>
                    </a:cubicBezTo>
                    <a:cubicBezTo>
                      <a:pt x="1261507" y="806144"/>
                      <a:pt x="1263650" y="802579"/>
                      <a:pt x="1267222" y="801153"/>
                    </a:cubicBezTo>
                    <a:cubicBezTo>
                      <a:pt x="1274366" y="797587"/>
                      <a:pt x="1279366" y="791882"/>
                      <a:pt x="1282938" y="786177"/>
                    </a:cubicBezTo>
                    <a:cubicBezTo>
                      <a:pt x="1282938" y="786177"/>
                      <a:pt x="1282938" y="786177"/>
                      <a:pt x="1320800" y="768350"/>
                    </a:cubicBezTo>
                    <a:cubicBezTo>
                      <a:pt x="1320800" y="769776"/>
                      <a:pt x="1320800" y="770489"/>
                      <a:pt x="1320800" y="771915"/>
                    </a:cubicBezTo>
                    <a:cubicBezTo>
                      <a:pt x="1318657" y="783325"/>
                      <a:pt x="1312228" y="810423"/>
                      <a:pt x="1287225" y="826111"/>
                    </a:cubicBezTo>
                    <a:cubicBezTo>
                      <a:pt x="1272937" y="861766"/>
                      <a:pt x="1235075" y="953757"/>
                      <a:pt x="1215072" y="972297"/>
                    </a:cubicBezTo>
                    <a:cubicBezTo>
                      <a:pt x="1213644" y="973010"/>
                      <a:pt x="1211500" y="974436"/>
                      <a:pt x="1209357" y="976576"/>
                    </a:cubicBezTo>
                    <a:cubicBezTo>
                      <a:pt x="1209357" y="976576"/>
                      <a:pt x="1209357" y="976576"/>
                      <a:pt x="1209357" y="1009378"/>
                    </a:cubicBezTo>
                    <a:cubicBezTo>
                      <a:pt x="1209357" y="1009378"/>
                      <a:pt x="1209357" y="1009378"/>
                      <a:pt x="1208643" y="1010092"/>
                    </a:cubicBezTo>
                    <a:cubicBezTo>
                      <a:pt x="1208643" y="1010092"/>
                      <a:pt x="1196499" y="1020788"/>
                      <a:pt x="1177925" y="1035050"/>
                    </a:cubicBezTo>
                    <a:cubicBezTo>
                      <a:pt x="1177925" y="1035050"/>
                      <a:pt x="1177925" y="1035050"/>
                      <a:pt x="1177925" y="998682"/>
                    </a:cubicBezTo>
                    <a:cubicBezTo>
                      <a:pt x="1152922" y="1015083"/>
                      <a:pt x="1118632" y="1031485"/>
                      <a:pt x="1092200" y="1031485"/>
                    </a:cubicBezTo>
                    <a:cubicBezTo>
                      <a:pt x="1066482" y="1031485"/>
                      <a:pt x="1032192" y="1015083"/>
                      <a:pt x="1005760" y="998682"/>
                    </a:cubicBezTo>
                    <a:cubicBezTo>
                      <a:pt x="1005760" y="998682"/>
                      <a:pt x="1005760" y="998682"/>
                      <a:pt x="1005760" y="1035050"/>
                    </a:cubicBezTo>
                    <a:cubicBezTo>
                      <a:pt x="988615" y="1020788"/>
                      <a:pt x="975757" y="1010805"/>
                      <a:pt x="975757" y="1010092"/>
                    </a:cubicBezTo>
                    <a:cubicBezTo>
                      <a:pt x="975757" y="1010092"/>
                      <a:pt x="975757" y="1010092"/>
                      <a:pt x="974328" y="1009378"/>
                    </a:cubicBezTo>
                    <a:cubicBezTo>
                      <a:pt x="974328" y="1009378"/>
                      <a:pt x="974328" y="1009378"/>
                      <a:pt x="974328" y="975863"/>
                    </a:cubicBezTo>
                    <a:cubicBezTo>
                      <a:pt x="972899" y="974436"/>
                      <a:pt x="970756" y="973010"/>
                      <a:pt x="969327" y="972297"/>
                    </a:cubicBezTo>
                    <a:cubicBezTo>
                      <a:pt x="949325" y="953757"/>
                      <a:pt x="911463" y="861766"/>
                      <a:pt x="897175" y="826111"/>
                    </a:cubicBezTo>
                    <a:cubicBezTo>
                      <a:pt x="873601" y="811136"/>
                      <a:pt x="866457" y="786891"/>
                      <a:pt x="863600" y="773342"/>
                    </a:cubicBezTo>
                    <a:cubicBezTo>
                      <a:pt x="863600" y="771202"/>
                      <a:pt x="863600" y="769776"/>
                      <a:pt x="863600" y="768350"/>
                    </a:cubicBezTo>
                    <a:close/>
                    <a:moveTo>
                      <a:pt x="196850" y="768350"/>
                    </a:moveTo>
                    <a:cubicBezTo>
                      <a:pt x="196850" y="768350"/>
                      <a:pt x="196850" y="768350"/>
                      <a:pt x="234653" y="786267"/>
                    </a:cubicBezTo>
                    <a:cubicBezTo>
                      <a:pt x="238219" y="792000"/>
                      <a:pt x="242498" y="797733"/>
                      <a:pt x="250344" y="801317"/>
                    </a:cubicBezTo>
                    <a:cubicBezTo>
                      <a:pt x="253197" y="802750"/>
                      <a:pt x="256050" y="806333"/>
                      <a:pt x="257477" y="809917"/>
                    </a:cubicBezTo>
                    <a:cubicBezTo>
                      <a:pt x="281014" y="869400"/>
                      <a:pt x="312398" y="939633"/>
                      <a:pt x="323097" y="949667"/>
                    </a:cubicBezTo>
                    <a:cubicBezTo>
                      <a:pt x="343068" y="966867"/>
                      <a:pt x="397276" y="1001267"/>
                      <a:pt x="425093" y="1001267"/>
                    </a:cubicBezTo>
                    <a:cubicBezTo>
                      <a:pt x="453624" y="1001267"/>
                      <a:pt x="507831" y="966867"/>
                      <a:pt x="527089" y="949667"/>
                    </a:cubicBezTo>
                    <a:cubicBezTo>
                      <a:pt x="538502" y="939633"/>
                      <a:pt x="569885" y="869400"/>
                      <a:pt x="593423" y="809917"/>
                    </a:cubicBezTo>
                    <a:cubicBezTo>
                      <a:pt x="594849" y="806333"/>
                      <a:pt x="596989" y="802750"/>
                      <a:pt x="600555" y="801317"/>
                    </a:cubicBezTo>
                    <a:cubicBezTo>
                      <a:pt x="607688" y="797733"/>
                      <a:pt x="612681" y="792000"/>
                      <a:pt x="616247" y="786267"/>
                    </a:cubicBezTo>
                    <a:cubicBezTo>
                      <a:pt x="616247" y="786267"/>
                      <a:pt x="616247" y="786267"/>
                      <a:pt x="654050" y="768350"/>
                    </a:cubicBezTo>
                    <a:cubicBezTo>
                      <a:pt x="654050" y="769783"/>
                      <a:pt x="654050" y="770500"/>
                      <a:pt x="654050" y="771933"/>
                    </a:cubicBezTo>
                    <a:cubicBezTo>
                      <a:pt x="651910" y="783400"/>
                      <a:pt x="645491" y="810633"/>
                      <a:pt x="620527" y="826400"/>
                    </a:cubicBezTo>
                    <a:cubicBezTo>
                      <a:pt x="606261" y="862233"/>
                      <a:pt x="568459" y="954683"/>
                      <a:pt x="548487" y="973317"/>
                    </a:cubicBezTo>
                    <a:cubicBezTo>
                      <a:pt x="547061" y="974033"/>
                      <a:pt x="544921" y="975467"/>
                      <a:pt x="543494" y="976900"/>
                    </a:cubicBezTo>
                    <a:cubicBezTo>
                      <a:pt x="543494" y="976900"/>
                      <a:pt x="543494" y="976900"/>
                      <a:pt x="543494" y="1008433"/>
                    </a:cubicBezTo>
                    <a:cubicBezTo>
                      <a:pt x="543494" y="1008433"/>
                      <a:pt x="543494" y="1008433"/>
                      <a:pt x="536362" y="1017033"/>
                    </a:cubicBezTo>
                    <a:cubicBezTo>
                      <a:pt x="536362" y="1017750"/>
                      <a:pt x="528516" y="1029217"/>
                      <a:pt x="512111" y="1041400"/>
                    </a:cubicBezTo>
                    <a:cubicBezTo>
                      <a:pt x="512111" y="1041400"/>
                      <a:pt x="512111" y="1041400"/>
                      <a:pt x="512111" y="999833"/>
                    </a:cubicBezTo>
                    <a:cubicBezTo>
                      <a:pt x="485720" y="1016317"/>
                      <a:pt x="451484" y="1032800"/>
                      <a:pt x="425093" y="1032800"/>
                    </a:cubicBezTo>
                    <a:cubicBezTo>
                      <a:pt x="399416" y="1032800"/>
                      <a:pt x="365179" y="1016317"/>
                      <a:pt x="339502" y="999833"/>
                    </a:cubicBezTo>
                    <a:cubicBezTo>
                      <a:pt x="339502" y="999833"/>
                      <a:pt x="339502" y="999833"/>
                      <a:pt x="339502" y="1041400"/>
                    </a:cubicBezTo>
                    <a:cubicBezTo>
                      <a:pt x="323097" y="1029217"/>
                      <a:pt x="315251" y="1018467"/>
                      <a:pt x="314538" y="1017033"/>
                    </a:cubicBezTo>
                    <a:cubicBezTo>
                      <a:pt x="314538" y="1017033"/>
                      <a:pt x="314538" y="1017033"/>
                      <a:pt x="308118" y="1008433"/>
                    </a:cubicBezTo>
                    <a:cubicBezTo>
                      <a:pt x="308118" y="1008433"/>
                      <a:pt x="308118" y="1008433"/>
                      <a:pt x="308118" y="977617"/>
                    </a:cubicBezTo>
                    <a:cubicBezTo>
                      <a:pt x="305979" y="975467"/>
                      <a:pt x="303839" y="974033"/>
                      <a:pt x="302412" y="973317"/>
                    </a:cubicBezTo>
                    <a:cubicBezTo>
                      <a:pt x="282441" y="954683"/>
                      <a:pt x="244638" y="862233"/>
                      <a:pt x="230373" y="826400"/>
                    </a:cubicBezTo>
                    <a:cubicBezTo>
                      <a:pt x="206835" y="811350"/>
                      <a:pt x="199703" y="786983"/>
                      <a:pt x="196850" y="773367"/>
                    </a:cubicBezTo>
                    <a:cubicBezTo>
                      <a:pt x="196850" y="771217"/>
                      <a:pt x="196850" y="769783"/>
                      <a:pt x="196850" y="768350"/>
                    </a:cubicBezTo>
                    <a:close/>
                    <a:moveTo>
                      <a:pt x="1091126" y="431800"/>
                    </a:moveTo>
                    <a:cubicBezTo>
                      <a:pt x="1217104" y="431800"/>
                      <a:pt x="1313734" y="532598"/>
                      <a:pt x="1313734" y="656987"/>
                    </a:cubicBezTo>
                    <a:cubicBezTo>
                      <a:pt x="1313734" y="684152"/>
                      <a:pt x="1314450" y="709888"/>
                      <a:pt x="1305861" y="733479"/>
                    </a:cubicBezTo>
                    <a:cubicBezTo>
                      <a:pt x="1305861" y="732764"/>
                      <a:pt x="1305861" y="732764"/>
                      <a:pt x="1305861" y="732764"/>
                    </a:cubicBezTo>
                    <a:cubicBezTo>
                      <a:pt x="1305145" y="733479"/>
                      <a:pt x="1301566" y="744202"/>
                      <a:pt x="1281524" y="767793"/>
                    </a:cubicBezTo>
                    <a:cubicBezTo>
                      <a:pt x="1280809" y="768508"/>
                      <a:pt x="1280093" y="768508"/>
                      <a:pt x="1279377" y="768508"/>
                    </a:cubicBezTo>
                    <a:cubicBezTo>
                      <a:pt x="1265061" y="768508"/>
                      <a:pt x="1265061" y="768508"/>
                      <a:pt x="1265061" y="768508"/>
                    </a:cubicBezTo>
                    <a:cubicBezTo>
                      <a:pt x="1264346" y="768508"/>
                      <a:pt x="1264346" y="768508"/>
                      <a:pt x="1263630" y="768508"/>
                    </a:cubicBezTo>
                    <a:cubicBezTo>
                      <a:pt x="971591" y="612664"/>
                      <a:pt x="971591" y="612664"/>
                      <a:pt x="971591" y="612664"/>
                    </a:cubicBezTo>
                    <a:cubicBezTo>
                      <a:pt x="970875" y="612664"/>
                      <a:pt x="969443" y="612664"/>
                      <a:pt x="968728" y="612664"/>
                    </a:cubicBezTo>
                    <a:cubicBezTo>
                      <a:pt x="903591" y="634111"/>
                      <a:pt x="904307" y="769938"/>
                      <a:pt x="882118" y="749921"/>
                    </a:cubicBezTo>
                    <a:cubicBezTo>
                      <a:pt x="882118" y="749206"/>
                      <a:pt x="882118" y="749206"/>
                      <a:pt x="882118" y="749206"/>
                    </a:cubicBezTo>
                    <a:cubicBezTo>
                      <a:pt x="872813" y="724900"/>
                      <a:pt x="869950" y="684867"/>
                      <a:pt x="869950" y="656987"/>
                    </a:cubicBezTo>
                    <a:cubicBezTo>
                      <a:pt x="869950" y="532598"/>
                      <a:pt x="966580" y="431800"/>
                      <a:pt x="1091126" y="431800"/>
                    </a:cubicBezTo>
                    <a:close/>
                    <a:moveTo>
                      <a:pt x="425450" y="431800"/>
                    </a:moveTo>
                    <a:cubicBezTo>
                      <a:pt x="550913" y="431800"/>
                      <a:pt x="646983" y="533574"/>
                      <a:pt x="646983" y="659000"/>
                    </a:cubicBezTo>
                    <a:cubicBezTo>
                      <a:pt x="646983" y="686235"/>
                      <a:pt x="647700" y="712037"/>
                      <a:pt x="639097" y="735689"/>
                    </a:cubicBezTo>
                    <a:cubicBezTo>
                      <a:pt x="638380" y="735689"/>
                      <a:pt x="634795" y="747156"/>
                      <a:pt x="614004" y="771525"/>
                    </a:cubicBezTo>
                    <a:cubicBezTo>
                      <a:pt x="614004" y="771525"/>
                      <a:pt x="614004" y="771525"/>
                      <a:pt x="597514" y="771525"/>
                    </a:cubicBezTo>
                    <a:cubicBezTo>
                      <a:pt x="597514" y="771525"/>
                      <a:pt x="597514" y="762924"/>
                      <a:pt x="595363" y="603813"/>
                    </a:cubicBezTo>
                    <a:cubicBezTo>
                      <a:pt x="570271" y="731389"/>
                      <a:pt x="303571" y="613847"/>
                      <a:pt x="303571" y="613847"/>
                    </a:cubicBezTo>
                    <a:cubicBezTo>
                      <a:pt x="236896" y="634631"/>
                      <a:pt x="249084" y="768658"/>
                      <a:pt x="249084" y="768658"/>
                    </a:cubicBezTo>
                    <a:cubicBezTo>
                      <a:pt x="249084" y="768658"/>
                      <a:pt x="249084" y="768658"/>
                      <a:pt x="234028" y="766508"/>
                    </a:cubicBezTo>
                    <a:cubicBezTo>
                      <a:pt x="234028" y="766508"/>
                      <a:pt x="234028" y="758624"/>
                      <a:pt x="211803" y="738556"/>
                    </a:cubicBezTo>
                    <a:cubicBezTo>
                      <a:pt x="211803" y="738556"/>
                      <a:pt x="211803" y="738556"/>
                      <a:pt x="211803" y="737839"/>
                    </a:cubicBezTo>
                    <a:cubicBezTo>
                      <a:pt x="203200" y="713471"/>
                      <a:pt x="203200" y="686952"/>
                      <a:pt x="203200" y="659000"/>
                    </a:cubicBezTo>
                    <a:cubicBezTo>
                      <a:pt x="203200" y="533574"/>
                      <a:pt x="299269" y="431800"/>
                      <a:pt x="425450" y="431800"/>
                    </a:cubicBezTo>
                    <a:close/>
                    <a:moveTo>
                      <a:pt x="1351838" y="417512"/>
                    </a:moveTo>
                    <a:cubicBezTo>
                      <a:pt x="1397383" y="417512"/>
                      <a:pt x="1440793" y="437398"/>
                      <a:pt x="1470682" y="472908"/>
                    </a:cubicBezTo>
                    <a:cubicBezTo>
                      <a:pt x="1476375" y="479299"/>
                      <a:pt x="1475664" y="489242"/>
                      <a:pt x="1468547" y="494924"/>
                    </a:cubicBezTo>
                    <a:cubicBezTo>
                      <a:pt x="1465701" y="497054"/>
                      <a:pt x="1462142" y="498475"/>
                      <a:pt x="1458584" y="498475"/>
                    </a:cubicBezTo>
                    <a:cubicBezTo>
                      <a:pt x="1454314" y="498475"/>
                      <a:pt x="1450045" y="496344"/>
                      <a:pt x="1446486" y="492793"/>
                    </a:cubicBezTo>
                    <a:cubicBezTo>
                      <a:pt x="1423002" y="465095"/>
                      <a:pt x="1388132" y="448761"/>
                      <a:pt x="1351838" y="448761"/>
                    </a:cubicBezTo>
                    <a:cubicBezTo>
                      <a:pt x="1322661" y="448761"/>
                      <a:pt x="1294907" y="458704"/>
                      <a:pt x="1272135" y="477169"/>
                    </a:cubicBezTo>
                    <a:cubicBezTo>
                      <a:pt x="1272135" y="477169"/>
                      <a:pt x="1272135" y="477169"/>
                      <a:pt x="1272135" y="476459"/>
                    </a:cubicBezTo>
                    <a:cubicBezTo>
                      <a:pt x="1265018" y="469357"/>
                      <a:pt x="1257190" y="462255"/>
                      <a:pt x="1249362" y="455863"/>
                    </a:cubicBezTo>
                    <a:cubicBezTo>
                      <a:pt x="1277116" y="431006"/>
                      <a:pt x="1313410" y="417512"/>
                      <a:pt x="1351838" y="417512"/>
                    </a:cubicBezTo>
                    <a:close/>
                    <a:moveTo>
                      <a:pt x="759619" y="417512"/>
                    </a:moveTo>
                    <a:cubicBezTo>
                      <a:pt x="805906" y="417512"/>
                      <a:pt x="849344" y="437647"/>
                      <a:pt x="878541" y="473604"/>
                    </a:cubicBezTo>
                    <a:cubicBezTo>
                      <a:pt x="884238" y="480076"/>
                      <a:pt x="883526" y="490144"/>
                      <a:pt x="877117" y="495897"/>
                    </a:cubicBezTo>
                    <a:cubicBezTo>
                      <a:pt x="874268" y="498054"/>
                      <a:pt x="870708" y="499492"/>
                      <a:pt x="867147" y="499492"/>
                    </a:cubicBezTo>
                    <a:cubicBezTo>
                      <a:pt x="862162" y="499492"/>
                      <a:pt x="857890" y="497335"/>
                      <a:pt x="855041" y="493739"/>
                    </a:cubicBezTo>
                    <a:cubicBezTo>
                      <a:pt x="830830" y="465693"/>
                      <a:pt x="796648" y="449154"/>
                      <a:pt x="759619" y="449154"/>
                    </a:cubicBezTo>
                    <a:cubicBezTo>
                      <a:pt x="722589" y="449154"/>
                      <a:pt x="688408" y="465693"/>
                      <a:pt x="664196" y="493739"/>
                    </a:cubicBezTo>
                    <a:cubicBezTo>
                      <a:pt x="658499" y="500212"/>
                      <a:pt x="649242" y="501650"/>
                      <a:pt x="642121" y="495897"/>
                    </a:cubicBezTo>
                    <a:cubicBezTo>
                      <a:pt x="635712" y="490144"/>
                      <a:pt x="635000" y="480076"/>
                      <a:pt x="640697" y="473604"/>
                    </a:cubicBezTo>
                    <a:cubicBezTo>
                      <a:pt x="669893" y="437647"/>
                      <a:pt x="713332" y="417512"/>
                      <a:pt x="759619" y="417512"/>
                    </a:cubicBezTo>
                    <a:close/>
                    <a:moveTo>
                      <a:pt x="165812" y="417512"/>
                    </a:moveTo>
                    <a:cubicBezTo>
                      <a:pt x="204240" y="417512"/>
                      <a:pt x="240534" y="431175"/>
                      <a:pt x="268288" y="456345"/>
                    </a:cubicBezTo>
                    <a:cubicBezTo>
                      <a:pt x="260460" y="462817"/>
                      <a:pt x="252632" y="470008"/>
                      <a:pt x="244804" y="477200"/>
                    </a:cubicBezTo>
                    <a:cubicBezTo>
                      <a:pt x="222743" y="459221"/>
                      <a:pt x="194989" y="449154"/>
                      <a:pt x="165812" y="449154"/>
                    </a:cubicBezTo>
                    <a:cubicBezTo>
                      <a:pt x="129518" y="449154"/>
                      <a:pt x="94648" y="465693"/>
                      <a:pt x="71164" y="493739"/>
                    </a:cubicBezTo>
                    <a:cubicBezTo>
                      <a:pt x="65470" y="500212"/>
                      <a:pt x="55508" y="501650"/>
                      <a:pt x="49103" y="495897"/>
                    </a:cubicBezTo>
                    <a:cubicBezTo>
                      <a:pt x="41986" y="490144"/>
                      <a:pt x="41275" y="480076"/>
                      <a:pt x="46968" y="473604"/>
                    </a:cubicBezTo>
                    <a:cubicBezTo>
                      <a:pt x="76857" y="437647"/>
                      <a:pt x="120267" y="417512"/>
                      <a:pt x="165812" y="417512"/>
                    </a:cubicBezTo>
                    <a:close/>
                    <a:moveTo>
                      <a:pt x="1260912" y="277812"/>
                    </a:moveTo>
                    <a:cubicBezTo>
                      <a:pt x="1307332" y="277812"/>
                      <a:pt x="1350895" y="298667"/>
                      <a:pt x="1380889" y="333904"/>
                    </a:cubicBezTo>
                    <a:cubicBezTo>
                      <a:pt x="1385888" y="341095"/>
                      <a:pt x="1385174" y="351163"/>
                      <a:pt x="1378747" y="356197"/>
                    </a:cubicBezTo>
                    <a:cubicBezTo>
                      <a:pt x="1375890" y="359073"/>
                      <a:pt x="1372319" y="359792"/>
                      <a:pt x="1368749" y="359792"/>
                    </a:cubicBezTo>
                    <a:cubicBezTo>
                      <a:pt x="1364464" y="359792"/>
                      <a:pt x="1359465" y="358354"/>
                      <a:pt x="1356608" y="354759"/>
                    </a:cubicBezTo>
                    <a:cubicBezTo>
                      <a:pt x="1333041" y="325993"/>
                      <a:pt x="1298048" y="309454"/>
                      <a:pt x="1260912" y="309454"/>
                    </a:cubicBezTo>
                    <a:cubicBezTo>
                      <a:pt x="1223776" y="309454"/>
                      <a:pt x="1189497" y="325993"/>
                      <a:pt x="1165930" y="354759"/>
                    </a:cubicBezTo>
                    <a:cubicBezTo>
                      <a:pt x="1160931" y="361231"/>
                      <a:pt x="1150933" y="361950"/>
                      <a:pt x="1143791" y="356197"/>
                    </a:cubicBezTo>
                    <a:cubicBezTo>
                      <a:pt x="1137364" y="351163"/>
                      <a:pt x="1136650" y="341095"/>
                      <a:pt x="1142363" y="333904"/>
                    </a:cubicBezTo>
                    <a:cubicBezTo>
                      <a:pt x="1171643" y="298667"/>
                      <a:pt x="1214492" y="277812"/>
                      <a:pt x="1260912" y="277812"/>
                    </a:cubicBezTo>
                    <a:close/>
                    <a:moveTo>
                      <a:pt x="926306" y="277812"/>
                    </a:moveTo>
                    <a:cubicBezTo>
                      <a:pt x="972593" y="277812"/>
                      <a:pt x="1016031" y="298667"/>
                      <a:pt x="1045940" y="333904"/>
                    </a:cubicBezTo>
                    <a:cubicBezTo>
                      <a:pt x="1050925" y="341095"/>
                      <a:pt x="1050213" y="351163"/>
                      <a:pt x="1043804" y="356197"/>
                    </a:cubicBezTo>
                    <a:cubicBezTo>
                      <a:pt x="1040955" y="359073"/>
                      <a:pt x="1037395" y="359792"/>
                      <a:pt x="1033834" y="359792"/>
                    </a:cubicBezTo>
                    <a:cubicBezTo>
                      <a:pt x="1028849" y="359792"/>
                      <a:pt x="1024577" y="358354"/>
                      <a:pt x="1021728" y="354759"/>
                    </a:cubicBezTo>
                    <a:cubicBezTo>
                      <a:pt x="998229" y="325993"/>
                      <a:pt x="963335" y="309454"/>
                      <a:pt x="926306" y="309454"/>
                    </a:cubicBezTo>
                    <a:cubicBezTo>
                      <a:pt x="889276" y="309454"/>
                      <a:pt x="855095" y="325993"/>
                      <a:pt x="830883" y="354759"/>
                    </a:cubicBezTo>
                    <a:cubicBezTo>
                      <a:pt x="825186" y="361231"/>
                      <a:pt x="815929" y="361950"/>
                      <a:pt x="808808" y="356197"/>
                    </a:cubicBezTo>
                    <a:cubicBezTo>
                      <a:pt x="802399" y="351163"/>
                      <a:pt x="801687" y="341095"/>
                      <a:pt x="807384" y="333904"/>
                    </a:cubicBezTo>
                    <a:cubicBezTo>
                      <a:pt x="836580" y="298667"/>
                      <a:pt x="880019" y="277812"/>
                      <a:pt x="926306" y="277812"/>
                    </a:cubicBezTo>
                    <a:close/>
                    <a:moveTo>
                      <a:pt x="592137" y="277812"/>
                    </a:moveTo>
                    <a:cubicBezTo>
                      <a:pt x="638719" y="277812"/>
                      <a:pt x="682434" y="298667"/>
                      <a:pt x="711817" y="333904"/>
                    </a:cubicBezTo>
                    <a:cubicBezTo>
                      <a:pt x="717550" y="341095"/>
                      <a:pt x="716833" y="351163"/>
                      <a:pt x="710383" y="356197"/>
                    </a:cubicBezTo>
                    <a:cubicBezTo>
                      <a:pt x="707517" y="359073"/>
                      <a:pt x="703934" y="359792"/>
                      <a:pt x="700350" y="359792"/>
                    </a:cubicBezTo>
                    <a:cubicBezTo>
                      <a:pt x="695334" y="359792"/>
                      <a:pt x="691034" y="358354"/>
                      <a:pt x="688167" y="354759"/>
                    </a:cubicBezTo>
                    <a:cubicBezTo>
                      <a:pt x="663802" y="325993"/>
                      <a:pt x="629403" y="309454"/>
                      <a:pt x="592137" y="309454"/>
                    </a:cubicBezTo>
                    <a:cubicBezTo>
                      <a:pt x="554872" y="309454"/>
                      <a:pt x="519756" y="325993"/>
                      <a:pt x="496107" y="354759"/>
                    </a:cubicBezTo>
                    <a:cubicBezTo>
                      <a:pt x="490374" y="361231"/>
                      <a:pt x="480341" y="361950"/>
                      <a:pt x="473891" y="356197"/>
                    </a:cubicBezTo>
                    <a:cubicBezTo>
                      <a:pt x="467441" y="351163"/>
                      <a:pt x="466725" y="341095"/>
                      <a:pt x="471741" y="333904"/>
                    </a:cubicBezTo>
                    <a:cubicBezTo>
                      <a:pt x="501840" y="298667"/>
                      <a:pt x="545555" y="277812"/>
                      <a:pt x="592137" y="277812"/>
                    </a:cubicBezTo>
                    <a:close/>
                    <a:moveTo>
                      <a:pt x="257174" y="277812"/>
                    </a:moveTo>
                    <a:cubicBezTo>
                      <a:pt x="303756" y="277812"/>
                      <a:pt x="347471" y="298667"/>
                      <a:pt x="376854" y="333904"/>
                    </a:cubicBezTo>
                    <a:cubicBezTo>
                      <a:pt x="382587" y="341095"/>
                      <a:pt x="381870" y="351163"/>
                      <a:pt x="375420" y="356197"/>
                    </a:cubicBezTo>
                    <a:cubicBezTo>
                      <a:pt x="372554" y="359073"/>
                      <a:pt x="368254" y="359792"/>
                      <a:pt x="365387" y="359792"/>
                    </a:cubicBezTo>
                    <a:cubicBezTo>
                      <a:pt x="360371" y="359792"/>
                      <a:pt x="356071" y="358354"/>
                      <a:pt x="353204" y="354759"/>
                    </a:cubicBezTo>
                    <a:cubicBezTo>
                      <a:pt x="328839" y="325993"/>
                      <a:pt x="294440" y="309454"/>
                      <a:pt x="257174" y="309454"/>
                    </a:cubicBezTo>
                    <a:cubicBezTo>
                      <a:pt x="219909" y="309454"/>
                      <a:pt x="184793" y="325993"/>
                      <a:pt x="161144" y="354759"/>
                    </a:cubicBezTo>
                    <a:cubicBezTo>
                      <a:pt x="155411" y="361231"/>
                      <a:pt x="145378" y="361950"/>
                      <a:pt x="138928" y="356197"/>
                    </a:cubicBezTo>
                    <a:cubicBezTo>
                      <a:pt x="132478" y="351163"/>
                      <a:pt x="131762" y="341095"/>
                      <a:pt x="136778" y="333904"/>
                    </a:cubicBezTo>
                    <a:cubicBezTo>
                      <a:pt x="166877" y="298667"/>
                      <a:pt x="210592" y="277812"/>
                      <a:pt x="257174" y="277812"/>
                    </a:cubicBezTo>
                    <a:close/>
                    <a:moveTo>
                      <a:pt x="1093351" y="139700"/>
                    </a:moveTo>
                    <a:cubicBezTo>
                      <a:pt x="1139771" y="139700"/>
                      <a:pt x="1182619" y="159665"/>
                      <a:pt x="1212614" y="196030"/>
                    </a:cubicBezTo>
                    <a:cubicBezTo>
                      <a:pt x="1217613" y="202447"/>
                      <a:pt x="1216899" y="212429"/>
                      <a:pt x="1210471" y="218134"/>
                    </a:cubicBezTo>
                    <a:cubicBezTo>
                      <a:pt x="1207615" y="220273"/>
                      <a:pt x="1204044" y="221699"/>
                      <a:pt x="1200473" y="221699"/>
                    </a:cubicBezTo>
                    <a:cubicBezTo>
                      <a:pt x="1195474" y="221699"/>
                      <a:pt x="1191189" y="219560"/>
                      <a:pt x="1188333" y="215994"/>
                    </a:cubicBezTo>
                    <a:cubicBezTo>
                      <a:pt x="1165480" y="188186"/>
                      <a:pt x="1130487" y="171786"/>
                      <a:pt x="1093351" y="171786"/>
                    </a:cubicBezTo>
                    <a:cubicBezTo>
                      <a:pt x="1056215" y="171786"/>
                      <a:pt x="1021936" y="188186"/>
                      <a:pt x="997655" y="215994"/>
                    </a:cubicBezTo>
                    <a:cubicBezTo>
                      <a:pt x="991942" y="222412"/>
                      <a:pt x="982658" y="223838"/>
                      <a:pt x="975516" y="218134"/>
                    </a:cubicBezTo>
                    <a:cubicBezTo>
                      <a:pt x="969089" y="212429"/>
                      <a:pt x="968375" y="202447"/>
                      <a:pt x="974088" y="196030"/>
                    </a:cubicBezTo>
                    <a:cubicBezTo>
                      <a:pt x="1003368" y="159665"/>
                      <a:pt x="1046931" y="139700"/>
                      <a:pt x="1093351" y="139700"/>
                    </a:cubicBezTo>
                    <a:close/>
                    <a:moveTo>
                      <a:pt x="759619" y="139700"/>
                    </a:moveTo>
                    <a:cubicBezTo>
                      <a:pt x="805906" y="139700"/>
                      <a:pt x="849344" y="159665"/>
                      <a:pt x="878541" y="196030"/>
                    </a:cubicBezTo>
                    <a:cubicBezTo>
                      <a:pt x="884238" y="202447"/>
                      <a:pt x="883526" y="212429"/>
                      <a:pt x="877117" y="218134"/>
                    </a:cubicBezTo>
                    <a:cubicBezTo>
                      <a:pt x="874268" y="220273"/>
                      <a:pt x="870708" y="221699"/>
                      <a:pt x="867147" y="221699"/>
                    </a:cubicBezTo>
                    <a:cubicBezTo>
                      <a:pt x="862162" y="221699"/>
                      <a:pt x="857890" y="219560"/>
                      <a:pt x="855041" y="215994"/>
                    </a:cubicBezTo>
                    <a:cubicBezTo>
                      <a:pt x="830830" y="188186"/>
                      <a:pt x="796648" y="171786"/>
                      <a:pt x="759619" y="171786"/>
                    </a:cubicBezTo>
                    <a:cubicBezTo>
                      <a:pt x="722589" y="171786"/>
                      <a:pt x="688408" y="188186"/>
                      <a:pt x="664196" y="215994"/>
                    </a:cubicBezTo>
                    <a:cubicBezTo>
                      <a:pt x="658499" y="222412"/>
                      <a:pt x="649242" y="223838"/>
                      <a:pt x="642121" y="218134"/>
                    </a:cubicBezTo>
                    <a:cubicBezTo>
                      <a:pt x="635712" y="212429"/>
                      <a:pt x="635000" y="202447"/>
                      <a:pt x="640697" y="196030"/>
                    </a:cubicBezTo>
                    <a:cubicBezTo>
                      <a:pt x="669893" y="159665"/>
                      <a:pt x="713332" y="139700"/>
                      <a:pt x="759619" y="139700"/>
                    </a:cubicBezTo>
                    <a:close/>
                    <a:moveTo>
                      <a:pt x="424656" y="139700"/>
                    </a:moveTo>
                    <a:cubicBezTo>
                      <a:pt x="470943" y="139700"/>
                      <a:pt x="514381" y="159665"/>
                      <a:pt x="543578" y="196030"/>
                    </a:cubicBezTo>
                    <a:cubicBezTo>
                      <a:pt x="549275" y="202447"/>
                      <a:pt x="548563" y="212429"/>
                      <a:pt x="542154" y="218134"/>
                    </a:cubicBezTo>
                    <a:cubicBezTo>
                      <a:pt x="539305" y="220273"/>
                      <a:pt x="535745" y="221699"/>
                      <a:pt x="532184" y="221699"/>
                    </a:cubicBezTo>
                    <a:cubicBezTo>
                      <a:pt x="527199" y="221699"/>
                      <a:pt x="522927" y="219560"/>
                      <a:pt x="520078" y="215994"/>
                    </a:cubicBezTo>
                    <a:cubicBezTo>
                      <a:pt x="495867" y="188186"/>
                      <a:pt x="461685" y="171786"/>
                      <a:pt x="424656" y="171786"/>
                    </a:cubicBezTo>
                    <a:cubicBezTo>
                      <a:pt x="387626" y="171786"/>
                      <a:pt x="352733" y="188186"/>
                      <a:pt x="329233" y="215994"/>
                    </a:cubicBezTo>
                    <a:cubicBezTo>
                      <a:pt x="323536" y="222412"/>
                      <a:pt x="313567" y="223838"/>
                      <a:pt x="307158" y="218134"/>
                    </a:cubicBezTo>
                    <a:cubicBezTo>
                      <a:pt x="300749" y="212429"/>
                      <a:pt x="300037" y="202447"/>
                      <a:pt x="305022" y="196030"/>
                    </a:cubicBezTo>
                    <a:cubicBezTo>
                      <a:pt x="334930" y="159665"/>
                      <a:pt x="378369" y="139700"/>
                      <a:pt x="424656" y="139700"/>
                    </a:cubicBezTo>
                    <a:close/>
                    <a:moveTo>
                      <a:pt x="926306" y="0"/>
                    </a:moveTo>
                    <a:cubicBezTo>
                      <a:pt x="972593" y="0"/>
                      <a:pt x="1016031" y="20855"/>
                      <a:pt x="1045940" y="56092"/>
                    </a:cubicBezTo>
                    <a:cubicBezTo>
                      <a:pt x="1050925" y="63283"/>
                      <a:pt x="1050213" y="72632"/>
                      <a:pt x="1043804" y="78385"/>
                    </a:cubicBezTo>
                    <a:cubicBezTo>
                      <a:pt x="1040955" y="81261"/>
                      <a:pt x="1037395" y="81980"/>
                      <a:pt x="1033834" y="81980"/>
                    </a:cubicBezTo>
                    <a:cubicBezTo>
                      <a:pt x="1028849" y="81980"/>
                      <a:pt x="1024577" y="80542"/>
                      <a:pt x="1021728" y="76947"/>
                    </a:cubicBezTo>
                    <a:cubicBezTo>
                      <a:pt x="998229" y="48181"/>
                      <a:pt x="963335" y="31642"/>
                      <a:pt x="926306" y="31642"/>
                    </a:cubicBezTo>
                    <a:cubicBezTo>
                      <a:pt x="889276" y="31642"/>
                      <a:pt x="855095" y="48181"/>
                      <a:pt x="830883" y="76947"/>
                    </a:cubicBezTo>
                    <a:cubicBezTo>
                      <a:pt x="825186" y="83419"/>
                      <a:pt x="815929" y="84138"/>
                      <a:pt x="808808" y="78385"/>
                    </a:cubicBezTo>
                    <a:cubicBezTo>
                      <a:pt x="802399" y="72632"/>
                      <a:pt x="801687" y="63283"/>
                      <a:pt x="807384" y="56092"/>
                    </a:cubicBezTo>
                    <a:cubicBezTo>
                      <a:pt x="836580" y="20855"/>
                      <a:pt x="880019" y="0"/>
                      <a:pt x="926306" y="0"/>
                    </a:cubicBezTo>
                    <a:close/>
                    <a:moveTo>
                      <a:pt x="592137" y="0"/>
                    </a:moveTo>
                    <a:cubicBezTo>
                      <a:pt x="638719" y="0"/>
                      <a:pt x="682434" y="20855"/>
                      <a:pt x="711817" y="56092"/>
                    </a:cubicBezTo>
                    <a:cubicBezTo>
                      <a:pt x="717550" y="63283"/>
                      <a:pt x="716833" y="72632"/>
                      <a:pt x="710383" y="78385"/>
                    </a:cubicBezTo>
                    <a:cubicBezTo>
                      <a:pt x="707517" y="81261"/>
                      <a:pt x="703934" y="81980"/>
                      <a:pt x="700350" y="81980"/>
                    </a:cubicBezTo>
                    <a:cubicBezTo>
                      <a:pt x="695334" y="81980"/>
                      <a:pt x="691034" y="80542"/>
                      <a:pt x="688167" y="76947"/>
                    </a:cubicBezTo>
                    <a:cubicBezTo>
                      <a:pt x="663802" y="48181"/>
                      <a:pt x="629403" y="31642"/>
                      <a:pt x="592137" y="31642"/>
                    </a:cubicBezTo>
                    <a:cubicBezTo>
                      <a:pt x="554872" y="31642"/>
                      <a:pt x="519756" y="48181"/>
                      <a:pt x="496107" y="76947"/>
                    </a:cubicBezTo>
                    <a:cubicBezTo>
                      <a:pt x="490374" y="83419"/>
                      <a:pt x="480341" y="84138"/>
                      <a:pt x="473891" y="78385"/>
                    </a:cubicBezTo>
                    <a:cubicBezTo>
                      <a:pt x="467441" y="72632"/>
                      <a:pt x="466725" y="63283"/>
                      <a:pt x="471741" y="56092"/>
                    </a:cubicBezTo>
                    <a:cubicBezTo>
                      <a:pt x="501840" y="20855"/>
                      <a:pt x="545555" y="0"/>
                      <a:pt x="59213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145" name="Group 144"/>
            <p:cNvGrpSpPr>
              <a:grpSpLocks noChangeAspect="1"/>
            </p:cNvGrpSpPr>
            <p:nvPr/>
          </p:nvGrpSpPr>
          <p:grpSpPr>
            <a:xfrm>
              <a:off x="6868144" y="4387851"/>
              <a:ext cx="528468" cy="527958"/>
              <a:chOff x="5272881" y="2606675"/>
              <a:chExt cx="1646238" cy="1644650"/>
            </a:xfrm>
          </p:grpSpPr>
          <p:sp>
            <p:nvSpPr>
              <p:cNvPr id="146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5272881" y="2606675"/>
                <a:ext cx="1646238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47" name="Freeform 146"/>
              <p:cNvSpPr>
                <a:spLocks/>
              </p:cNvSpPr>
              <p:nvPr/>
            </p:nvSpPr>
            <p:spPr bwMode="auto">
              <a:xfrm>
                <a:off x="5537993" y="2881312"/>
                <a:ext cx="1123838" cy="1125538"/>
              </a:xfrm>
              <a:custGeom>
                <a:avLst/>
                <a:gdLst>
                  <a:gd name="connsiteX0" fmla="*/ 409739 w 1123838"/>
                  <a:gd name="connsiteY0" fmla="*/ 615791 h 1125538"/>
                  <a:gd name="connsiteX1" fmla="*/ 326138 w 1123838"/>
                  <a:gd name="connsiteY1" fmla="*/ 635801 h 1125538"/>
                  <a:gd name="connsiteX2" fmla="*/ 31750 w 1123838"/>
                  <a:gd name="connsiteY2" fmla="*/ 803020 h 1125538"/>
                  <a:gd name="connsiteX3" fmla="*/ 31750 w 1123838"/>
                  <a:gd name="connsiteY3" fmla="*/ 1087437 h 1125538"/>
                  <a:gd name="connsiteX4" fmla="*/ 368296 w 1123838"/>
                  <a:gd name="connsiteY4" fmla="*/ 957377 h 1125538"/>
                  <a:gd name="connsiteX5" fmla="*/ 419028 w 1123838"/>
                  <a:gd name="connsiteY5" fmla="*/ 949516 h 1125538"/>
                  <a:gd name="connsiteX6" fmla="*/ 568366 w 1123838"/>
                  <a:gd name="connsiteY6" fmla="*/ 960236 h 1125538"/>
                  <a:gd name="connsiteX7" fmla="*/ 797017 w 1123838"/>
                  <a:gd name="connsiteY7" fmla="*/ 933795 h 1125538"/>
                  <a:gd name="connsiteX8" fmla="*/ 1047818 w 1123838"/>
                  <a:gd name="connsiteY8" fmla="*/ 767290 h 1125538"/>
                  <a:gd name="connsiteX9" fmla="*/ 1079972 w 1123838"/>
                  <a:gd name="connsiteY9" fmla="*/ 730130 h 1125538"/>
                  <a:gd name="connsiteX10" fmla="*/ 1074971 w 1123838"/>
                  <a:gd name="connsiteY10" fmla="*/ 655810 h 1125538"/>
                  <a:gd name="connsiteX11" fmla="*/ 1036386 w 1123838"/>
                  <a:gd name="connsiteY11" fmla="*/ 642232 h 1125538"/>
                  <a:gd name="connsiteX12" fmla="*/ 999230 w 1123838"/>
                  <a:gd name="connsiteY12" fmla="*/ 660097 h 1125538"/>
                  <a:gd name="connsiteX13" fmla="*/ 951356 w 1123838"/>
                  <a:gd name="connsiteY13" fmla="*/ 713694 h 1125538"/>
                  <a:gd name="connsiteX14" fmla="*/ 805591 w 1123838"/>
                  <a:gd name="connsiteY14" fmla="*/ 805164 h 1125538"/>
                  <a:gd name="connsiteX15" fmla="*/ 608380 w 1123838"/>
                  <a:gd name="connsiteY15" fmla="*/ 794445 h 1125538"/>
                  <a:gd name="connsiteX16" fmla="*/ 553360 w 1123838"/>
                  <a:gd name="connsiteY16" fmla="*/ 772292 h 1125538"/>
                  <a:gd name="connsiteX17" fmla="*/ 544071 w 1123838"/>
                  <a:gd name="connsiteY17" fmla="*/ 755856 h 1125538"/>
                  <a:gd name="connsiteX18" fmla="*/ 557648 w 1123838"/>
                  <a:gd name="connsiteY18" fmla="*/ 742278 h 1125538"/>
                  <a:gd name="connsiteX19" fmla="*/ 715560 w 1123838"/>
                  <a:gd name="connsiteY19" fmla="*/ 726557 h 1125538"/>
                  <a:gd name="connsiteX20" fmla="*/ 759146 w 1123838"/>
                  <a:gd name="connsiteY20" fmla="*/ 679392 h 1125538"/>
                  <a:gd name="connsiteX21" fmla="*/ 713416 w 1123838"/>
                  <a:gd name="connsiteY21" fmla="*/ 631513 h 1125538"/>
                  <a:gd name="connsiteX22" fmla="*/ 409739 w 1123838"/>
                  <a:gd name="connsiteY22" fmla="*/ 615791 h 1125538"/>
                  <a:gd name="connsiteX23" fmla="*/ 390213 w 1123838"/>
                  <a:gd name="connsiteY23" fmla="*/ 584200 h 1125538"/>
                  <a:gd name="connsiteX24" fmla="*/ 393786 w 1123838"/>
                  <a:gd name="connsiteY24" fmla="*/ 584200 h 1125538"/>
                  <a:gd name="connsiteX25" fmla="*/ 396645 w 1123838"/>
                  <a:gd name="connsiteY25" fmla="*/ 584200 h 1125538"/>
                  <a:gd name="connsiteX26" fmla="*/ 399504 w 1123838"/>
                  <a:gd name="connsiteY26" fmla="*/ 584200 h 1125538"/>
                  <a:gd name="connsiteX27" fmla="*/ 403077 w 1123838"/>
                  <a:gd name="connsiteY27" fmla="*/ 584200 h 1125538"/>
                  <a:gd name="connsiteX28" fmla="*/ 410939 w 1123838"/>
                  <a:gd name="connsiteY28" fmla="*/ 584200 h 1125538"/>
                  <a:gd name="connsiteX29" fmla="*/ 715390 w 1123838"/>
                  <a:gd name="connsiteY29" fmla="*/ 599912 h 1125538"/>
                  <a:gd name="connsiteX30" fmla="*/ 780426 w 1123838"/>
                  <a:gd name="connsiteY30" fmla="*/ 640619 h 1125538"/>
                  <a:gd name="connsiteX31" fmla="*/ 782570 w 1123838"/>
                  <a:gd name="connsiteY31" fmla="*/ 644904 h 1125538"/>
                  <a:gd name="connsiteX32" fmla="*/ 789002 w 1123838"/>
                  <a:gd name="connsiteY32" fmla="*/ 663473 h 1125538"/>
                  <a:gd name="connsiteX33" fmla="*/ 790431 w 1123838"/>
                  <a:gd name="connsiteY33" fmla="*/ 679184 h 1125538"/>
                  <a:gd name="connsiteX34" fmla="*/ 789716 w 1123838"/>
                  <a:gd name="connsiteY34" fmla="*/ 684898 h 1125538"/>
                  <a:gd name="connsiteX35" fmla="*/ 789716 w 1123838"/>
                  <a:gd name="connsiteY35" fmla="*/ 685612 h 1125538"/>
                  <a:gd name="connsiteX36" fmla="*/ 789002 w 1123838"/>
                  <a:gd name="connsiteY36" fmla="*/ 691325 h 1125538"/>
                  <a:gd name="connsiteX37" fmla="*/ 763988 w 1123838"/>
                  <a:gd name="connsiteY37" fmla="*/ 738460 h 1125538"/>
                  <a:gd name="connsiteX38" fmla="*/ 763273 w 1123838"/>
                  <a:gd name="connsiteY38" fmla="*/ 738460 h 1125538"/>
                  <a:gd name="connsiteX39" fmla="*/ 758985 w 1123838"/>
                  <a:gd name="connsiteY39" fmla="*/ 742031 h 1125538"/>
                  <a:gd name="connsiteX40" fmla="*/ 754697 w 1123838"/>
                  <a:gd name="connsiteY40" fmla="*/ 744888 h 1125538"/>
                  <a:gd name="connsiteX41" fmla="*/ 753983 w 1123838"/>
                  <a:gd name="connsiteY41" fmla="*/ 745602 h 1125538"/>
                  <a:gd name="connsiteX42" fmla="*/ 749695 w 1123838"/>
                  <a:gd name="connsiteY42" fmla="*/ 748458 h 1125538"/>
                  <a:gd name="connsiteX43" fmla="*/ 748265 w 1123838"/>
                  <a:gd name="connsiteY43" fmla="*/ 749173 h 1125538"/>
                  <a:gd name="connsiteX44" fmla="*/ 743263 w 1123838"/>
                  <a:gd name="connsiteY44" fmla="*/ 751315 h 1125538"/>
                  <a:gd name="connsiteX45" fmla="*/ 742548 w 1123838"/>
                  <a:gd name="connsiteY45" fmla="*/ 752029 h 1125538"/>
                  <a:gd name="connsiteX46" fmla="*/ 738260 w 1123838"/>
                  <a:gd name="connsiteY46" fmla="*/ 753458 h 1125538"/>
                  <a:gd name="connsiteX47" fmla="*/ 718964 w 1123838"/>
                  <a:gd name="connsiteY47" fmla="*/ 757743 h 1125538"/>
                  <a:gd name="connsiteX48" fmla="*/ 624626 w 1123838"/>
                  <a:gd name="connsiteY48" fmla="*/ 767027 h 1125538"/>
                  <a:gd name="connsiteX49" fmla="*/ 743263 w 1123838"/>
                  <a:gd name="connsiteY49" fmla="*/ 784167 h 1125538"/>
                  <a:gd name="connsiteX50" fmla="*/ 775423 w 1123838"/>
                  <a:gd name="connsiteY50" fmla="*/ 779882 h 1125538"/>
                  <a:gd name="connsiteX51" fmla="*/ 785428 w 1123838"/>
                  <a:gd name="connsiteY51" fmla="*/ 777739 h 1125538"/>
                  <a:gd name="connsiteX52" fmla="*/ 786858 w 1123838"/>
                  <a:gd name="connsiteY52" fmla="*/ 777025 h 1125538"/>
                  <a:gd name="connsiteX53" fmla="*/ 796863 w 1123838"/>
                  <a:gd name="connsiteY53" fmla="*/ 774883 h 1125538"/>
                  <a:gd name="connsiteX54" fmla="*/ 826880 w 1123838"/>
                  <a:gd name="connsiteY54" fmla="*/ 764170 h 1125538"/>
                  <a:gd name="connsiteX55" fmla="*/ 909782 w 1123838"/>
                  <a:gd name="connsiteY55" fmla="*/ 711322 h 1125538"/>
                  <a:gd name="connsiteX56" fmla="*/ 928363 w 1123838"/>
                  <a:gd name="connsiteY56" fmla="*/ 692753 h 1125538"/>
                  <a:gd name="connsiteX57" fmla="*/ 975532 w 1123838"/>
                  <a:gd name="connsiteY57" fmla="*/ 639191 h 1125538"/>
                  <a:gd name="connsiteX58" fmla="*/ 978391 w 1123838"/>
                  <a:gd name="connsiteY58" fmla="*/ 635620 h 1125538"/>
                  <a:gd name="connsiteX59" fmla="*/ 979105 w 1123838"/>
                  <a:gd name="connsiteY59" fmla="*/ 635620 h 1125538"/>
                  <a:gd name="connsiteX60" fmla="*/ 1034135 w 1123838"/>
                  <a:gd name="connsiteY60" fmla="*/ 610624 h 1125538"/>
                  <a:gd name="connsiteX61" fmla="*/ 1034850 w 1123838"/>
                  <a:gd name="connsiteY61" fmla="*/ 610624 h 1125538"/>
                  <a:gd name="connsiteX62" fmla="*/ 1039138 w 1123838"/>
                  <a:gd name="connsiteY62" fmla="*/ 610624 h 1125538"/>
                  <a:gd name="connsiteX63" fmla="*/ 1040567 w 1123838"/>
                  <a:gd name="connsiteY63" fmla="*/ 610624 h 1125538"/>
                  <a:gd name="connsiteX64" fmla="*/ 1079875 w 1123838"/>
                  <a:gd name="connsiteY64" fmla="*/ 621337 h 1125538"/>
                  <a:gd name="connsiteX65" fmla="*/ 1083448 w 1123838"/>
                  <a:gd name="connsiteY65" fmla="*/ 623479 h 1125538"/>
                  <a:gd name="connsiteX66" fmla="*/ 1086307 w 1123838"/>
                  <a:gd name="connsiteY66" fmla="*/ 624908 h 1125538"/>
                  <a:gd name="connsiteX67" fmla="*/ 1087021 w 1123838"/>
                  <a:gd name="connsiteY67" fmla="*/ 625622 h 1125538"/>
                  <a:gd name="connsiteX68" fmla="*/ 1089880 w 1123838"/>
                  <a:gd name="connsiteY68" fmla="*/ 627764 h 1125538"/>
                  <a:gd name="connsiteX69" fmla="*/ 1090595 w 1123838"/>
                  <a:gd name="connsiteY69" fmla="*/ 628478 h 1125538"/>
                  <a:gd name="connsiteX70" fmla="*/ 1092739 w 1123838"/>
                  <a:gd name="connsiteY70" fmla="*/ 629907 h 1125538"/>
                  <a:gd name="connsiteX71" fmla="*/ 1095597 w 1123838"/>
                  <a:gd name="connsiteY71" fmla="*/ 632049 h 1125538"/>
                  <a:gd name="connsiteX72" fmla="*/ 1095597 w 1123838"/>
                  <a:gd name="connsiteY72" fmla="*/ 632763 h 1125538"/>
                  <a:gd name="connsiteX73" fmla="*/ 1103459 w 1123838"/>
                  <a:gd name="connsiteY73" fmla="*/ 749887 h 1125538"/>
                  <a:gd name="connsiteX74" fmla="*/ 1072013 w 1123838"/>
                  <a:gd name="connsiteY74" fmla="*/ 787738 h 1125538"/>
                  <a:gd name="connsiteX75" fmla="*/ 966241 w 1123838"/>
                  <a:gd name="connsiteY75" fmla="*/ 884150 h 1125538"/>
                  <a:gd name="connsiteX76" fmla="*/ 956950 w 1123838"/>
                  <a:gd name="connsiteY76" fmla="*/ 890577 h 1125538"/>
                  <a:gd name="connsiteX77" fmla="*/ 948374 w 1123838"/>
                  <a:gd name="connsiteY77" fmla="*/ 896291 h 1125538"/>
                  <a:gd name="connsiteX78" fmla="*/ 806154 w 1123838"/>
                  <a:gd name="connsiteY78" fmla="*/ 963422 h 1125538"/>
                  <a:gd name="connsiteX79" fmla="*/ 792575 w 1123838"/>
                  <a:gd name="connsiteY79" fmla="*/ 967707 h 1125538"/>
                  <a:gd name="connsiteX80" fmla="*/ 788287 w 1123838"/>
                  <a:gd name="connsiteY80" fmla="*/ 968422 h 1125538"/>
                  <a:gd name="connsiteX81" fmla="*/ 779711 w 1123838"/>
                  <a:gd name="connsiteY81" fmla="*/ 971278 h 1125538"/>
                  <a:gd name="connsiteX82" fmla="*/ 773994 w 1123838"/>
                  <a:gd name="connsiteY82" fmla="*/ 972707 h 1125538"/>
                  <a:gd name="connsiteX83" fmla="*/ 766132 w 1123838"/>
                  <a:gd name="connsiteY83" fmla="*/ 974135 h 1125538"/>
                  <a:gd name="connsiteX84" fmla="*/ 759700 w 1123838"/>
                  <a:gd name="connsiteY84" fmla="*/ 976277 h 1125538"/>
                  <a:gd name="connsiteX85" fmla="*/ 753983 w 1123838"/>
                  <a:gd name="connsiteY85" fmla="*/ 976992 h 1125538"/>
                  <a:gd name="connsiteX86" fmla="*/ 724681 w 1123838"/>
                  <a:gd name="connsiteY86" fmla="*/ 983419 h 1125538"/>
                  <a:gd name="connsiteX87" fmla="*/ 721822 w 1123838"/>
                  <a:gd name="connsiteY87" fmla="*/ 983419 h 1125538"/>
                  <a:gd name="connsiteX88" fmla="*/ 711102 w 1123838"/>
                  <a:gd name="connsiteY88" fmla="*/ 985562 h 1125538"/>
                  <a:gd name="connsiteX89" fmla="*/ 709673 w 1123838"/>
                  <a:gd name="connsiteY89" fmla="*/ 985562 h 1125538"/>
                  <a:gd name="connsiteX90" fmla="*/ 650355 w 1123838"/>
                  <a:gd name="connsiteY90" fmla="*/ 991989 h 1125538"/>
                  <a:gd name="connsiteX91" fmla="*/ 648211 w 1123838"/>
                  <a:gd name="connsiteY91" fmla="*/ 991989 h 1125538"/>
                  <a:gd name="connsiteX92" fmla="*/ 637491 w 1123838"/>
                  <a:gd name="connsiteY92" fmla="*/ 992703 h 1125538"/>
                  <a:gd name="connsiteX93" fmla="*/ 635347 w 1123838"/>
                  <a:gd name="connsiteY93" fmla="*/ 992703 h 1125538"/>
                  <a:gd name="connsiteX94" fmla="*/ 621053 w 1123838"/>
                  <a:gd name="connsiteY94" fmla="*/ 992703 h 1125538"/>
                  <a:gd name="connsiteX95" fmla="*/ 620338 w 1123838"/>
                  <a:gd name="connsiteY95" fmla="*/ 992703 h 1125538"/>
                  <a:gd name="connsiteX96" fmla="*/ 612477 w 1123838"/>
                  <a:gd name="connsiteY96" fmla="*/ 992703 h 1125538"/>
                  <a:gd name="connsiteX97" fmla="*/ 606045 w 1123838"/>
                  <a:gd name="connsiteY97" fmla="*/ 992703 h 1125538"/>
                  <a:gd name="connsiteX98" fmla="*/ 598898 w 1123838"/>
                  <a:gd name="connsiteY98" fmla="*/ 992703 h 1125538"/>
                  <a:gd name="connsiteX99" fmla="*/ 592466 w 1123838"/>
                  <a:gd name="connsiteY99" fmla="*/ 992703 h 1125538"/>
                  <a:gd name="connsiteX100" fmla="*/ 584605 w 1123838"/>
                  <a:gd name="connsiteY100" fmla="*/ 991989 h 1125538"/>
                  <a:gd name="connsiteX101" fmla="*/ 578887 w 1123838"/>
                  <a:gd name="connsiteY101" fmla="*/ 991989 h 1125538"/>
                  <a:gd name="connsiteX102" fmla="*/ 566738 w 1123838"/>
                  <a:gd name="connsiteY102" fmla="*/ 991275 h 1125538"/>
                  <a:gd name="connsiteX103" fmla="*/ 566023 w 1123838"/>
                  <a:gd name="connsiteY103" fmla="*/ 991275 h 1125538"/>
                  <a:gd name="connsiteX104" fmla="*/ 485265 w 1123838"/>
                  <a:gd name="connsiteY104" fmla="*/ 985562 h 1125538"/>
                  <a:gd name="connsiteX105" fmla="*/ 416656 w 1123838"/>
                  <a:gd name="connsiteY105" fmla="*/ 980562 h 1125538"/>
                  <a:gd name="connsiteX106" fmla="*/ 410939 w 1123838"/>
                  <a:gd name="connsiteY106" fmla="*/ 980562 h 1125538"/>
                  <a:gd name="connsiteX107" fmla="*/ 407365 w 1123838"/>
                  <a:gd name="connsiteY107" fmla="*/ 980562 h 1125538"/>
                  <a:gd name="connsiteX108" fmla="*/ 393072 w 1123838"/>
                  <a:gd name="connsiteY108" fmla="*/ 981991 h 1125538"/>
                  <a:gd name="connsiteX109" fmla="*/ 388784 w 1123838"/>
                  <a:gd name="connsiteY109" fmla="*/ 982705 h 1125538"/>
                  <a:gd name="connsiteX110" fmla="*/ 388784 w 1123838"/>
                  <a:gd name="connsiteY110" fmla="*/ 983419 h 1125538"/>
                  <a:gd name="connsiteX111" fmla="*/ 384496 w 1123838"/>
                  <a:gd name="connsiteY111" fmla="*/ 984133 h 1125538"/>
                  <a:gd name="connsiteX112" fmla="*/ 383781 w 1123838"/>
                  <a:gd name="connsiteY112" fmla="*/ 984847 h 1125538"/>
                  <a:gd name="connsiteX113" fmla="*/ 379493 w 1123838"/>
                  <a:gd name="connsiteY113" fmla="*/ 986276 h 1125538"/>
                  <a:gd name="connsiteX114" fmla="*/ 21441 w 1123838"/>
                  <a:gd name="connsiteY114" fmla="*/ 1124824 h 1125538"/>
                  <a:gd name="connsiteX115" fmla="*/ 15723 w 1123838"/>
                  <a:gd name="connsiteY115" fmla="*/ 1125538 h 1125538"/>
                  <a:gd name="connsiteX116" fmla="*/ 7147 w 1123838"/>
                  <a:gd name="connsiteY116" fmla="*/ 1122681 h 1125538"/>
                  <a:gd name="connsiteX117" fmla="*/ 0 w 1123838"/>
                  <a:gd name="connsiteY117" fmla="*/ 1109826 h 1125538"/>
                  <a:gd name="connsiteX118" fmla="*/ 0 w 1123838"/>
                  <a:gd name="connsiteY118" fmla="*/ 793451 h 1125538"/>
                  <a:gd name="connsiteX119" fmla="*/ 7862 w 1123838"/>
                  <a:gd name="connsiteY119" fmla="*/ 779882 h 1125538"/>
                  <a:gd name="connsiteX120" fmla="*/ 310169 w 1123838"/>
                  <a:gd name="connsiteY120" fmla="*/ 608482 h 1125538"/>
                  <a:gd name="connsiteX121" fmla="*/ 315887 w 1123838"/>
                  <a:gd name="connsiteY121" fmla="*/ 605625 h 1125538"/>
                  <a:gd name="connsiteX122" fmla="*/ 318031 w 1123838"/>
                  <a:gd name="connsiteY122" fmla="*/ 604197 h 1125538"/>
                  <a:gd name="connsiteX123" fmla="*/ 320889 w 1123838"/>
                  <a:gd name="connsiteY123" fmla="*/ 602768 h 1125538"/>
                  <a:gd name="connsiteX124" fmla="*/ 324463 w 1123838"/>
                  <a:gd name="connsiteY124" fmla="*/ 601340 h 1125538"/>
                  <a:gd name="connsiteX125" fmla="*/ 326607 w 1123838"/>
                  <a:gd name="connsiteY125" fmla="*/ 599912 h 1125538"/>
                  <a:gd name="connsiteX126" fmla="*/ 330180 w 1123838"/>
                  <a:gd name="connsiteY126" fmla="*/ 598483 h 1125538"/>
                  <a:gd name="connsiteX127" fmla="*/ 332324 w 1123838"/>
                  <a:gd name="connsiteY127" fmla="*/ 597769 h 1125538"/>
                  <a:gd name="connsiteX128" fmla="*/ 336612 w 1123838"/>
                  <a:gd name="connsiteY128" fmla="*/ 596341 h 1125538"/>
                  <a:gd name="connsiteX129" fmla="*/ 338042 w 1123838"/>
                  <a:gd name="connsiteY129" fmla="*/ 595627 h 1125538"/>
                  <a:gd name="connsiteX130" fmla="*/ 342330 w 1123838"/>
                  <a:gd name="connsiteY130" fmla="*/ 594198 h 1125538"/>
                  <a:gd name="connsiteX131" fmla="*/ 343044 w 1123838"/>
                  <a:gd name="connsiteY131" fmla="*/ 593484 h 1125538"/>
                  <a:gd name="connsiteX132" fmla="*/ 348047 w 1123838"/>
                  <a:gd name="connsiteY132" fmla="*/ 592056 h 1125538"/>
                  <a:gd name="connsiteX133" fmla="*/ 348762 w 1123838"/>
                  <a:gd name="connsiteY133" fmla="*/ 592056 h 1125538"/>
                  <a:gd name="connsiteX134" fmla="*/ 382352 w 1123838"/>
                  <a:gd name="connsiteY134" fmla="*/ 584914 h 1125538"/>
                  <a:gd name="connsiteX135" fmla="*/ 383781 w 1123838"/>
                  <a:gd name="connsiteY135" fmla="*/ 584914 h 1125538"/>
                  <a:gd name="connsiteX136" fmla="*/ 387354 w 1123838"/>
                  <a:gd name="connsiteY136" fmla="*/ 584914 h 1125538"/>
                  <a:gd name="connsiteX137" fmla="*/ 390213 w 1123838"/>
                  <a:gd name="connsiteY137" fmla="*/ 584200 h 1125538"/>
                  <a:gd name="connsiteX138" fmla="*/ 1046954 w 1123838"/>
                  <a:gd name="connsiteY138" fmla="*/ 0 h 1125538"/>
                  <a:gd name="connsiteX139" fmla="*/ 1053386 w 1123838"/>
                  <a:gd name="connsiteY139" fmla="*/ 5711 h 1125538"/>
                  <a:gd name="connsiteX140" fmla="*/ 796124 w 1123838"/>
                  <a:gd name="connsiteY140" fmla="*/ 347661 h 1125538"/>
                  <a:gd name="connsiteX141" fmla="*/ 789693 w 1123838"/>
                  <a:gd name="connsiteY141" fmla="*/ 340522 h 1125538"/>
                  <a:gd name="connsiteX142" fmla="*/ 884022 w 1123838"/>
                  <a:gd name="connsiteY142" fmla="*/ 138493 h 1125538"/>
                  <a:gd name="connsiteX143" fmla="*/ 876876 w 1123838"/>
                  <a:gd name="connsiteY143" fmla="*/ 128499 h 1125538"/>
                  <a:gd name="connsiteX144" fmla="*/ 829711 w 1123838"/>
                  <a:gd name="connsiteY144" fmla="*/ 162051 h 1125538"/>
                  <a:gd name="connsiteX145" fmla="*/ 757535 w 1123838"/>
                  <a:gd name="connsiteY145" fmla="*/ 279128 h 1125538"/>
                  <a:gd name="connsiteX146" fmla="*/ 741099 w 1123838"/>
                  <a:gd name="connsiteY146" fmla="*/ 374074 h 1125538"/>
                  <a:gd name="connsiteX147" fmla="*/ 740384 w 1123838"/>
                  <a:gd name="connsiteY147" fmla="*/ 486154 h 1125538"/>
                  <a:gd name="connsiteX148" fmla="*/ 746101 w 1123838"/>
                  <a:gd name="connsiteY148" fmla="*/ 574675 h 1125538"/>
                  <a:gd name="connsiteX149" fmla="*/ 716802 w 1123838"/>
                  <a:gd name="connsiteY149" fmla="*/ 568964 h 1125538"/>
                  <a:gd name="connsiteX150" fmla="*/ 673925 w 1123838"/>
                  <a:gd name="connsiteY150" fmla="*/ 566822 h 1125538"/>
                  <a:gd name="connsiteX151" fmla="*/ 673925 w 1123838"/>
                  <a:gd name="connsiteY151" fmla="*/ 546834 h 1125538"/>
                  <a:gd name="connsiteX152" fmla="*/ 554584 w 1123838"/>
                  <a:gd name="connsiteY152" fmla="*/ 294120 h 1125538"/>
                  <a:gd name="connsiteX153" fmla="*/ 547438 w 1123838"/>
                  <a:gd name="connsiteY153" fmla="*/ 304114 h 1125538"/>
                  <a:gd name="connsiteX154" fmla="*/ 625331 w 1123838"/>
                  <a:gd name="connsiteY154" fmla="*/ 457598 h 1125538"/>
                  <a:gd name="connsiteX155" fmla="*/ 619614 w 1123838"/>
                  <a:gd name="connsiteY155" fmla="*/ 463310 h 1125538"/>
                  <a:gd name="connsiteX156" fmla="*/ 344487 w 1123838"/>
                  <a:gd name="connsiteY156" fmla="*/ 188465 h 1125538"/>
                  <a:gd name="connsiteX157" fmla="*/ 350919 w 1123838"/>
                  <a:gd name="connsiteY157" fmla="*/ 182040 h 1125538"/>
                  <a:gd name="connsiteX158" fmla="*/ 679642 w 1123838"/>
                  <a:gd name="connsiteY158" fmla="*/ 309111 h 1125538"/>
                  <a:gd name="connsiteX159" fmla="*/ 691790 w 1123838"/>
                  <a:gd name="connsiteY159" fmla="*/ 306256 h 1125538"/>
                  <a:gd name="connsiteX160" fmla="*/ 1046954 w 1123838"/>
                  <a:gd name="connsiteY160" fmla="*/ 0 h 1125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</a:cxnLst>
                <a:rect l="l" t="t" r="r" b="b"/>
                <a:pathLst>
                  <a:path w="1123838" h="1125538">
                    <a:moveTo>
                      <a:pt x="409739" y="615791"/>
                    </a:moveTo>
                    <a:cubicBezTo>
                      <a:pt x="380443" y="614362"/>
                      <a:pt x="351147" y="621508"/>
                      <a:pt x="326138" y="635801"/>
                    </a:cubicBezTo>
                    <a:cubicBezTo>
                      <a:pt x="326138" y="635801"/>
                      <a:pt x="326138" y="635801"/>
                      <a:pt x="31750" y="803020"/>
                    </a:cubicBezTo>
                    <a:cubicBezTo>
                      <a:pt x="31750" y="803020"/>
                      <a:pt x="31750" y="803020"/>
                      <a:pt x="31750" y="1087437"/>
                    </a:cubicBezTo>
                    <a:cubicBezTo>
                      <a:pt x="31750" y="1087437"/>
                      <a:pt x="31750" y="1087437"/>
                      <a:pt x="368296" y="957377"/>
                    </a:cubicBezTo>
                    <a:cubicBezTo>
                      <a:pt x="384730" y="950946"/>
                      <a:pt x="401879" y="948087"/>
                      <a:pt x="419028" y="949516"/>
                    </a:cubicBezTo>
                    <a:cubicBezTo>
                      <a:pt x="419028" y="949516"/>
                      <a:pt x="419028" y="949516"/>
                      <a:pt x="568366" y="960236"/>
                    </a:cubicBezTo>
                    <a:cubicBezTo>
                      <a:pt x="645535" y="965953"/>
                      <a:pt x="722705" y="956663"/>
                      <a:pt x="797017" y="933795"/>
                    </a:cubicBezTo>
                    <a:cubicBezTo>
                      <a:pt x="894908" y="903067"/>
                      <a:pt x="981367" y="845897"/>
                      <a:pt x="1047818" y="767290"/>
                    </a:cubicBezTo>
                    <a:cubicBezTo>
                      <a:pt x="1047818" y="767290"/>
                      <a:pt x="1047818" y="767290"/>
                      <a:pt x="1079972" y="730130"/>
                    </a:cubicBezTo>
                    <a:cubicBezTo>
                      <a:pt x="1098550" y="707977"/>
                      <a:pt x="1096407" y="675104"/>
                      <a:pt x="1074971" y="655810"/>
                    </a:cubicBezTo>
                    <a:cubicBezTo>
                      <a:pt x="1064253" y="646520"/>
                      <a:pt x="1050676" y="641517"/>
                      <a:pt x="1036386" y="642232"/>
                    </a:cubicBezTo>
                    <a:cubicBezTo>
                      <a:pt x="1022095" y="642947"/>
                      <a:pt x="1008519" y="649378"/>
                      <a:pt x="999230" y="660097"/>
                    </a:cubicBezTo>
                    <a:cubicBezTo>
                      <a:pt x="999230" y="660097"/>
                      <a:pt x="999230" y="660097"/>
                      <a:pt x="951356" y="713694"/>
                    </a:cubicBezTo>
                    <a:cubicBezTo>
                      <a:pt x="912771" y="758000"/>
                      <a:pt x="862039" y="789443"/>
                      <a:pt x="805591" y="805164"/>
                    </a:cubicBezTo>
                    <a:cubicBezTo>
                      <a:pt x="740568" y="823744"/>
                      <a:pt x="670544" y="819457"/>
                      <a:pt x="608380" y="794445"/>
                    </a:cubicBezTo>
                    <a:cubicBezTo>
                      <a:pt x="608380" y="794445"/>
                      <a:pt x="608380" y="794445"/>
                      <a:pt x="553360" y="772292"/>
                    </a:cubicBezTo>
                    <a:cubicBezTo>
                      <a:pt x="546930" y="769434"/>
                      <a:pt x="542642" y="763002"/>
                      <a:pt x="544071" y="755856"/>
                    </a:cubicBezTo>
                    <a:cubicBezTo>
                      <a:pt x="544786" y="748710"/>
                      <a:pt x="550502" y="742993"/>
                      <a:pt x="557648" y="742278"/>
                    </a:cubicBezTo>
                    <a:cubicBezTo>
                      <a:pt x="557648" y="742278"/>
                      <a:pt x="557648" y="742278"/>
                      <a:pt x="715560" y="726557"/>
                    </a:cubicBezTo>
                    <a:cubicBezTo>
                      <a:pt x="740568" y="724413"/>
                      <a:pt x="759146" y="703689"/>
                      <a:pt x="759146" y="679392"/>
                    </a:cubicBezTo>
                    <a:cubicBezTo>
                      <a:pt x="759146" y="653666"/>
                      <a:pt x="739139" y="632942"/>
                      <a:pt x="713416" y="631513"/>
                    </a:cubicBezTo>
                    <a:cubicBezTo>
                      <a:pt x="713416" y="631513"/>
                      <a:pt x="713416" y="631513"/>
                      <a:pt x="409739" y="615791"/>
                    </a:cubicBezTo>
                    <a:close/>
                    <a:moveTo>
                      <a:pt x="390213" y="584200"/>
                    </a:moveTo>
                    <a:cubicBezTo>
                      <a:pt x="391642" y="584200"/>
                      <a:pt x="392357" y="584200"/>
                      <a:pt x="393786" y="584200"/>
                    </a:cubicBezTo>
                    <a:cubicBezTo>
                      <a:pt x="394501" y="584200"/>
                      <a:pt x="395930" y="584200"/>
                      <a:pt x="396645" y="584200"/>
                    </a:cubicBezTo>
                    <a:cubicBezTo>
                      <a:pt x="398074" y="584200"/>
                      <a:pt x="398789" y="584200"/>
                      <a:pt x="399504" y="584200"/>
                    </a:cubicBezTo>
                    <a:cubicBezTo>
                      <a:pt x="400933" y="584200"/>
                      <a:pt x="401648" y="584200"/>
                      <a:pt x="403077" y="584200"/>
                    </a:cubicBezTo>
                    <a:cubicBezTo>
                      <a:pt x="405221" y="584200"/>
                      <a:pt x="408080" y="584200"/>
                      <a:pt x="410939" y="584200"/>
                    </a:cubicBezTo>
                    <a:cubicBezTo>
                      <a:pt x="410939" y="584200"/>
                      <a:pt x="410939" y="584200"/>
                      <a:pt x="715390" y="599912"/>
                    </a:cubicBezTo>
                    <a:cubicBezTo>
                      <a:pt x="743263" y="601340"/>
                      <a:pt x="766847" y="617766"/>
                      <a:pt x="780426" y="640619"/>
                    </a:cubicBezTo>
                    <a:cubicBezTo>
                      <a:pt x="781140" y="642048"/>
                      <a:pt x="781855" y="643476"/>
                      <a:pt x="782570" y="644904"/>
                    </a:cubicBezTo>
                    <a:cubicBezTo>
                      <a:pt x="785428" y="650618"/>
                      <a:pt x="787572" y="657045"/>
                      <a:pt x="789002" y="663473"/>
                    </a:cubicBezTo>
                    <a:cubicBezTo>
                      <a:pt x="789716" y="668472"/>
                      <a:pt x="790431" y="673471"/>
                      <a:pt x="790431" y="679184"/>
                    </a:cubicBezTo>
                    <a:cubicBezTo>
                      <a:pt x="790431" y="681327"/>
                      <a:pt x="790431" y="682755"/>
                      <a:pt x="789716" y="684898"/>
                    </a:cubicBezTo>
                    <a:cubicBezTo>
                      <a:pt x="789716" y="684898"/>
                      <a:pt x="789716" y="685612"/>
                      <a:pt x="789716" y="685612"/>
                    </a:cubicBezTo>
                    <a:cubicBezTo>
                      <a:pt x="789716" y="687754"/>
                      <a:pt x="789716" y="689183"/>
                      <a:pt x="789002" y="691325"/>
                    </a:cubicBezTo>
                    <a:cubicBezTo>
                      <a:pt x="786143" y="709893"/>
                      <a:pt x="776852" y="726319"/>
                      <a:pt x="763988" y="738460"/>
                    </a:cubicBezTo>
                    <a:cubicBezTo>
                      <a:pt x="763988" y="738460"/>
                      <a:pt x="763273" y="738460"/>
                      <a:pt x="763273" y="738460"/>
                    </a:cubicBezTo>
                    <a:cubicBezTo>
                      <a:pt x="761844" y="739888"/>
                      <a:pt x="760415" y="740603"/>
                      <a:pt x="758985" y="742031"/>
                    </a:cubicBezTo>
                    <a:cubicBezTo>
                      <a:pt x="757556" y="743459"/>
                      <a:pt x="756127" y="744173"/>
                      <a:pt x="754697" y="744888"/>
                    </a:cubicBezTo>
                    <a:cubicBezTo>
                      <a:pt x="753983" y="745602"/>
                      <a:pt x="753983" y="745602"/>
                      <a:pt x="753983" y="745602"/>
                    </a:cubicBezTo>
                    <a:cubicBezTo>
                      <a:pt x="752553" y="746316"/>
                      <a:pt x="751124" y="747744"/>
                      <a:pt x="749695" y="748458"/>
                    </a:cubicBezTo>
                    <a:cubicBezTo>
                      <a:pt x="748980" y="748458"/>
                      <a:pt x="748265" y="748458"/>
                      <a:pt x="748265" y="749173"/>
                    </a:cubicBezTo>
                    <a:cubicBezTo>
                      <a:pt x="746836" y="749887"/>
                      <a:pt x="745407" y="750601"/>
                      <a:pt x="743263" y="751315"/>
                    </a:cubicBezTo>
                    <a:cubicBezTo>
                      <a:pt x="743263" y="751315"/>
                      <a:pt x="742548" y="751315"/>
                      <a:pt x="742548" y="752029"/>
                    </a:cubicBezTo>
                    <a:cubicBezTo>
                      <a:pt x="741118" y="752029"/>
                      <a:pt x="739689" y="752743"/>
                      <a:pt x="738260" y="753458"/>
                    </a:cubicBezTo>
                    <a:cubicBezTo>
                      <a:pt x="731828" y="755600"/>
                      <a:pt x="725396" y="757028"/>
                      <a:pt x="718964" y="757743"/>
                    </a:cubicBezTo>
                    <a:cubicBezTo>
                      <a:pt x="718964" y="757743"/>
                      <a:pt x="718964" y="757743"/>
                      <a:pt x="624626" y="767027"/>
                    </a:cubicBezTo>
                    <a:cubicBezTo>
                      <a:pt x="662504" y="781310"/>
                      <a:pt x="703241" y="787023"/>
                      <a:pt x="743263" y="784167"/>
                    </a:cubicBezTo>
                    <a:cubicBezTo>
                      <a:pt x="753983" y="783453"/>
                      <a:pt x="764703" y="782024"/>
                      <a:pt x="775423" y="779882"/>
                    </a:cubicBezTo>
                    <a:cubicBezTo>
                      <a:pt x="778996" y="779168"/>
                      <a:pt x="781855" y="778453"/>
                      <a:pt x="785428" y="777739"/>
                    </a:cubicBezTo>
                    <a:cubicBezTo>
                      <a:pt x="786143" y="777739"/>
                      <a:pt x="786143" y="777739"/>
                      <a:pt x="786858" y="777025"/>
                    </a:cubicBezTo>
                    <a:cubicBezTo>
                      <a:pt x="790431" y="776311"/>
                      <a:pt x="793290" y="775597"/>
                      <a:pt x="796863" y="774883"/>
                    </a:cubicBezTo>
                    <a:cubicBezTo>
                      <a:pt x="806869" y="772026"/>
                      <a:pt x="816874" y="768455"/>
                      <a:pt x="826880" y="764170"/>
                    </a:cubicBezTo>
                    <a:cubicBezTo>
                      <a:pt x="857611" y="752029"/>
                      <a:pt x="885483" y="734175"/>
                      <a:pt x="909782" y="711322"/>
                    </a:cubicBezTo>
                    <a:cubicBezTo>
                      <a:pt x="916214" y="705608"/>
                      <a:pt x="921931" y="699181"/>
                      <a:pt x="928363" y="692753"/>
                    </a:cubicBezTo>
                    <a:cubicBezTo>
                      <a:pt x="928363" y="692753"/>
                      <a:pt x="928363" y="692753"/>
                      <a:pt x="975532" y="639191"/>
                    </a:cubicBezTo>
                    <a:cubicBezTo>
                      <a:pt x="976961" y="637763"/>
                      <a:pt x="977676" y="637048"/>
                      <a:pt x="978391" y="635620"/>
                    </a:cubicBezTo>
                    <a:cubicBezTo>
                      <a:pt x="979105" y="635620"/>
                      <a:pt x="979105" y="635620"/>
                      <a:pt x="979105" y="635620"/>
                    </a:cubicBezTo>
                    <a:cubicBezTo>
                      <a:pt x="994114" y="620623"/>
                      <a:pt x="1013410" y="612053"/>
                      <a:pt x="1034135" y="610624"/>
                    </a:cubicBezTo>
                    <a:cubicBezTo>
                      <a:pt x="1034850" y="610624"/>
                      <a:pt x="1034850" y="610624"/>
                      <a:pt x="1034850" y="610624"/>
                    </a:cubicBezTo>
                    <a:cubicBezTo>
                      <a:pt x="1036279" y="610624"/>
                      <a:pt x="1037709" y="610624"/>
                      <a:pt x="1039138" y="610624"/>
                    </a:cubicBezTo>
                    <a:cubicBezTo>
                      <a:pt x="1039138" y="610624"/>
                      <a:pt x="1039853" y="610624"/>
                      <a:pt x="1040567" y="610624"/>
                    </a:cubicBezTo>
                    <a:cubicBezTo>
                      <a:pt x="1054146" y="610624"/>
                      <a:pt x="1067725" y="614909"/>
                      <a:pt x="1079875" y="621337"/>
                    </a:cubicBezTo>
                    <a:cubicBezTo>
                      <a:pt x="1081304" y="622051"/>
                      <a:pt x="1082019" y="622765"/>
                      <a:pt x="1083448" y="623479"/>
                    </a:cubicBezTo>
                    <a:cubicBezTo>
                      <a:pt x="1084877" y="624193"/>
                      <a:pt x="1085592" y="624908"/>
                      <a:pt x="1086307" y="624908"/>
                    </a:cubicBezTo>
                    <a:cubicBezTo>
                      <a:pt x="1087021" y="625622"/>
                      <a:pt x="1087021" y="625622"/>
                      <a:pt x="1087021" y="625622"/>
                    </a:cubicBezTo>
                    <a:cubicBezTo>
                      <a:pt x="1087736" y="626336"/>
                      <a:pt x="1089165" y="627050"/>
                      <a:pt x="1089880" y="627764"/>
                    </a:cubicBezTo>
                    <a:cubicBezTo>
                      <a:pt x="1089880" y="627764"/>
                      <a:pt x="1090595" y="628478"/>
                      <a:pt x="1090595" y="628478"/>
                    </a:cubicBezTo>
                    <a:cubicBezTo>
                      <a:pt x="1091309" y="629193"/>
                      <a:pt x="1092024" y="629193"/>
                      <a:pt x="1092739" y="629907"/>
                    </a:cubicBezTo>
                    <a:cubicBezTo>
                      <a:pt x="1093453" y="630621"/>
                      <a:pt x="1094168" y="631335"/>
                      <a:pt x="1095597" y="632049"/>
                    </a:cubicBezTo>
                    <a:cubicBezTo>
                      <a:pt x="1095597" y="632049"/>
                      <a:pt x="1095597" y="632763"/>
                      <a:pt x="1095597" y="632763"/>
                    </a:cubicBezTo>
                    <a:cubicBezTo>
                      <a:pt x="1129902" y="663473"/>
                      <a:pt x="1133475" y="714893"/>
                      <a:pt x="1103459" y="749887"/>
                    </a:cubicBezTo>
                    <a:cubicBezTo>
                      <a:pt x="1103459" y="749887"/>
                      <a:pt x="1103459" y="749887"/>
                      <a:pt x="1072013" y="787738"/>
                    </a:cubicBezTo>
                    <a:cubicBezTo>
                      <a:pt x="1040567" y="824160"/>
                      <a:pt x="1004834" y="857012"/>
                      <a:pt x="966241" y="884150"/>
                    </a:cubicBezTo>
                    <a:cubicBezTo>
                      <a:pt x="963383" y="886292"/>
                      <a:pt x="959809" y="888435"/>
                      <a:pt x="956950" y="890577"/>
                    </a:cubicBezTo>
                    <a:cubicBezTo>
                      <a:pt x="954092" y="892720"/>
                      <a:pt x="951233" y="894862"/>
                      <a:pt x="948374" y="896291"/>
                    </a:cubicBezTo>
                    <a:cubicBezTo>
                      <a:pt x="904779" y="924857"/>
                      <a:pt x="856896" y="947711"/>
                      <a:pt x="806154" y="963422"/>
                    </a:cubicBezTo>
                    <a:cubicBezTo>
                      <a:pt x="801866" y="964851"/>
                      <a:pt x="797578" y="966279"/>
                      <a:pt x="792575" y="967707"/>
                    </a:cubicBezTo>
                    <a:cubicBezTo>
                      <a:pt x="791146" y="967707"/>
                      <a:pt x="789716" y="968422"/>
                      <a:pt x="788287" y="968422"/>
                    </a:cubicBezTo>
                    <a:cubicBezTo>
                      <a:pt x="785428" y="969136"/>
                      <a:pt x="782570" y="970564"/>
                      <a:pt x="779711" y="971278"/>
                    </a:cubicBezTo>
                    <a:cubicBezTo>
                      <a:pt x="777567" y="971278"/>
                      <a:pt x="775423" y="971992"/>
                      <a:pt x="773994" y="972707"/>
                    </a:cubicBezTo>
                    <a:cubicBezTo>
                      <a:pt x="771135" y="973421"/>
                      <a:pt x="768991" y="973421"/>
                      <a:pt x="766132" y="974135"/>
                    </a:cubicBezTo>
                    <a:cubicBezTo>
                      <a:pt x="763988" y="974849"/>
                      <a:pt x="761844" y="975563"/>
                      <a:pt x="759700" y="976277"/>
                    </a:cubicBezTo>
                    <a:cubicBezTo>
                      <a:pt x="757556" y="976277"/>
                      <a:pt x="756127" y="976992"/>
                      <a:pt x="753983" y="976992"/>
                    </a:cubicBezTo>
                    <a:cubicBezTo>
                      <a:pt x="743977" y="979134"/>
                      <a:pt x="733972" y="981277"/>
                      <a:pt x="724681" y="983419"/>
                    </a:cubicBezTo>
                    <a:cubicBezTo>
                      <a:pt x="723252" y="983419"/>
                      <a:pt x="722537" y="983419"/>
                      <a:pt x="721822" y="983419"/>
                    </a:cubicBezTo>
                    <a:cubicBezTo>
                      <a:pt x="718249" y="984133"/>
                      <a:pt x="714676" y="984847"/>
                      <a:pt x="711102" y="985562"/>
                    </a:cubicBezTo>
                    <a:cubicBezTo>
                      <a:pt x="710387" y="985562"/>
                      <a:pt x="710387" y="985562"/>
                      <a:pt x="709673" y="985562"/>
                    </a:cubicBezTo>
                    <a:cubicBezTo>
                      <a:pt x="689662" y="988418"/>
                      <a:pt x="670366" y="990561"/>
                      <a:pt x="650355" y="991989"/>
                    </a:cubicBezTo>
                    <a:cubicBezTo>
                      <a:pt x="649640" y="991989"/>
                      <a:pt x="648925" y="991989"/>
                      <a:pt x="648211" y="991989"/>
                    </a:cubicBezTo>
                    <a:cubicBezTo>
                      <a:pt x="644637" y="991989"/>
                      <a:pt x="641064" y="991989"/>
                      <a:pt x="637491" y="992703"/>
                    </a:cubicBezTo>
                    <a:cubicBezTo>
                      <a:pt x="636776" y="992703"/>
                      <a:pt x="636061" y="992703"/>
                      <a:pt x="635347" y="992703"/>
                    </a:cubicBezTo>
                    <a:cubicBezTo>
                      <a:pt x="630344" y="992703"/>
                      <a:pt x="626056" y="992703"/>
                      <a:pt x="621053" y="992703"/>
                    </a:cubicBezTo>
                    <a:cubicBezTo>
                      <a:pt x="621053" y="992703"/>
                      <a:pt x="620338" y="992703"/>
                      <a:pt x="620338" y="992703"/>
                    </a:cubicBezTo>
                    <a:cubicBezTo>
                      <a:pt x="617480" y="992703"/>
                      <a:pt x="614621" y="992703"/>
                      <a:pt x="612477" y="992703"/>
                    </a:cubicBezTo>
                    <a:cubicBezTo>
                      <a:pt x="610333" y="992703"/>
                      <a:pt x="608189" y="992703"/>
                      <a:pt x="606045" y="992703"/>
                    </a:cubicBezTo>
                    <a:cubicBezTo>
                      <a:pt x="603901" y="992703"/>
                      <a:pt x="601042" y="992703"/>
                      <a:pt x="598898" y="992703"/>
                    </a:cubicBezTo>
                    <a:cubicBezTo>
                      <a:pt x="596754" y="992703"/>
                      <a:pt x="594610" y="992703"/>
                      <a:pt x="592466" y="992703"/>
                    </a:cubicBezTo>
                    <a:cubicBezTo>
                      <a:pt x="589607" y="992703"/>
                      <a:pt x="587463" y="992703"/>
                      <a:pt x="584605" y="991989"/>
                    </a:cubicBezTo>
                    <a:cubicBezTo>
                      <a:pt x="582461" y="991989"/>
                      <a:pt x="581031" y="991989"/>
                      <a:pt x="578887" y="991989"/>
                    </a:cubicBezTo>
                    <a:cubicBezTo>
                      <a:pt x="575314" y="991989"/>
                      <a:pt x="571026" y="991275"/>
                      <a:pt x="566738" y="991275"/>
                    </a:cubicBezTo>
                    <a:cubicBezTo>
                      <a:pt x="566738" y="991275"/>
                      <a:pt x="566023" y="991275"/>
                      <a:pt x="566023" y="991275"/>
                    </a:cubicBezTo>
                    <a:cubicBezTo>
                      <a:pt x="566023" y="991275"/>
                      <a:pt x="566023" y="991275"/>
                      <a:pt x="485265" y="985562"/>
                    </a:cubicBezTo>
                    <a:cubicBezTo>
                      <a:pt x="485265" y="985562"/>
                      <a:pt x="485265" y="985562"/>
                      <a:pt x="416656" y="980562"/>
                    </a:cubicBezTo>
                    <a:cubicBezTo>
                      <a:pt x="415227" y="980562"/>
                      <a:pt x="413083" y="980562"/>
                      <a:pt x="410939" y="980562"/>
                    </a:cubicBezTo>
                    <a:cubicBezTo>
                      <a:pt x="410224" y="980562"/>
                      <a:pt x="408794" y="980562"/>
                      <a:pt x="407365" y="980562"/>
                    </a:cubicBezTo>
                    <a:cubicBezTo>
                      <a:pt x="402362" y="980562"/>
                      <a:pt x="398074" y="981277"/>
                      <a:pt x="393072" y="981991"/>
                    </a:cubicBezTo>
                    <a:cubicBezTo>
                      <a:pt x="391642" y="982705"/>
                      <a:pt x="390213" y="982705"/>
                      <a:pt x="388784" y="982705"/>
                    </a:cubicBezTo>
                    <a:cubicBezTo>
                      <a:pt x="388784" y="983419"/>
                      <a:pt x="388784" y="983419"/>
                      <a:pt x="388784" y="983419"/>
                    </a:cubicBezTo>
                    <a:cubicBezTo>
                      <a:pt x="387354" y="983419"/>
                      <a:pt x="385925" y="984133"/>
                      <a:pt x="384496" y="984133"/>
                    </a:cubicBezTo>
                    <a:cubicBezTo>
                      <a:pt x="384496" y="984133"/>
                      <a:pt x="384496" y="984133"/>
                      <a:pt x="383781" y="984847"/>
                    </a:cubicBezTo>
                    <a:cubicBezTo>
                      <a:pt x="382352" y="984847"/>
                      <a:pt x="380922" y="985562"/>
                      <a:pt x="379493" y="986276"/>
                    </a:cubicBezTo>
                    <a:cubicBezTo>
                      <a:pt x="379493" y="986276"/>
                      <a:pt x="379493" y="986276"/>
                      <a:pt x="21441" y="1124824"/>
                    </a:cubicBezTo>
                    <a:cubicBezTo>
                      <a:pt x="20011" y="1125538"/>
                      <a:pt x="17867" y="1125538"/>
                      <a:pt x="15723" y="1125538"/>
                    </a:cubicBezTo>
                    <a:cubicBezTo>
                      <a:pt x="12864" y="1125538"/>
                      <a:pt x="10006" y="1124824"/>
                      <a:pt x="7147" y="1122681"/>
                    </a:cubicBezTo>
                    <a:cubicBezTo>
                      <a:pt x="2859" y="1119825"/>
                      <a:pt x="0" y="1114826"/>
                      <a:pt x="0" y="1109826"/>
                    </a:cubicBezTo>
                    <a:cubicBezTo>
                      <a:pt x="0" y="1109826"/>
                      <a:pt x="0" y="1109826"/>
                      <a:pt x="0" y="793451"/>
                    </a:cubicBezTo>
                    <a:cubicBezTo>
                      <a:pt x="0" y="787738"/>
                      <a:pt x="3574" y="782738"/>
                      <a:pt x="7862" y="779882"/>
                    </a:cubicBezTo>
                    <a:cubicBezTo>
                      <a:pt x="7862" y="779882"/>
                      <a:pt x="7862" y="779882"/>
                      <a:pt x="310169" y="608482"/>
                    </a:cubicBezTo>
                    <a:cubicBezTo>
                      <a:pt x="311599" y="607053"/>
                      <a:pt x="313743" y="606339"/>
                      <a:pt x="315887" y="605625"/>
                    </a:cubicBezTo>
                    <a:cubicBezTo>
                      <a:pt x="316601" y="604911"/>
                      <a:pt x="317316" y="604911"/>
                      <a:pt x="318031" y="604197"/>
                    </a:cubicBezTo>
                    <a:cubicBezTo>
                      <a:pt x="318745" y="603483"/>
                      <a:pt x="320175" y="602768"/>
                      <a:pt x="320889" y="602768"/>
                    </a:cubicBezTo>
                    <a:cubicBezTo>
                      <a:pt x="322319" y="602054"/>
                      <a:pt x="323033" y="601340"/>
                      <a:pt x="324463" y="601340"/>
                    </a:cubicBezTo>
                    <a:cubicBezTo>
                      <a:pt x="325177" y="600626"/>
                      <a:pt x="325892" y="600626"/>
                      <a:pt x="326607" y="599912"/>
                    </a:cubicBezTo>
                    <a:cubicBezTo>
                      <a:pt x="328036" y="599198"/>
                      <a:pt x="329466" y="599198"/>
                      <a:pt x="330180" y="598483"/>
                    </a:cubicBezTo>
                    <a:cubicBezTo>
                      <a:pt x="330895" y="598483"/>
                      <a:pt x="331610" y="597769"/>
                      <a:pt x="332324" y="597769"/>
                    </a:cubicBezTo>
                    <a:cubicBezTo>
                      <a:pt x="333754" y="597055"/>
                      <a:pt x="335183" y="596341"/>
                      <a:pt x="336612" y="596341"/>
                    </a:cubicBezTo>
                    <a:cubicBezTo>
                      <a:pt x="336612" y="595627"/>
                      <a:pt x="337327" y="595627"/>
                      <a:pt x="338042" y="595627"/>
                    </a:cubicBezTo>
                    <a:cubicBezTo>
                      <a:pt x="339471" y="594913"/>
                      <a:pt x="340900" y="594198"/>
                      <a:pt x="342330" y="594198"/>
                    </a:cubicBezTo>
                    <a:cubicBezTo>
                      <a:pt x="343044" y="593484"/>
                      <a:pt x="343044" y="593484"/>
                      <a:pt x="343044" y="593484"/>
                    </a:cubicBezTo>
                    <a:cubicBezTo>
                      <a:pt x="345188" y="592770"/>
                      <a:pt x="346618" y="592770"/>
                      <a:pt x="348047" y="592056"/>
                    </a:cubicBezTo>
                    <a:cubicBezTo>
                      <a:pt x="348762" y="592056"/>
                      <a:pt x="348762" y="592056"/>
                      <a:pt x="348762" y="592056"/>
                    </a:cubicBezTo>
                    <a:cubicBezTo>
                      <a:pt x="360197" y="588485"/>
                      <a:pt x="370917" y="586343"/>
                      <a:pt x="382352" y="584914"/>
                    </a:cubicBezTo>
                    <a:cubicBezTo>
                      <a:pt x="383066" y="584914"/>
                      <a:pt x="383781" y="584914"/>
                      <a:pt x="383781" y="584914"/>
                    </a:cubicBezTo>
                    <a:cubicBezTo>
                      <a:pt x="385210" y="584914"/>
                      <a:pt x="386640" y="584914"/>
                      <a:pt x="387354" y="584914"/>
                    </a:cubicBezTo>
                    <a:cubicBezTo>
                      <a:pt x="388784" y="584914"/>
                      <a:pt x="389498" y="584914"/>
                      <a:pt x="390213" y="584200"/>
                    </a:cubicBezTo>
                    <a:close/>
                    <a:moveTo>
                      <a:pt x="1046954" y="0"/>
                    </a:moveTo>
                    <a:cubicBezTo>
                      <a:pt x="1050527" y="0"/>
                      <a:pt x="1053386" y="2142"/>
                      <a:pt x="1053386" y="5711"/>
                    </a:cubicBezTo>
                    <a:cubicBezTo>
                      <a:pt x="1054100" y="52114"/>
                      <a:pt x="1047669" y="342663"/>
                      <a:pt x="796124" y="347661"/>
                    </a:cubicBezTo>
                    <a:cubicBezTo>
                      <a:pt x="792551" y="347661"/>
                      <a:pt x="789693" y="344091"/>
                      <a:pt x="789693" y="340522"/>
                    </a:cubicBezTo>
                    <a:cubicBezTo>
                      <a:pt x="791836" y="316964"/>
                      <a:pt x="803985" y="229870"/>
                      <a:pt x="884022" y="138493"/>
                    </a:cubicBezTo>
                    <a:cubicBezTo>
                      <a:pt x="888309" y="132782"/>
                      <a:pt x="882593" y="124929"/>
                      <a:pt x="876876" y="128499"/>
                    </a:cubicBezTo>
                    <a:cubicBezTo>
                      <a:pt x="859725" y="137779"/>
                      <a:pt x="844003" y="149201"/>
                      <a:pt x="829711" y="162051"/>
                    </a:cubicBezTo>
                    <a:cubicBezTo>
                      <a:pt x="796124" y="194176"/>
                      <a:pt x="771113" y="234867"/>
                      <a:pt x="757535" y="279128"/>
                    </a:cubicBezTo>
                    <a:cubicBezTo>
                      <a:pt x="747530" y="309825"/>
                      <a:pt x="742528" y="341950"/>
                      <a:pt x="741099" y="374074"/>
                    </a:cubicBezTo>
                    <a:cubicBezTo>
                      <a:pt x="738955" y="411196"/>
                      <a:pt x="738240" y="448318"/>
                      <a:pt x="740384" y="486154"/>
                    </a:cubicBezTo>
                    <a:cubicBezTo>
                      <a:pt x="742528" y="506856"/>
                      <a:pt x="748245" y="544692"/>
                      <a:pt x="746101" y="574675"/>
                    </a:cubicBezTo>
                    <a:cubicBezTo>
                      <a:pt x="736811" y="571820"/>
                      <a:pt x="726806" y="569678"/>
                      <a:pt x="716802" y="568964"/>
                    </a:cubicBezTo>
                    <a:cubicBezTo>
                      <a:pt x="716802" y="568964"/>
                      <a:pt x="716802" y="568964"/>
                      <a:pt x="673925" y="566822"/>
                    </a:cubicBezTo>
                    <a:cubicBezTo>
                      <a:pt x="673210" y="558256"/>
                      <a:pt x="673210" y="551117"/>
                      <a:pt x="673925" y="546834"/>
                    </a:cubicBezTo>
                    <a:cubicBezTo>
                      <a:pt x="678213" y="449746"/>
                      <a:pt x="649628" y="339094"/>
                      <a:pt x="554584" y="294120"/>
                    </a:cubicBezTo>
                    <a:cubicBezTo>
                      <a:pt x="547438" y="291264"/>
                      <a:pt x="541721" y="299831"/>
                      <a:pt x="547438" y="304114"/>
                    </a:cubicBezTo>
                    <a:cubicBezTo>
                      <a:pt x="624616" y="373360"/>
                      <a:pt x="626760" y="438324"/>
                      <a:pt x="625331" y="457598"/>
                    </a:cubicBezTo>
                    <a:cubicBezTo>
                      <a:pt x="625331" y="460454"/>
                      <a:pt x="622473" y="463310"/>
                      <a:pt x="619614" y="463310"/>
                    </a:cubicBezTo>
                    <a:cubicBezTo>
                      <a:pt x="369499" y="460454"/>
                      <a:pt x="346631" y="229156"/>
                      <a:pt x="344487" y="188465"/>
                    </a:cubicBezTo>
                    <a:cubicBezTo>
                      <a:pt x="344487" y="184896"/>
                      <a:pt x="347346" y="182040"/>
                      <a:pt x="350919" y="182040"/>
                    </a:cubicBezTo>
                    <a:cubicBezTo>
                      <a:pt x="553870" y="172760"/>
                      <a:pt x="642482" y="233440"/>
                      <a:pt x="679642" y="309111"/>
                    </a:cubicBezTo>
                    <a:cubicBezTo>
                      <a:pt x="683215" y="314822"/>
                      <a:pt x="691790" y="312680"/>
                      <a:pt x="691790" y="306256"/>
                    </a:cubicBezTo>
                    <a:cubicBezTo>
                      <a:pt x="698222" y="184896"/>
                      <a:pt x="743957" y="2142"/>
                      <a:pt x="1046954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148" name="Group 147"/>
            <p:cNvGrpSpPr>
              <a:grpSpLocks noChangeAspect="1"/>
            </p:cNvGrpSpPr>
            <p:nvPr/>
          </p:nvGrpSpPr>
          <p:grpSpPr>
            <a:xfrm>
              <a:off x="4319621" y="4387851"/>
              <a:ext cx="528468" cy="527958"/>
              <a:chOff x="5273675" y="2606675"/>
              <a:chExt cx="1646238" cy="1644650"/>
            </a:xfrm>
          </p:grpSpPr>
          <p:sp>
            <p:nvSpPr>
              <p:cNvPr id="149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6238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" name="Freeform 149"/>
              <p:cNvSpPr>
                <a:spLocks/>
              </p:cNvSpPr>
              <p:nvPr/>
            </p:nvSpPr>
            <p:spPr bwMode="auto">
              <a:xfrm>
                <a:off x="5676052" y="2762249"/>
                <a:ext cx="838310" cy="1326744"/>
              </a:xfrm>
              <a:custGeom>
                <a:avLst/>
                <a:gdLst>
                  <a:gd name="connsiteX0" fmla="*/ 308137 w 838310"/>
                  <a:gd name="connsiteY0" fmla="*/ 728663 h 1326744"/>
                  <a:gd name="connsiteX1" fmla="*/ 379761 w 838310"/>
                  <a:gd name="connsiteY1" fmla="*/ 828557 h 1326744"/>
                  <a:gd name="connsiteX2" fmla="*/ 417005 w 838310"/>
                  <a:gd name="connsiteY2" fmla="*/ 847822 h 1326744"/>
                  <a:gd name="connsiteX3" fmla="*/ 454966 w 838310"/>
                  <a:gd name="connsiteY3" fmla="*/ 829270 h 1326744"/>
                  <a:gd name="connsiteX4" fmla="*/ 528738 w 838310"/>
                  <a:gd name="connsiteY4" fmla="*/ 728663 h 1326744"/>
                  <a:gd name="connsiteX5" fmla="*/ 602510 w 838310"/>
                  <a:gd name="connsiteY5" fmla="*/ 752923 h 1326744"/>
                  <a:gd name="connsiteX6" fmla="*/ 602510 w 838310"/>
                  <a:gd name="connsiteY6" fmla="*/ 1320176 h 1326744"/>
                  <a:gd name="connsiteX7" fmla="*/ 591767 w 838310"/>
                  <a:gd name="connsiteY7" fmla="*/ 1325171 h 1326744"/>
                  <a:gd name="connsiteX8" fmla="*/ 419154 w 838310"/>
                  <a:gd name="connsiteY8" fmla="*/ 1186747 h 1326744"/>
                  <a:gd name="connsiteX9" fmla="*/ 246541 w 838310"/>
                  <a:gd name="connsiteY9" fmla="*/ 1325171 h 1326744"/>
                  <a:gd name="connsiteX10" fmla="*/ 235797 w 838310"/>
                  <a:gd name="connsiteY10" fmla="*/ 1320176 h 1326744"/>
                  <a:gd name="connsiteX11" fmla="*/ 235797 w 838310"/>
                  <a:gd name="connsiteY11" fmla="*/ 752923 h 1326744"/>
                  <a:gd name="connsiteX12" fmla="*/ 308137 w 838310"/>
                  <a:gd name="connsiteY12" fmla="*/ 728663 h 1326744"/>
                  <a:gd name="connsiteX13" fmla="*/ 419154 w 838310"/>
                  <a:gd name="connsiteY13" fmla="*/ 255588 h 1326744"/>
                  <a:gd name="connsiteX14" fmla="*/ 264372 w 838310"/>
                  <a:gd name="connsiteY14" fmla="*/ 409220 h 1326744"/>
                  <a:gd name="connsiteX15" fmla="*/ 419154 w 838310"/>
                  <a:gd name="connsiteY15" fmla="*/ 563563 h 1326744"/>
                  <a:gd name="connsiteX16" fmla="*/ 573935 w 838310"/>
                  <a:gd name="connsiteY16" fmla="*/ 409220 h 1326744"/>
                  <a:gd name="connsiteX17" fmla="*/ 419154 w 838310"/>
                  <a:gd name="connsiteY17" fmla="*/ 255588 h 1326744"/>
                  <a:gd name="connsiteX18" fmla="*/ 423076 w 838310"/>
                  <a:gd name="connsiteY18" fmla="*/ 94061 h 1326744"/>
                  <a:gd name="connsiteX19" fmla="*/ 492244 w 838310"/>
                  <a:gd name="connsiteY19" fmla="*/ 188394 h 1326744"/>
                  <a:gd name="connsiteX20" fmla="*/ 500088 w 838310"/>
                  <a:gd name="connsiteY20" fmla="*/ 190538 h 1326744"/>
                  <a:gd name="connsiteX21" fmla="*/ 614180 w 838310"/>
                  <a:gd name="connsiteY21" fmla="*/ 151947 h 1326744"/>
                  <a:gd name="connsiteX22" fmla="*/ 623450 w 838310"/>
                  <a:gd name="connsiteY22" fmla="*/ 158379 h 1326744"/>
                  <a:gd name="connsiteX23" fmla="*/ 619171 w 838310"/>
                  <a:gd name="connsiteY23" fmla="*/ 270578 h 1326744"/>
                  <a:gd name="connsiteX24" fmla="*/ 623450 w 838310"/>
                  <a:gd name="connsiteY24" fmla="*/ 277010 h 1326744"/>
                  <a:gd name="connsiteX25" fmla="*/ 738968 w 838310"/>
                  <a:gd name="connsiteY25" fmla="*/ 307025 h 1326744"/>
                  <a:gd name="connsiteX26" fmla="*/ 742533 w 838310"/>
                  <a:gd name="connsiteY26" fmla="*/ 317030 h 1326744"/>
                  <a:gd name="connsiteX27" fmla="*/ 669086 w 838310"/>
                  <a:gd name="connsiteY27" fmla="*/ 406360 h 1326744"/>
                  <a:gd name="connsiteX28" fmla="*/ 669086 w 838310"/>
                  <a:gd name="connsiteY28" fmla="*/ 414935 h 1326744"/>
                  <a:gd name="connsiteX29" fmla="*/ 742533 w 838310"/>
                  <a:gd name="connsiteY29" fmla="*/ 501407 h 1326744"/>
                  <a:gd name="connsiteX30" fmla="*/ 738968 w 838310"/>
                  <a:gd name="connsiteY30" fmla="*/ 512127 h 1326744"/>
                  <a:gd name="connsiteX31" fmla="*/ 623450 w 838310"/>
                  <a:gd name="connsiteY31" fmla="*/ 543571 h 1326744"/>
                  <a:gd name="connsiteX32" fmla="*/ 619171 w 838310"/>
                  <a:gd name="connsiteY32" fmla="*/ 550003 h 1326744"/>
                  <a:gd name="connsiteX33" fmla="*/ 623450 w 838310"/>
                  <a:gd name="connsiteY33" fmla="*/ 661487 h 1326744"/>
                  <a:gd name="connsiteX34" fmla="*/ 614180 w 838310"/>
                  <a:gd name="connsiteY34" fmla="*/ 667919 h 1326744"/>
                  <a:gd name="connsiteX35" fmla="*/ 500088 w 838310"/>
                  <a:gd name="connsiteY35" fmla="*/ 629328 h 1326744"/>
                  <a:gd name="connsiteX36" fmla="*/ 492244 w 838310"/>
                  <a:gd name="connsiteY36" fmla="*/ 631472 h 1326744"/>
                  <a:gd name="connsiteX37" fmla="*/ 423076 w 838310"/>
                  <a:gd name="connsiteY37" fmla="*/ 725090 h 1326744"/>
                  <a:gd name="connsiteX38" fmla="*/ 413093 w 838310"/>
                  <a:gd name="connsiteY38" fmla="*/ 725090 h 1326744"/>
                  <a:gd name="connsiteX39" fmla="*/ 342498 w 838310"/>
                  <a:gd name="connsiteY39" fmla="*/ 627184 h 1326744"/>
                  <a:gd name="connsiteX40" fmla="*/ 224128 w 838310"/>
                  <a:gd name="connsiteY40" fmla="*/ 667919 h 1326744"/>
                  <a:gd name="connsiteX41" fmla="*/ 215571 w 838310"/>
                  <a:gd name="connsiteY41" fmla="*/ 661487 h 1326744"/>
                  <a:gd name="connsiteX42" fmla="*/ 218423 w 838310"/>
                  <a:gd name="connsiteY42" fmla="*/ 550003 h 1326744"/>
                  <a:gd name="connsiteX43" fmla="*/ 213432 w 838310"/>
                  <a:gd name="connsiteY43" fmla="*/ 543571 h 1326744"/>
                  <a:gd name="connsiteX44" fmla="*/ 99340 w 838310"/>
                  <a:gd name="connsiteY44" fmla="*/ 512127 h 1326744"/>
                  <a:gd name="connsiteX45" fmla="*/ 95775 w 838310"/>
                  <a:gd name="connsiteY45" fmla="*/ 501407 h 1326744"/>
                  <a:gd name="connsiteX46" fmla="*/ 169221 w 838310"/>
                  <a:gd name="connsiteY46" fmla="*/ 414935 h 1326744"/>
                  <a:gd name="connsiteX47" fmla="*/ 169221 w 838310"/>
                  <a:gd name="connsiteY47" fmla="*/ 406360 h 1326744"/>
                  <a:gd name="connsiteX48" fmla="*/ 95775 w 838310"/>
                  <a:gd name="connsiteY48" fmla="*/ 317030 h 1326744"/>
                  <a:gd name="connsiteX49" fmla="*/ 99340 w 838310"/>
                  <a:gd name="connsiteY49" fmla="*/ 307025 h 1326744"/>
                  <a:gd name="connsiteX50" fmla="*/ 213432 w 838310"/>
                  <a:gd name="connsiteY50" fmla="*/ 277010 h 1326744"/>
                  <a:gd name="connsiteX51" fmla="*/ 218423 w 838310"/>
                  <a:gd name="connsiteY51" fmla="*/ 270578 h 1326744"/>
                  <a:gd name="connsiteX52" fmla="*/ 215571 w 838310"/>
                  <a:gd name="connsiteY52" fmla="*/ 158379 h 1326744"/>
                  <a:gd name="connsiteX53" fmla="*/ 224128 w 838310"/>
                  <a:gd name="connsiteY53" fmla="*/ 151947 h 1326744"/>
                  <a:gd name="connsiteX54" fmla="*/ 338220 w 838310"/>
                  <a:gd name="connsiteY54" fmla="*/ 190538 h 1326744"/>
                  <a:gd name="connsiteX55" fmla="*/ 345351 w 838310"/>
                  <a:gd name="connsiteY55" fmla="*/ 188394 h 1326744"/>
                  <a:gd name="connsiteX56" fmla="*/ 413093 w 838310"/>
                  <a:gd name="connsiteY56" fmla="*/ 94776 h 1326744"/>
                  <a:gd name="connsiteX57" fmla="*/ 423076 w 838310"/>
                  <a:gd name="connsiteY57" fmla="*/ 94061 h 1326744"/>
                  <a:gd name="connsiteX58" fmla="*/ 417728 w 838310"/>
                  <a:gd name="connsiteY58" fmla="*/ 42863 h 1326744"/>
                  <a:gd name="connsiteX59" fmla="*/ 337785 w 838310"/>
                  <a:gd name="connsiteY59" fmla="*/ 153555 h 1326744"/>
                  <a:gd name="connsiteX60" fmla="*/ 319941 w 838310"/>
                  <a:gd name="connsiteY60" fmla="*/ 159268 h 1326744"/>
                  <a:gd name="connsiteX61" fmla="*/ 185752 w 838310"/>
                  <a:gd name="connsiteY61" fmla="*/ 113563 h 1326744"/>
                  <a:gd name="connsiteX62" fmla="*/ 189321 w 838310"/>
                  <a:gd name="connsiteY62" fmla="*/ 245680 h 1326744"/>
                  <a:gd name="connsiteX63" fmla="*/ 177900 w 838310"/>
                  <a:gd name="connsiteY63" fmla="*/ 261391 h 1326744"/>
                  <a:gd name="connsiteX64" fmla="*/ 43711 w 838310"/>
                  <a:gd name="connsiteY64" fmla="*/ 296384 h 1326744"/>
                  <a:gd name="connsiteX65" fmla="*/ 129364 w 838310"/>
                  <a:gd name="connsiteY65" fmla="*/ 400649 h 1326744"/>
                  <a:gd name="connsiteX66" fmla="*/ 129364 w 838310"/>
                  <a:gd name="connsiteY66" fmla="*/ 421359 h 1326744"/>
                  <a:gd name="connsiteX67" fmla="*/ 43711 w 838310"/>
                  <a:gd name="connsiteY67" fmla="*/ 522053 h 1326744"/>
                  <a:gd name="connsiteX68" fmla="*/ 177900 w 838310"/>
                  <a:gd name="connsiteY68" fmla="*/ 559903 h 1326744"/>
                  <a:gd name="connsiteX69" fmla="*/ 189321 w 838310"/>
                  <a:gd name="connsiteY69" fmla="*/ 574900 h 1326744"/>
                  <a:gd name="connsiteX70" fmla="*/ 185752 w 838310"/>
                  <a:gd name="connsiteY70" fmla="*/ 705588 h 1326744"/>
                  <a:gd name="connsiteX71" fmla="*/ 319941 w 838310"/>
                  <a:gd name="connsiteY71" fmla="*/ 660597 h 1326744"/>
                  <a:gd name="connsiteX72" fmla="*/ 324937 w 838310"/>
                  <a:gd name="connsiteY72" fmla="*/ 659169 h 1326744"/>
                  <a:gd name="connsiteX73" fmla="*/ 337785 w 838310"/>
                  <a:gd name="connsiteY73" fmla="*/ 666310 h 1326744"/>
                  <a:gd name="connsiteX74" fmla="*/ 417728 w 838310"/>
                  <a:gd name="connsiteY74" fmla="*/ 776288 h 1326744"/>
                  <a:gd name="connsiteX75" fmla="*/ 499098 w 838310"/>
                  <a:gd name="connsiteY75" fmla="*/ 665596 h 1326744"/>
                  <a:gd name="connsiteX76" fmla="*/ 516228 w 838310"/>
                  <a:gd name="connsiteY76" fmla="*/ 660597 h 1326744"/>
                  <a:gd name="connsiteX77" fmla="*/ 651845 w 838310"/>
                  <a:gd name="connsiteY77" fmla="*/ 705588 h 1326744"/>
                  <a:gd name="connsiteX78" fmla="*/ 646848 w 838310"/>
                  <a:gd name="connsiteY78" fmla="*/ 575614 h 1326744"/>
                  <a:gd name="connsiteX79" fmla="*/ 658269 w 838310"/>
                  <a:gd name="connsiteY79" fmla="*/ 559903 h 1326744"/>
                  <a:gd name="connsiteX80" fmla="*/ 794599 w 838310"/>
                  <a:gd name="connsiteY80" fmla="*/ 522053 h 1326744"/>
                  <a:gd name="connsiteX81" fmla="*/ 707519 w 838310"/>
                  <a:gd name="connsiteY81" fmla="*/ 421359 h 1326744"/>
                  <a:gd name="connsiteX82" fmla="*/ 707519 w 838310"/>
                  <a:gd name="connsiteY82" fmla="*/ 400649 h 1326744"/>
                  <a:gd name="connsiteX83" fmla="*/ 794599 w 838310"/>
                  <a:gd name="connsiteY83" fmla="*/ 296384 h 1326744"/>
                  <a:gd name="connsiteX84" fmla="*/ 658269 w 838310"/>
                  <a:gd name="connsiteY84" fmla="*/ 261391 h 1326744"/>
                  <a:gd name="connsiteX85" fmla="*/ 646848 w 838310"/>
                  <a:gd name="connsiteY85" fmla="*/ 245680 h 1326744"/>
                  <a:gd name="connsiteX86" fmla="*/ 651845 w 838310"/>
                  <a:gd name="connsiteY86" fmla="*/ 113563 h 1326744"/>
                  <a:gd name="connsiteX87" fmla="*/ 516228 w 838310"/>
                  <a:gd name="connsiteY87" fmla="*/ 159268 h 1326744"/>
                  <a:gd name="connsiteX88" fmla="*/ 499098 w 838310"/>
                  <a:gd name="connsiteY88" fmla="*/ 153555 h 1326744"/>
                  <a:gd name="connsiteX89" fmla="*/ 417728 w 838310"/>
                  <a:gd name="connsiteY89" fmla="*/ 42863 h 1326744"/>
                  <a:gd name="connsiteX90" fmla="*/ 417013 w 838310"/>
                  <a:gd name="connsiteY90" fmla="*/ 0 h 1326744"/>
                  <a:gd name="connsiteX91" fmla="*/ 429867 w 838310"/>
                  <a:gd name="connsiteY91" fmla="*/ 6428 h 1326744"/>
                  <a:gd name="connsiteX92" fmla="*/ 517702 w 838310"/>
                  <a:gd name="connsiteY92" fmla="*/ 124979 h 1326744"/>
                  <a:gd name="connsiteX93" fmla="*/ 663379 w 838310"/>
                  <a:gd name="connsiteY93" fmla="*/ 75702 h 1326744"/>
                  <a:gd name="connsiteX94" fmla="*/ 677661 w 838310"/>
                  <a:gd name="connsiteY94" fmla="*/ 78559 h 1326744"/>
                  <a:gd name="connsiteX95" fmla="*/ 684088 w 838310"/>
                  <a:gd name="connsiteY95" fmla="*/ 91414 h 1326744"/>
                  <a:gd name="connsiteX96" fmla="*/ 678375 w 838310"/>
                  <a:gd name="connsiteY96" fmla="*/ 233533 h 1326744"/>
                  <a:gd name="connsiteX97" fmla="*/ 826909 w 838310"/>
                  <a:gd name="connsiteY97" fmla="*/ 271384 h 1326744"/>
                  <a:gd name="connsiteX98" fmla="*/ 837621 w 838310"/>
                  <a:gd name="connsiteY98" fmla="*/ 282096 h 1326744"/>
                  <a:gd name="connsiteX99" fmla="*/ 834765 w 838310"/>
                  <a:gd name="connsiteY99" fmla="*/ 297094 h 1326744"/>
                  <a:gd name="connsiteX100" fmla="*/ 739789 w 838310"/>
                  <a:gd name="connsiteY100" fmla="*/ 409932 h 1326744"/>
                  <a:gd name="connsiteX101" fmla="*/ 834765 w 838310"/>
                  <a:gd name="connsiteY101" fmla="*/ 519914 h 1326744"/>
                  <a:gd name="connsiteX102" fmla="*/ 837621 w 838310"/>
                  <a:gd name="connsiteY102" fmla="*/ 534912 h 1326744"/>
                  <a:gd name="connsiteX103" fmla="*/ 826909 w 838310"/>
                  <a:gd name="connsiteY103" fmla="*/ 544910 h 1326744"/>
                  <a:gd name="connsiteX104" fmla="*/ 678375 w 838310"/>
                  <a:gd name="connsiteY104" fmla="*/ 585617 h 1326744"/>
                  <a:gd name="connsiteX105" fmla="*/ 684088 w 838310"/>
                  <a:gd name="connsiteY105" fmla="*/ 727023 h 1326744"/>
                  <a:gd name="connsiteX106" fmla="*/ 677661 w 838310"/>
                  <a:gd name="connsiteY106" fmla="*/ 739878 h 1326744"/>
                  <a:gd name="connsiteX107" fmla="*/ 663379 w 838310"/>
                  <a:gd name="connsiteY107" fmla="*/ 742020 h 1326744"/>
                  <a:gd name="connsiteX108" fmla="*/ 517702 w 838310"/>
                  <a:gd name="connsiteY108" fmla="*/ 692743 h 1326744"/>
                  <a:gd name="connsiteX109" fmla="*/ 429867 w 838310"/>
                  <a:gd name="connsiteY109" fmla="*/ 812723 h 1326744"/>
                  <a:gd name="connsiteX110" fmla="*/ 417013 w 838310"/>
                  <a:gd name="connsiteY110" fmla="*/ 819150 h 1326744"/>
                  <a:gd name="connsiteX111" fmla="*/ 404873 w 838310"/>
                  <a:gd name="connsiteY111" fmla="*/ 812723 h 1326744"/>
                  <a:gd name="connsiteX112" fmla="*/ 319180 w 838310"/>
                  <a:gd name="connsiteY112" fmla="*/ 693457 h 1326744"/>
                  <a:gd name="connsiteX113" fmla="*/ 174217 w 838310"/>
                  <a:gd name="connsiteY113" fmla="*/ 742020 h 1326744"/>
                  <a:gd name="connsiteX114" fmla="*/ 159935 w 838310"/>
                  <a:gd name="connsiteY114" fmla="*/ 739878 h 1326744"/>
                  <a:gd name="connsiteX115" fmla="*/ 153508 w 838310"/>
                  <a:gd name="connsiteY115" fmla="*/ 727023 h 1326744"/>
                  <a:gd name="connsiteX116" fmla="*/ 157793 w 838310"/>
                  <a:gd name="connsiteY116" fmla="*/ 585617 h 1326744"/>
                  <a:gd name="connsiteX117" fmla="*/ 11401 w 838310"/>
                  <a:gd name="connsiteY117" fmla="*/ 544910 h 1326744"/>
                  <a:gd name="connsiteX118" fmla="*/ 689 w 838310"/>
                  <a:gd name="connsiteY118" fmla="*/ 534912 h 1326744"/>
                  <a:gd name="connsiteX119" fmla="*/ 3546 w 838310"/>
                  <a:gd name="connsiteY119" fmla="*/ 519914 h 1326744"/>
                  <a:gd name="connsiteX120" fmla="*/ 97094 w 838310"/>
                  <a:gd name="connsiteY120" fmla="*/ 409932 h 1326744"/>
                  <a:gd name="connsiteX121" fmla="*/ 3546 w 838310"/>
                  <a:gd name="connsiteY121" fmla="*/ 296380 h 1326744"/>
                  <a:gd name="connsiteX122" fmla="*/ 689 w 838310"/>
                  <a:gd name="connsiteY122" fmla="*/ 282096 h 1326744"/>
                  <a:gd name="connsiteX123" fmla="*/ 11401 w 838310"/>
                  <a:gd name="connsiteY123" fmla="*/ 271384 h 1326744"/>
                  <a:gd name="connsiteX124" fmla="*/ 157793 w 838310"/>
                  <a:gd name="connsiteY124" fmla="*/ 233533 h 1326744"/>
                  <a:gd name="connsiteX125" fmla="*/ 153508 w 838310"/>
                  <a:gd name="connsiteY125" fmla="*/ 91414 h 1326744"/>
                  <a:gd name="connsiteX126" fmla="*/ 159935 w 838310"/>
                  <a:gd name="connsiteY126" fmla="*/ 78559 h 1326744"/>
                  <a:gd name="connsiteX127" fmla="*/ 174217 w 838310"/>
                  <a:gd name="connsiteY127" fmla="*/ 75702 h 1326744"/>
                  <a:gd name="connsiteX128" fmla="*/ 319180 w 838310"/>
                  <a:gd name="connsiteY128" fmla="*/ 124979 h 1326744"/>
                  <a:gd name="connsiteX129" fmla="*/ 404873 w 838310"/>
                  <a:gd name="connsiteY129" fmla="*/ 6428 h 1326744"/>
                  <a:gd name="connsiteX130" fmla="*/ 417013 w 838310"/>
                  <a:gd name="connsiteY130" fmla="*/ 0 h 1326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</a:cxnLst>
                <a:rect l="l" t="t" r="r" b="b"/>
                <a:pathLst>
                  <a:path w="838310" h="1326744">
                    <a:moveTo>
                      <a:pt x="308137" y="728663"/>
                    </a:moveTo>
                    <a:cubicBezTo>
                      <a:pt x="379761" y="828557"/>
                      <a:pt x="379761" y="828557"/>
                      <a:pt x="379761" y="828557"/>
                    </a:cubicBezTo>
                    <a:cubicBezTo>
                      <a:pt x="388356" y="840687"/>
                      <a:pt x="401964" y="847822"/>
                      <a:pt x="417005" y="847822"/>
                    </a:cubicBezTo>
                    <a:cubicBezTo>
                      <a:pt x="432046" y="847822"/>
                      <a:pt x="445654" y="840687"/>
                      <a:pt x="454966" y="829270"/>
                    </a:cubicBezTo>
                    <a:cubicBezTo>
                      <a:pt x="528738" y="728663"/>
                      <a:pt x="528738" y="728663"/>
                      <a:pt x="528738" y="728663"/>
                    </a:cubicBezTo>
                    <a:cubicBezTo>
                      <a:pt x="602510" y="752923"/>
                      <a:pt x="602510" y="752923"/>
                      <a:pt x="602510" y="752923"/>
                    </a:cubicBezTo>
                    <a:cubicBezTo>
                      <a:pt x="602510" y="1320176"/>
                      <a:pt x="602510" y="1320176"/>
                      <a:pt x="602510" y="1320176"/>
                    </a:cubicBezTo>
                    <a:cubicBezTo>
                      <a:pt x="602510" y="1325884"/>
                      <a:pt x="596064" y="1328738"/>
                      <a:pt x="591767" y="1325171"/>
                    </a:cubicBezTo>
                    <a:cubicBezTo>
                      <a:pt x="419154" y="1186747"/>
                      <a:pt x="419154" y="1186747"/>
                      <a:pt x="419154" y="1186747"/>
                    </a:cubicBezTo>
                    <a:cubicBezTo>
                      <a:pt x="246541" y="1325171"/>
                      <a:pt x="246541" y="1325171"/>
                      <a:pt x="246541" y="1325171"/>
                    </a:cubicBezTo>
                    <a:cubicBezTo>
                      <a:pt x="242243" y="1328738"/>
                      <a:pt x="235797" y="1325884"/>
                      <a:pt x="235797" y="1320176"/>
                    </a:cubicBezTo>
                    <a:cubicBezTo>
                      <a:pt x="235797" y="752923"/>
                      <a:pt x="235797" y="752923"/>
                      <a:pt x="235797" y="752923"/>
                    </a:cubicBezTo>
                    <a:cubicBezTo>
                      <a:pt x="308137" y="728663"/>
                      <a:pt x="308137" y="728663"/>
                      <a:pt x="308137" y="728663"/>
                    </a:cubicBezTo>
                    <a:close/>
                    <a:moveTo>
                      <a:pt x="419154" y="255588"/>
                    </a:moveTo>
                    <a:cubicBezTo>
                      <a:pt x="334597" y="255588"/>
                      <a:pt x="264372" y="324580"/>
                      <a:pt x="264372" y="409220"/>
                    </a:cubicBezTo>
                    <a:cubicBezTo>
                      <a:pt x="264372" y="495282"/>
                      <a:pt x="334597" y="563563"/>
                      <a:pt x="419154" y="563563"/>
                    </a:cubicBezTo>
                    <a:cubicBezTo>
                      <a:pt x="503710" y="563563"/>
                      <a:pt x="573935" y="495282"/>
                      <a:pt x="573935" y="409220"/>
                    </a:cubicBezTo>
                    <a:cubicBezTo>
                      <a:pt x="573935" y="324580"/>
                      <a:pt x="503710" y="255588"/>
                      <a:pt x="419154" y="255588"/>
                    </a:cubicBezTo>
                    <a:close/>
                    <a:moveTo>
                      <a:pt x="423076" y="94061"/>
                    </a:moveTo>
                    <a:cubicBezTo>
                      <a:pt x="492244" y="188394"/>
                      <a:pt x="492244" y="188394"/>
                      <a:pt x="492244" y="188394"/>
                    </a:cubicBezTo>
                    <a:cubicBezTo>
                      <a:pt x="494383" y="190538"/>
                      <a:pt x="497235" y="191253"/>
                      <a:pt x="500088" y="190538"/>
                    </a:cubicBezTo>
                    <a:cubicBezTo>
                      <a:pt x="614180" y="151947"/>
                      <a:pt x="614180" y="151947"/>
                      <a:pt x="614180" y="151947"/>
                    </a:cubicBezTo>
                    <a:cubicBezTo>
                      <a:pt x="619171" y="150518"/>
                      <a:pt x="623450" y="154091"/>
                      <a:pt x="623450" y="158379"/>
                    </a:cubicBezTo>
                    <a:cubicBezTo>
                      <a:pt x="619171" y="270578"/>
                      <a:pt x="619171" y="270578"/>
                      <a:pt x="619171" y="270578"/>
                    </a:cubicBezTo>
                    <a:cubicBezTo>
                      <a:pt x="618458" y="273436"/>
                      <a:pt x="620597" y="276295"/>
                      <a:pt x="623450" y="277010"/>
                    </a:cubicBezTo>
                    <a:cubicBezTo>
                      <a:pt x="738968" y="307025"/>
                      <a:pt x="738968" y="307025"/>
                      <a:pt x="738968" y="307025"/>
                    </a:cubicBezTo>
                    <a:cubicBezTo>
                      <a:pt x="743959" y="307739"/>
                      <a:pt x="745385" y="313456"/>
                      <a:pt x="742533" y="317030"/>
                    </a:cubicBezTo>
                    <a:cubicBezTo>
                      <a:pt x="669086" y="406360"/>
                      <a:pt x="669086" y="406360"/>
                      <a:pt x="669086" y="406360"/>
                    </a:cubicBezTo>
                    <a:cubicBezTo>
                      <a:pt x="666947" y="409218"/>
                      <a:pt x="666947" y="412792"/>
                      <a:pt x="669086" y="414935"/>
                    </a:cubicBezTo>
                    <a:cubicBezTo>
                      <a:pt x="742533" y="501407"/>
                      <a:pt x="742533" y="501407"/>
                      <a:pt x="742533" y="501407"/>
                    </a:cubicBezTo>
                    <a:cubicBezTo>
                      <a:pt x="745385" y="504980"/>
                      <a:pt x="743959" y="510697"/>
                      <a:pt x="738968" y="512127"/>
                    </a:cubicBezTo>
                    <a:cubicBezTo>
                      <a:pt x="623450" y="543571"/>
                      <a:pt x="623450" y="543571"/>
                      <a:pt x="623450" y="543571"/>
                    </a:cubicBezTo>
                    <a:cubicBezTo>
                      <a:pt x="620597" y="544286"/>
                      <a:pt x="618458" y="547144"/>
                      <a:pt x="619171" y="550003"/>
                    </a:cubicBezTo>
                    <a:cubicBezTo>
                      <a:pt x="623450" y="661487"/>
                      <a:pt x="623450" y="661487"/>
                      <a:pt x="623450" y="661487"/>
                    </a:cubicBezTo>
                    <a:cubicBezTo>
                      <a:pt x="623450" y="665775"/>
                      <a:pt x="619171" y="669348"/>
                      <a:pt x="614180" y="667919"/>
                    </a:cubicBezTo>
                    <a:cubicBezTo>
                      <a:pt x="500088" y="629328"/>
                      <a:pt x="500088" y="629328"/>
                      <a:pt x="500088" y="629328"/>
                    </a:cubicBezTo>
                    <a:cubicBezTo>
                      <a:pt x="497235" y="627899"/>
                      <a:pt x="494383" y="629328"/>
                      <a:pt x="492244" y="631472"/>
                    </a:cubicBezTo>
                    <a:cubicBezTo>
                      <a:pt x="423076" y="725090"/>
                      <a:pt x="423076" y="725090"/>
                      <a:pt x="423076" y="725090"/>
                    </a:cubicBezTo>
                    <a:cubicBezTo>
                      <a:pt x="420936" y="728663"/>
                      <a:pt x="415232" y="728663"/>
                      <a:pt x="413093" y="725090"/>
                    </a:cubicBezTo>
                    <a:cubicBezTo>
                      <a:pt x="342498" y="627184"/>
                      <a:pt x="342498" y="627184"/>
                      <a:pt x="342498" y="627184"/>
                    </a:cubicBezTo>
                    <a:cubicBezTo>
                      <a:pt x="224128" y="667919"/>
                      <a:pt x="224128" y="667919"/>
                      <a:pt x="224128" y="667919"/>
                    </a:cubicBezTo>
                    <a:cubicBezTo>
                      <a:pt x="219849" y="669348"/>
                      <a:pt x="214858" y="665775"/>
                      <a:pt x="215571" y="661487"/>
                    </a:cubicBezTo>
                    <a:cubicBezTo>
                      <a:pt x="218423" y="550003"/>
                      <a:pt x="218423" y="550003"/>
                      <a:pt x="218423" y="550003"/>
                    </a:cubicBezTo>
                    <a:cubicBezTo>
                      <a:pt x="218423" y="547144"/>
                      <a:pt x="216997" y="544286"/>
                      <a:pt x="213432" y="543571"/>
                    </a:cubicBezTo>
                    <a:cubicBezTo>
                      <a:pt x="99340" y="512127"/>
                      <a:pt x="99340" y="512127"/>
                      <a:pt x="99340" y="512127"/>
                    </a:cubicBezTo>
                    <a:cubicBezTo>
                      <a:pt x="94348" y="510697"/>
                      <a:pt x="92922" y="504980"/>
                      <a:pt x="95775" y="501407"/>
                    </a:cubicBezTo>
                    <a:cubicBezTo>
                      <a:pt x="169221" y="414935"/>
                      <a:pt x="169221" y="414935"/>
                      <a:pt x="169221" y="414935"/>
                    </a:cubicBezTo>
                    <a:cubicBezTo>
                      <a:pt x="171360" y="412792"/>
                      <a:pt x="171360" y="409218"/>
                      <a:pt x="169221" y="406360"/>
                    </a:cubicBezTo>
                    <a:cubicBezTo>
                      <a:pt x="95775" y="317030"/>
                      <a:pt x="95775" y="317030"/>
                      <a:pt x="95775" y="317030"/>
                    </a:cubicBezTo>
                    <a:cubicBezTo>
                      <a:pt x="92922" y="313456"/>
                      <a:pt x="94348" y="307739"/>
                      <a:pt x="99340" y="307025"/>
                    </a:cubicBezTo>
                    <a:cubicBezTo>
                      <a:pt x="213432" y="277010"/>
                      <a:pt x="213432" y="277010"/>
                      <a:pt x="213432" y="277010"/>
                    </a:cubicBezTo>
                    <a:cubicBezTo>
                      <a:pt x="216284" y="276295"/>
                      <a:pt x="218423" y="273436"/>
                      <a:pt x="218423" y="270578"/>
                    </a:cubicBezTo>
                    <a:cubicBezTo>
                      <a:pt x="215571" y="158379"/>
                      <a:pt x="215571" y="158379"/>
                      <a:pt x="215571" y="158379"/>
                    </a:cubicBezTo>
                    <a:cubicBezTo>
                      <a:pt x="214858" y="153377"/>
                      <a:pt x="219849" y="150518"/>
                      <a:pt x="224128" y="151947"/>
                    </a:cubicBezTo>
                    <a:cubicBezTo>
                      <a:pt x="338220" y="190538"/>
                      <a:pt x="338220" y="190538"/>
                      <a:pt x="338220" y="190538"/>
                    </a:cubicBezTo>
                    <a:cubicBezTo>
                      <a:pt x="341072" y="191253"/>
                      <a:pt x="343924" y="190538"/>
                      <a:pt x="345351" y="188394"/>
                    </a:cubicBezTo>
                    <a:cubicBezTo>
                      <a:pt x="413093" y="94776"/>
                      <a:pt x="413093" y="94776"/>
                      <a:pt x="413093" y="94776"/>
                    </a:cubicBezTo>
                    <a:cubicBezTo>
                      <a:pt x="415232" y="91203"/>
                      <a:pt x="420936" y="90488"/>
                      <a:pt x="423076" y="94061"/>
                    </a:cubicBezTo>
                    <a:close/>
                    <a:moveTo>
                      <a:pt x="417728" y="42863"/>
                    </a:moveTo>
                    <a:cubicBezTo>
                      <a:pt x="417728" y="42863"/>
                      <a:pt x="417728" y="42863"/>
                      <a:pt x="337785" y="153555"/>
                    </a:cubicBezTo>
                    <a:cubicBezTo>
                      <a:pt x="334216" y="159268"/>
                      <a:pt x="327079" y="161411"/>
                      <a:pt x="319941" y="159268"/>
                    </a:cubicBezTo>
                    <a:cubicBezTo>
                      <a:pt x="319941" y="159268"/>
                      <a:pt x="319941" y="159268"/>
                      <a:pt x="185752" y="113563"/>
                    </a:cubicBezTo>
                    <a:cubicBezTo>
                      <a:pt x="185752" y="113563"/>
                      <a:pt x="185752" y="113563"/>
                      <a:pt x="189321" y="245680"/>
                    </a:cubicBezTo>
                    <a:cubicBezTo>
                      <a:pt x="190034" y="253535"/>
                      <a:pt x="185038" y="259963"/>
                      <a:pt x="177900" y="261391"/>
                    </a:cubicBezTo>
                    <a:cubicBezTo>
                      <a:pt x="177900" y="261391"/>
                      <a:pt x="177900" y="261391"/>
                      <a:pt x="43711" y="296384"/>
                    </a:cubicBezTo>
                    <a:cubicBezTo>
                      <a:pt x="43711" y="296384"/>
                      <a:pt x="43711" y="296384"/>
                      <a:pt x="129364" y="400649"/>
                    </a:cubicBezTo>
                    <a:cubicBezTo>
                      <a:pt x="134360" y="407076"/>
                      <a:pt x="134360" y="415646"/>
                      <a:pt x="129364" y="421359"/>
                    </a:cubicBezTo>
                    <a:cubicBezTo>
                      <a:pt x="129364" y="421359"/>
                      <a:pt x="129364" y="421359"/>
                      <a:pt x="43711" y="522053"/>
                    </a:cubicBezTo>
                    <a:cubicBezTo>
                      <a:pt x="43711" y="522053"/>
                      <a:pt x="43711" y="522053"/>
                      <a:pt x="177900" y="559903"/>
                    </a:cubicBezTo>
                    <a:cubicBezTo>
                      <a:pt x="185038" y="561331"/>
                      <a:pt x="190034" y="567758"/>
                      <a:pt x="189321" y="574900"/>
                    </a:cubicBezTo>
                    <a:cubicBezTo>
                      <a:pt x="189321" y="574900"/>
                      <a:pt x="189321" y="574900"/>
                      <a:pt x="185752" y="705588"/>
                    </a:cubicBezTo>
                    <a:cubicBezTo>
                      <a:pt x="185752" y="705588"/>
                      <a:pt x="185752" y="705588"/>
                      <a:pt x="319941" y="660597"/>
                    </a:cubicBezTo>
                    <a:cubicBezTo>
                      <a:pt x="322082" y="659883"/>
                      <a:pt x="323510" y="659169"/>
                      <a:pt x="324937" y="659169"/>
                    </a:cubicBezTo>
                    <a:cubicBezTo>
                      <a:pt x="329934" y="659169"/>
                      <a:pt x="334930" y="662025"/>
                      <a:pt x="337785" y="666310"/>
                    </a:cubicBezTo>
                    <a:cubicBezTo>
                      <a:pt x="337785" y="666310"/>
                      <a:pt x="337785" y="666310"/>
                      <a:pt x="417728" y="776288"/>
                    </a:cubicBezTo>
                    <a:cubicBezTo>
                      <a:pt x="417728" y="776288"/>
                      <a:pt x="417728" y="776288"/>
                      <a:pt x="499098" y="665596"/>
                    </a:cubicBezTo>
                    <a:cubicBezTo>
                      <a:pt x="502667" y="660597"/>
                      <a:pt x="509804" y="658455"/>
                      <a:pt x="516228" y="660597"/>
                    </a:cubicBezTo>
                    <a:cubicBezTo>
                      <a:pt x="516228" y="660597"/>
                      <a:pt x="516228" y="660597"/>
                      <a:pt x="651845" y="705588"/>
                    </a:cubicBezTo>
                    <a:cubicBezTo>
                      <a:pt x="651845" y="705588"/>
                      <a:pt x="651845" y="705588"/>
                      <a:pt x="646848" y="575614"/>
                    </a:cubicBezTo>
                    <a:cubicBezTo>
                      <a:pt x="646135" y="567758"/>
                      <a:pt x="651131" y="561331"/>
                      <a:pt x="658269" y="559903"/>
                    </a:cubicBezTo>
                    <a:cubicBezTo>
                      <a:pt x="658269" y="559903"/>
                      <a:pt x="658269" y="559903"/>
                      <a:pt x="794599" y="522053"/>
                    </a:cubicBezTo>
                    <a:cubicBezTo>
                      <a:pt x="794599" y="522053"/>
                      <a:pt x="794599" y="522053"/>
                      <a:pt x="707519" y="421359"/>
                    </a:cubicBezTo>
                    <a:cubicBezTo>
                      <a:pt x="702523" y="415646"/>
                      <a:pt x="702523" y="407076"/>
                      <a:pt x="707519" y="400649"/>
                    </a:cubicBezTo>
                    <a:cubicBezTo>
                      <a:pt x="707519" y="400649"/>
                      <a:pt x="707519" y="400649"/>
                      <a:pt x="794599" y="296384"/>
                    </a:cubicBezTo>
                    <a:cubicBezTo>
                      <a:pt x="794599" y="296384"/>
                      <a:pt x="794599" y="296384"/>
                      <a:pt x="658269" y="261391"/>
                    </a:cubicBezTo>
                    <a:cubicBezTo>
                      <a:pt x="651131" y="259963"/>
                      <a:pt x="646135" y="253535"/>
                      <a:pt x="646848" y="245680"/>
                    </a:cubicBezTo>
                    <a:cubicBezTo>
                      <a:pt x="646848" y="245680"/>
                      <a:pt x="646848" y="245680"/>
                      <a:pt x="651845" y="113563"/>
                    </a:cubicBezTo>
                    <a:cubicBezTo>
                      <a:pt x="651845" y="113563"/>
                      <a:pt x="651845" y="113563"/>
                      <a:pt x="516228" y="159268"/>
                    </a:cubicBezTo>
                    <a:cubicBezTo>
                      <a:pt x="509804" y="161411"/>
                      <a:pt x="502667" y="159268"/>
                      <a:pt x="499098" y="153555"/>
                    </a:cubicBezTo>
                    <a:cubicBezTo>
                      <a:pt x="499098" y="153555"/>
                      <a:pt x="499098" y="153555"/>
                      <a:pt x="417728" y="42863"/>
                    </a:cubicBezTo>
                    <a:close/>
                    <a:moveTo>
                      <a:pt x="417013" y="0"/>
                    </a:moveTo>
                    <a:cubicBezTo>
                      <a:pt x="422012" y="0"/>
                      <a:pt x="427010" y="2143"/>
                      <a:pt x="429867" y="6428"/>
                    </a:cubicBezTo>
                    <a:cubicBezTo>
                      <a:pt x="429867" y="6428"/>
                      <a:pt x="429867" y="6428"/>
                      <a:pt x="517702" y="124979"/>
                    </a:cubicBezTo>
                    <a:cubicBezTo>
                      <a:pt x="517702" y="124979"/>
                      <a:pt x="517702" y="124979"/>
                      <a:pt x="663379" y="75702"/>
                    </a:cubicBezTo>
                    <a:cubicBezTo>
                      <a:pt x="668378" y="74274"/>
                      <a:pt x="673377" y="74988"/>
                      <a:pt x="677661" y="78559"/>
                    </a:cubicBezTo>
                    <a:cubicBezTo>
                      <a:pt x="681946" y="81415"/>
                      <a:pt x="684088" y="86414"/>
                      <a:pt x="684088" y="91414"/>
                    </a:cubicBezTo>
                    <a:cubicBezTo>
                      <a:pt x="684088" y="91414"/>
                      <a:pt x="684088" y="91414"/>
                      <a:pt x="678375" y="233533"/>
                    </a:cubicBezTo>
                    <a:cubicBezTo>
                      <a:pt x="678375" y="233533"/>
                      <a:pt x="678375" y="233533"/>
                      <a:pt x="826909" y="271384"/>
                    </a:cubicBezTo>
                    <a:cubicBezTo>
                      <a:pt x="831908" y="272812"/>
                      <a:pt x="836193" y="276383"/>
                      <a:pt x="837621" y="282096"/>
                    </a:cubicBezTo>
                    <a:cubicBezTo>
                      <a:pt x="839049" y="287095"/>
                      <a:pt x="838335" y="292809"/>
                      <a:pt x="834765" y="297094"/>
                    </a:cubicBezTo>
                    <a:cubicBezTo>
                      <a:pt x="834765" y="297094"/>
                      <a:pt x="834765" y="297094"/>
                      <a:pt x="739789" y="409932"/>
                    </a:cubicBezTo>
                    <a:cubicBezTo>
                      <a:pt x="739789" y="409932"/>
                      <a:pt x="739789" y="409932"/>
                      <a:pt x="834765" y="519914"/>
                    </a:cubicBezTo>
                    <a:cubicBezTo>
                      <a:pt x="838335" y="524199"/>
                      <a:pt x="839049" y="529198"/>
                      <a:pt x="837621" y="534912"/>
                    </a:cubicBezTo>
                    <a:cubicBezTo>
                      <a:pt x="836193" y="539911"/>
                      <a:pt x="831908" y="543482"/>
                      <a:pt x="826909" y="544910"/>
                    </a:cubicBezTo>
                    <a:cubicBezTo>
                      <a:pt x="826909" y="544910"/>
                      <a:pt x="826909" y="544910"/>
                      <a:pt x="678375" y="585617"/>
                    </a:cubicBezTo>
                    <a:cubicBezTo>
                      <a:pt x="678375" y="585617"/>
                      <a:pt x="678375" y="585617"/>
                      <a:pt x="684088" y="727023"/>
                    </a:cubicBezTo>
                    <a:cubicBezTo>
                      <a:pt x="684088" y="732022"/>
                      <a:pt x="681946" y="737021"/>
                      <a:pt x="677661" y="739878"/>
                    </a:cubicBezTo>
                    <a:cubicBezTo>
                      <a:pt x="673377" y="742734"/>
                      <a:pt x="668378" y="744163"/>
                      <a:pt x="663379" y="742020"/>
                    </a:cubicBezTo>
                    <a:cubicBezTo>
                      <a:pt x="663379" y="742020"/>
                      <a:pt x="663379" y="742020"/>
                      <a:pt x="517702" y="692743"/>
                    </a:cubicBezTo>
                    <a:cubicBezTo>
                      <a:pt x="517702" y="692743"/>
                      <a:pt x="517702" y="692743"/>
                      <a:pt x="429867" y="812723"/>
                    </a:cubicBezTo>
                    <a:cubicBezTo>
                      <a:pt x="427010" y="816293"/>
                      <a:pt x="422012" y="819150"/>
                      <a:pt x="417013" y="819150"/>
                    </a:cubicBezTo>
                    <a:cubicBezTo>
                      <a:pt x="412014" y="819150"/>
                      <a:pt x="407730" y="816293"/>
                      <a:pt x="404873" y="812723"/>
                    </a:cubicBezTo>
                    <a:cubicBezTo>
                      <a:pt x="404873" y="812723"/>
                      <a:pt x="404873" y="812723"/>
                      <a:pt x="319180" y="693457"/>
                    </a:cubicBezTo>
                    <a:cubicBezTo>
                      <a:pt x="319180" y="693457"/>
                      <a:pt x="319180" y="693457"/>
                      <a:pt x="174217" y="742020"/>
                    </a:cubicBezTo>
                    <a:cubicBezTo>
                      <a:pt x="169218" y="744163"/>
                      <a:pt x="164220" y="742734"/>
                      <a:pt x="159935" y="739878"/>
                    </a:cubicBezTo>
                    <a:cubicBezTo>
                      <a:pt x="155650" y="737021"/>
                      <a:pt x="153508" y="732022"/>
                      <a:pt x="153508" y="727023"/>
                    </a:cubicBezTo>
                    <a:cubicBezTo>
                      <a:pt x="153508" y="727023"/>
                      <a:pt x="153508" y="727023"/>
                      <a:pt x="157793" y="585617"/>
                    </a:cubicBezTo>
                    <a:cubicBezTo>
                      <a:pt x="157793" y="585617"/>
                      <a:pt x="157793" y="585617"/>
                      <a:pt x="11401" y="544910"/>
                    </a:cubicBezTo>
                    <a:cubicBezTo>
                      <a:pt x="6402" y="543482"/>
                      <a:pt x="2118" y="539911"/>
                      <a:pt x="689" y="534912"/>
                    </a:cubicBezTo>
                    <a:cubicBezTo>
                      <a:pt x="-739" y="529912"/>
                      <a:pt x="-25" y="524199"/>
                      <a:pt x="3546" y="519914"/>
                    </a:cubicBezTo>
                    <a:cubicBezTo>
                      <a:pt x="3546" y="519914"/>
                      <a:pt x="3546" y="519914"/>
                      <a:pt x="97094" y="409932"/>
                    </a:cubicBezTo>
                    <a:cubicBezTo>
                      <a:pt x="97094" y="409932"/>
                      <a:pt x="97094" y="409932"/>
                      <a:pt x="3546" y="296380"/>
                    </a:cubicBezTo>
                    <a:cubicBezTo>
                      <a:pt x="-25" y="292809"/>
                      <a:pt x="-739" y="287095"/>
                      <a:pt x="689" y="282096"/>
                    </a:cubicBezTo>
                    <a:cubicBezTo>
                      <a:pt x="2118" y="276383"/>
                      <a:pt x="6402" y="272812"/>
                      <a:pt x="11401" y="271384"/>
                    </a:cubicBezTo>
                    <a:cubicBezTo>
                      <a:pt x="11401" y="271384"/>
                      <a:pt x="11401" y="271384"/>
                      <a:pt x="157793" y="233533"/>
                    </a:cubicBezTo>
                    <a:cubicBezTo>
                      <a:pt x="157793" y="233533"/>
                      <a:pt x="157793" y="233533"/>
                      <a:pt x="153508" y="91414"/>
                    </a:cubicBezTo>
                    <a:cubicBezTo>
                      <a:pt x="153508" y="86414"/>
                      <a:pt x="155650" y="81415"/>
                      <a:pt x="159935" y="78559"/>
                    </a:cubicBezTo>
                    <a:cubicBezTo>
                      <a:pt x="164220" y="74988"/>
                      <a:pt x="169218" y="74274"/>
                      <a:pt x="174217" y="75702"/>
                    </a:cubicBezTo>
                    <a:cubicBezTo>
                      <a:pt x="174217" y="75702"/>
                      <a:pt x="174217" y="75702"/>
                      <a:pt x="319180" y="124979"/>
                    </a:cubicBezTo>
                    <a:cubicBezTo>
                      <a:pt x="319180" y="124979"/>
                      <a:pt x="319180" y="124979"/>
                      <a:pt x="404873" y="6428"/>
                    </a:cubicBezTo>
                    <a:cubicBezTo>
                      <a:pt x="407730" y="2143"/>
                      <a:pt x="412014" y="0"/>
                      <a:pt x="41701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</p:grpSp>
        <p:sp>
          <p:nvSpPr>
            <p:cNvPr id="44" name="Rectangle 43"/>
            <p:cNvSpPr/>
            <p:nvPr/>
          </p:nvSpPr>
          <p:spPr>
            <a:xfrm>
              <a:off x="4790620" y="1639685"/>
              <a:ext cx="2611959" cy="1398624"/>
            </a:xfrm>
            <a:prstGeom prst="rect">
              <a:avLst/>
            </a:prstGeom>
          </p:spPr>
          <p:txBody>
            <a:bodyPr wrap="none" lIns="0" tIns="0" rIns="0" bIns="0">
              <a:prstTxWarp prst="textArchUp">
                <a:avLst/>
              </a:prstTxWarp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</a:pPr>
              <a:r>
                <a:rPr lang="en-US" dirty="0" smtClean="0">
                  <a:solidFill>
                    <a:srgbClr val="0B2B65"/>
                  </a:solidFill>
                  <a:sym typeface="Trebuchet MS" panose="020B0603020202020204" pitchFamily="34" charset="0"/>
                </a:rPr>
                <a:t>Inclusive</a:t>
              </a:r>
              <a:endParaRPr lang="en-US" dirty="0">
                <a:solidFill>
                  <a:srgbClr val="0B2B65"/>
                </a:solidFill>
                <a:sym typeface="Trebuchet MS" panose="020B0603020202020204" pitchFamily="34" charset="0"/>
              </a:endParaRPr>
            </a:p>
          </p:txBody>
        </p:sp>
      </p:grpSp>
      <p:cxnSp>
        <p:nvCxnSpPr>
          <p:cNvPr id="16" name="Straight Connector 15"/>
          <p:cNvCxnSpPr/>
          <p:nvPr/>
        </p:nvCxnSpPr>
        <p:spPr>
          <a:xfrm>
            <a:off x="630000" y="4110626"/>
            <a:ext cx="2503725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20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r>
              <a:rPr lang="en-US" sz="2000" smtClean="0"/>
              <a:t>What p33 hopes to help enable </a:t>
            </a:r>
            <a:endParaRPr lang="en-US" sz="2000" dirty="0"/>
          </a:p>
        </p:txBody>
      </p:sp>
      <p:cxnSp>
        <p:nvCxnSpPr>
          <p:cNvPr id="151" name="Straight Connector 150"/>
          <p:cNvCxnSpPr/>
          <p:nvPr/>
        </p:nvCxnSpPr>
        <p:spPr>
          <a:xfrm>
            <a:off x="9059476" y="4110626"/>
            <a:ext cx="2503725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Rectangle 151"/>
          <p:cNvSpPr/>
          <p:nvPr/>
        </p:nvSpPr>
        <p:spPr>
          <a:xfrm>
            <a:off x="630000" y="4726281"/>
            <a:ext cx="3007175" cy="115416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A9A9A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24000" lvl="1" indent="-216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400" dirty="0" smtClean="0">
                <a:solidFill>
                  <a:schemeClr val="tx1">
                    <a:lumMod val="100000"/>
                  </a:schemeClr>
                </a:solidFill>
              </a:rPr>
              <a:t>Deep R&amp;D relationships </a:t>
            </a:r>
            <a:br>
              <a:rPr lang="en-US" sz="1400" dirty="0" smtClean="0">
                <a:solidFill>
                  <a:schemeClr val="tx1">
                    <a:lumMod val="100000"/>
                  </a:schemeClr>
                </a:solidFill>
              </a:rPr>
            </a:br>
            <a:r>
              <a:rPr lang="en-US" sz="1400" dirty="0" smtClean="0">
                <a:solidFill>
                  <a:schemeClr val="tx1">
                    <a:lumMod val="100000"/>
                  </a:schemeClr>
                </a:solidFill>
              </a:rPr>
              <a:t>with corporate and </a:t>
            </a:r>
            <a:br>
              <a:rPr lang="en-US" sz="1400" dirty="0" smtClean="0">
                <a:solidFill>
                  <a:schemeClr val="tx1">
                    <a:lumMod val="100000"/>
                  </a:schemeClr>
                </a:solidFill>
              </a:rPr>
            </a:br>
            <a:r>
              <a:rPr lang="en-US" sz="1400" dirty="0" smtClean="0">
                <a:solidFill>
                  <a:schemeClr val="tx1">
                    <a:lumMod val="100000"/>
                  </a:schemeClr>
                </a:solidFill>
              </a:rPr>
              <a:t>government funders</a:t>
            </a:r>
          </a:p>
          <a:p>
            <a:pPr marL="324000" lvl="1" indent="-216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</a:rPr>
              <a:t>Interdisciplinary engagement </a:t>
            </a:r>
            <a:endParaRPr lang="en-US" sz="1400" dirty="0" smtClean="0">
              <a:solidFill>
                <a:schemeClr val="tx1">
                  <a:lumMod val="100000"/>
                </a:schemeClr>
              </a:solidFill>
            </a:endParaRPr>
          </a:p>
          <a:p>
            <a:pPr marL="324000" lvl="1" indent="-216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400" dirty="0" smtClean="0">
                <a:solidFill>
                  <a:schemeClr val="tx1">
                    <a:lumMod val="100000"/>
                  </a:schemeClr>
                </a:solidFill>
              </a:rPr>
              <a:t>Applied </a:t>
            </a:r>
            <a:r>
              <a:rPr lang="en-US" sz="1400" dirty="0">
                <a:solidFill>
                  <a:schemeClr val="tx1">
                    <a:lumMod val="100000"/>
                  </a:schemeClr>
                </a:solidFill>
              </a:rPr>
              <a:t>research and </a:t>
            </a:r>
            <a:r>
              <a:rPr lang="en-US" sz="1400" dirty="0" smtClean="0">
                <a:solidFill>
                  <a:schemeClr val="tx1">
                    <a:lumMod val="100000"/>
                  </a:schemeClr>
                </a:solidFill>
              </a:rPr>
              <a:t>integration</a:t>
            </a:r>
          </a:p>
        </p:txBody>
      </p:sp>
      <p:sp>
        <p:nvSpPr>
          <p:cNvPr id="153" name="Rectangle 152"/>
          <p:cNvSpPr/>
          <p:nvPr/>
        </p:nvSpPr>
        <p:spPr>
          <a:xfrm>
            <a:off x="8929936" y="4620883"/>
            <a:ext cx="3007175" cy="115792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BC5D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24000" lvl="1" indent="-216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</a:rPr>
              <a:t>Early stage incubation </a:t>
            </a:r>
            <a:r>
              <a:rPr lang="en-US" sz="1400" dirty="0" smtClean="0">
                <a:solidFill>
                  <a:schemeClr val="tx1">
                    <a:lumMod val="100000"/>
                  </a:schemeClr>
                </a:solidFill>
              </a:rPr>
              <a:t/>
            </a:r>
            <a:br>
              <a:rPr lang="en-US" sz="1400" dirty="0" smtClean="0">
                <a:solidFill>
                  <a:schemeClr val="tx1">
                    <a:lumMod val="100000"/>
                  </a:schemeClr>
                </a:solidFill>
              </a:rPr>
            </a:br>
            <a:r>
              <a:rPr lang="en-US" sz="1400" dirty="0" smtClean="0">
                <a:solidFill>
                  <a:schemeClr val="tx1">
                    <a:lumMod val="100000"/>
                  </a:schemeClr>
                </a:solidFill>
              </a:rPr>
              <a:t>and </a:t>
            </a:r>
            <a:r>
              <a:rPr lang="en-US" sz="1400" dirty="0">
                <a:solidFill>
                  <a:schemeClr val="tx1">
                    <a:lumMod val="100000"/>
                  </a:schemeClr>
                </a:solidFill>
              </a:rPr>
              <a:t>translation</a:t>
            </a:r>
          </a:p>
          <a:p>
            <a:pPr marL="324000" lvl="1" indent="-216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400" dirty="0" smtClean="0">
                <a:solidFill>
                  <a:schemeClr val="tx1">
                    <a:lumMod val="100000"/>
                  </a:schemeClr>
                </a:solidFill>
              </a:rPr>
              <a:t>Capability and capacity to </a:t>
            </a:r>
            <a:br>
              <a:rPr lang="en-US" sz="1400" dirty="0" smtClean="0">
                <a:solidFill>
                  <a:schemeClr val="tx1">
                    <a:lumMod val="100000"/>
                  </a:schemeClr>
                </a:solidFill>
              </a:rPr>
            </a:br>
            <a:r>
              <a:rPr lang="en-US" sz="1400" dirty="0" smtClean="0">
                <a:solidFill>
                  <a:schemeClr val="tx1">
                    <a:lumMod val="100000"/>
                  </a:schemeClr>
                </a:solidFill>
              </a:rPr>
              <a:t>transfer and scale </a:t>
            </a:r>
            <a:r>
              <a:rPr lang="en-US" sz="1400" dirty="0" smtClean="0">
                <a:solidFill>
                  <a:schemeClr val="tx1">
                    <a:lumMod val="100000"/>
                  </a:schemeClr>
                </a:solidFill>
              </a:rPr>
              <a:t>technology</a:t>
            </a:r>
          </a:p>
          <a:p>
            <a:pPr marL="324000" lvl="1" indent="-216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400" dirty="0" smtClean="0">
                <a:solidFill>
                  <a:schemeClr val="tx1">
                    <a:lumMod val="100000"/>
                  </a:schemeClr>
                </a:solidFill>
              </a:rPr>
              <a:t>Innovation funding models</a:t>
            </a:r>
            <a:endParaRPr lang="en-US" sz="1400" dirty="0" smtClean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54" name="Rectangle 153"/>
          <p:cNvSpPr/>
          <p:nvPr/>
        </p:nvSpPr>
        <p:spPr>
          <a:xfrm>
            <a:off x="630000" y="2041287"/>
            <a:ext cx="3007175" cy="172354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EAD9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24000" lvl="1" indent="-216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400" dirty="0" smtClean="0">
                <a:solidFill>
                  <a:schemeClr val="tx1">
                    <a:lumMod val="100000"/>
                  </a:schemeClr>
                </a:solidFill>
              </a:rPr>
              <a:t>Truly </a:t>
            </a:r>
            <a:r>
              <a:rPr lang="en-US" sz="1400" dirty="0" smtClean="0">
                <a:solidFill>
                  <a:schemeClr val="tx1">
                    <a:lumMod val="100000"/>
                  </a:schemeClr>
                </a:solidFill>
              </a:rPr>
              <a:t>imaginative, forward-looking public use  cases</a:t>
            </a:r>
            <a:endParaRPr lang="en-US" sz="1400" dirty="0" smtClean="0">
              <a:solidFill>
                <a:schemeClr val="tx1">
                  <a:lumMod val="100000"/>
                </a:schemeClr>
              </a:solidFill>
            </a:endParaRPr>
          </a:p>
          <a:p>
            <a:pPr marL="324000" lvl="1" indent="-216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</a:rPr>
              <a:t>Influence on policy and </a:t>
            </a:r>
            <a:r>
              <a:rPr lang="en-US" sz="1400" dirty="0" smtClean="0">
                <a:solidFill>
                  <a:schemeClr val="tx1">
                    <a:lumMod val="100000"/>
                  </a:schemeClr>
                </a:solidFill>
              </a:rPr>
              <a:t/>
            </a:r>
            <a:br>
              <a:rPr lang="en-US" sz="1400" dirty="0" smtClean="0">
                <a:solidFill>
                  <a:schemeClr val="tx1">
                    <a:lumMod val="100000"/>
                  </a:schemeClr>
                </a:solidFill>
              </a:rPr>
            </a:br>
            <a:r>
              <a:rPr lang="en-US" sz="1400" dirty="0" smtClean="0">
                <a:solidFill>
                  <a:schemeClr val="tx1">
                    <a:lumMod val="100000"/>
                  </a:schemeClr>
                </a:solidFill>
              </a:rPr>
              <a:t>long-term </a:t>
            </a:r>
            <a:r>
              <a:rPr lang="en-US" sz="1400" dirty="0">
                <a:solidFill>
                  <a:schemeClr val="tx1">
                    <a:lumMod val="100000"/>
                  </a:schemeClr>
                </a:solidFill>
              </a:rPr>
              <a:t>economic </a:t>
            </a:r>
            <a:r>
              <a:rPr lang="en-US" sz="1400" dirty="0" smtClean="0">
                <a:solidFill>
                  <a:schemeClr val="tx1">
                    <a:lumMod val="100000"/>
                  </a:schemeClr>
                </a:solidFill>
              </a:rPr>
              <a:t>health</a:t>
            </a:r>
          </a:p>
          <a:p>
            <a:pPr marL="324000" lvl="1" indent="-216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endParaRPr lang="en-US" sz="1400" dirty="0">
              <a:solidFill>
                <a:schemeClr val="tx1">
                  <a:lumMod val="100000"/>
                </a:schemeClr>
              </a:solidFill>
            </a:endParaRPr>
          </a:p>
          <a:p>
            <a:pPr marL="324000" lvl="1" indent="-216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endParaRPr lang="en-US"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55" name="Rectangle 154"/>
          <p:cNvSpPr/>
          <p:nvPr/>
        </p:nvSpPr>
        <p:spPr>
          <a:xfrm>
            <a:off x="8929936" y="2101669"/>
            <a:ext cx="3007175" cy="115792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4DF3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24000" lvl="1" indent="-216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400" dirty="0" smtClean="0">
                <a:solidFill>
                  <a:schemeClr val="tx1">
                    <a:lumMod val="100000"/>
                  </a:schemeClr>
                </a:solidFill>
              </a:rPr>
              <a:t>Training a cadre of scientists in commercial scaling skills</a:t>
            </a:r>
          </a:p>
          <a:p>
            <a:pPr marL="324000" lvl="1" indent="-216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400" dirty="0" smtClean="0">
                <a:solidFill>
                  <a:schemeClr val="tx1">
                    <a:lumMod val="100000"/>
                  </a:schemeClr>
                </a:solidFill>
              </a:rPr>
              <a:t>Exposing entrepreneurs / business graduates in scaling </a:t>
            </a:r>
            <a:r>
              <a:rPr lang="en-US" sz="1400" dirty="0" err="1" smtClean="0">
                <a:solidFill>
                  <a:schemeClr val="tx1">
                    <a:lumMod val="100000"/>
                  </a:schemeClr>
                </a:solidFill>
              </a:rPr>
              <a:t>lifesciences</a:t>
            </a:r>
            <a:r>
              <a:rPr lang="en-US" sz="1400" dirty="0" smtClean="0">
                <a:solidFill>
                  <a:schemeClr val="tx1">
                    <a:lumMod val="100000"/>
                  </a:schemeClr>
                </a:solidFill>
              </a:rPr>
              <a:t> advances</a:t>
            </a:r>
            <a:endParaRPr lang="en-US" sz="14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59" name="Rectangle 158"/>
          <p:cNvSpPr/>
          <p:nvPr/>
        </p:nvSpPr>
        <p:spPr>
          <a:xfrm rot="3530616">
            <a:off x="3104846" y="4366876"/>
            <a:ext cx="2611959" cy="1398624"/>
          </a:xfrm>
          <a:prstGeom prst="rect">
            <a:avLst/>
          </a:prstGeom>
        </p:spPr>
        <p:txBody>
          <a:bodyPr wrap="none" lIns="0" tIns="0" rIns="0" bIns="0">
            <a:prstTxWarp prst="textArchDown">
              <a:avLst/>
            </a:prstTxWarp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solidFill>
                  <a:srgbClr val="0B2B65"/>
                </a:solidFill>
                <a:sym typeface="Trebuchet MS" panose="020B0603020202020204" pitchFamily="34" charset="0"/>
              </a:rPr>
              <a:t>Equitable</a:t>
            </a:r>
          </a:p>
        </p:txBody>
      </p:sp>
      <p:grpSp>
        <p:nvGrpSpPr>
          <p:cNvPr id="59" name="Group 58"/>
          <p:cNvGrpSpPr>
            <a:grpSpLocks noChangeAspect="1"/>
          </p:cNvGrpSpPr>
          <p:nvPr/>
        </p:nvGrpSpPr>
        <p:grpSpPr>
          <a:xfrm>
            <a:off x="641048" y="2284093"/>
            <a:ext cx="197372" cy="197372"/>
            <a:chOff x="982662" y="1847850"/>
            <a:chExt cx="269875" cy="269875"/>
          </a:xfrm>
        </p:grpSpPr>
        <p:sp>
          <p:nvSpPr>
            <p:cNvPr id="60" name="Oval 50"/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61" name="Freeform 51"/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62" name="Group 61"/>
          <p:cNvGrpSpPr>
            <a:grpSpLocks noChangeAspect="1"/>
          </p:cNvGrpSpPr>
          <p:nvPr/>
        </p:nvGrpSpPr>
        <p:grpSpPr>
          <a:xfrm>
            <a:off x="641048" y="2712719"/>
            <a:ext cx="197372" cy="197372"/>
            <a:chOff x="982662" y="1847850"/>
            <a:chExt cx="269875" cy="269875"/>
          </a:xfrm>
        </p:grpSpPr>
        <p:sp>
          <p:nvSpPr>
            <p:cNvPr id="63" name="Oval 50"/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64" name="Freeform 51"/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68" name="Group 67"/>
          <p:cNvGrpSpPr>
            <a:grpSpLocks noChangeAspect="1"/>
          </p:cNvGrpSpPr>
          <p:nvPr/>
        </p:nvGrpSpPr>
        <p:grpSpPr>
          <a:xfrm>
            <a:off x="8940498" y="2210941"/>
            <a:ext cx="197372" cy="197372"/>
            <a:chOff x="982662" y="1847850"/>
            <a:chExt cx="269875" cy="269875"/>
          </a:xfrm>
        </p:grpSpPr>
        <p:sp>
          <p:nvSpPr>
            <p:cNvPr id="69" name="Oval 50"/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70" name="Freeform 51"/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1" name="Group 70"/>
          <p:cNvGrpSpPr>
            <a:grpSpLocks noChangeAspect="1"/>
          </p:cNvGrpSpPr>
          <p:nvPr/>
        </p:nvGrpSpPr>
        <p:grpSpPr>
          <a:xfrm>
            <a:off x="8940498" y="2648711"/>
            <a:ext cx="197372" cy="197372"/>
            <a:chOff x="982662" y="1847850"/>
            <a:chExt cx="269875" cy="269875"/>
          </a:xfrm>
        </p:grpSpPr>
        <p:sp>
          <p:nvSpPr>
            <p:cNvPr id="72" name="Oval 50"/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73" name="Freeform 51"/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4" name="Group 73"/>
          <p:cNvGrpSpPr>
            <a:grpSpLocks noChangeAspect="1"/>
          </p:cNvGrpSpPr>
          <p:nvPr/>
        </p:nvGrpSpPr>
        <p:grpSpPr>
          <a:xfrm>
            <a:off x="641048" y="4792343"/>
            <a:ext cx="197372" cy="197372"/>
            <a:chOff x="982662" y="1847850"/>
            <a:chExt cx="269875" cy="269875"/>
          </a:xfrm>
        </p:grpSpPr>
        <p:sp>
          <p:nvSpPr>
            <p:cNvPr id="75" name="Oval 50"/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76" name="Freeform 51"/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7" name="Group 76"/>
          <p:cNvGrpSpPr>
            <a:grpSpLocks noChangeAspect="1"/>
          </p:cNvGrpSpPr>
          <p:nvPr/>
        </p:nvGrpSpPr>
        <p:grpSpPr>
          <a:xfrm>
            <a:off x="641048" y="5430519"/>
            <a:ext cx="197372" cy="197372"/>
            <a:chOff x="982662" y="1847850"/>
            <a:chExt cx="269875" cy="269875"/>
          </a:xfrm>
        </p:grpSpPr>
        <p:sp>
          <p:nvSpPr>
            <p:cNvPr id="78" name="Oval 50"/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79" name="Freeform 51"/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0" name="Group 79"/>
          <p:cNvGrpSpPr>
            <a:grpSpLocks noChangeAspect="1"/>
          </p:cNvGrpSpPr>
          <p:nvPr/>
        </p:nvGrpSpPr>
        <p:grpSpPr>
          <a:xfrm>
            <a:off x="8940498" y="4706618"/>
            <a:ext cx="197372" cy="197372"/>
            <a:chOff x="982662" y="1847850"/>
            <a:chExt cx="269875" cy="269875"/>
          </a:xfrm>
        </p:grpSpPr>
        <p:sp>
          <p:nvSpPr>
            <p:cNvPr id="81" name="Oval 50"/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82" name="Freeform 51"/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3" name="Group 82"/>
          <p:cNvGrpSpPr>
            <a:grpSpLocks noChangeAspect="1"/>
          </p:cNvGrpSpPr>
          <p:nvPr/>
        </p:nvGrpSpPr>
        <p:grpSpPr>
          <a:xfrm>
            <a:off x="8940498" y="5122544"/>
            <a:ext cx="197372" cy="197372"/>
            <a:chOff x="982662" y="1847850"/>
            <a:chExt cx="269875" cy="269875"/>
          </a:xfrm>
        </p:grpSpPr>
        <p:sp>
          <p:nvSpPr>
            <p:cNvPr id="84" name="Oval 50"/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85" name="Freeform 51"/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6" name="Group 85"/>
          <p:cNvGrpSpPr>
            <a:grpSpLocks noChangeAspect="1"/>
          </p:cNvGrpSpPr>
          <p:nvPr/>
        </p:nvGrpSpPr>
        <p:grpSpPr>
          <a:xfrm>
            <a:off x="641048" y="5646223"/>
            <a:ext cx="197372" cy="197372"/>
            <a:chOff x="982662" y="1847850"/>
            <a:chExt cx="269875" cy="269875"/>
          </a:xfrm>
        </p:grpSpPr>
        <p:sp>
          <p:nvSpPr>
            <p:cNvPr id="88" name="Oval 50"/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92" name="Freeform 51"/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65" name="Group 64"/>
          <p:cNvGrpSpPr>
            <a:grpSpLocks noChangeAspect="1"/>
          </p:cNvGrpSpPr>
          <p:nvPr/>
        </p:nvGrpSpPr>
        <p:grpSpPr>
          <a:xfrm>
            <a:off x="8940498" y="5551169"/>
            <a:ext cx="197372" cy="197372"/>
            <a:chOff x="982662" y="1847850"/>
            <a:chExt cx="269875" cy="269875"/>
          </a:xfrm>
        </p:grpSpPr>
        <p:sp>
          <p:nvSpPr>
            <p:cNvPr id="66" name="Oval 50"/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67" name="Freeform 51"/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2717948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0704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04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3760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43188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537" name="think-cell Slide" r:id="rId7" imgW="327" imgH="327" progId="TCLayout.ActiveDocument.1">
                  <p:embed/>
                </p:oleObj>
              </mc:Choice>
              <mc:Fallback>
                <p:oleObj name="think-cell Slide" r:id="rId7" imgW="327" imgH="32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cxnSp>
        <p:nvCxnSpPr>
          <p:cNvPr id="17" name="Straight Connector 16"/>
          <p:cNvCxnSpPr/>
          <p:nvPr/>
        </p:nvCxnSpPr>
        <p:spPr>
          <a:xfrm>
            <a:off x="-132080" y="2711523"/>
            <a:ext cx="12537440" cy="0"/>
          </a:xfrm>
          <a:prstGeom prst="line">
            <a:avLst/>
          </a:prstGeom>
          <a:ln w="1905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87798"/>
          </a:xfrm>
        </p:spPr>
        <p:txBody>
          <a:bodyPr/>
          <a:lstStyle/>
          <a:p>
            <a:r>
              <a:rPr lang="en-US" sz="2800" dirty="0"/>
              <a:t>Chicago </a:t>
            </a:r>
            <a:r>
              <a:rPr lang="en-US" sz="2800" dirty="0" smtClean="0"/>
              <a:t>HAS TIER 1 innovation </a:t>
            </a:r>
            <a:r>
              <a:rPr lang="en-US" sz="2800" dirty="0" err="1" smtClean="0"/>
              <a:t>ASSETs</a:t>
            </a:r>
            <a:r>
              <a:rPr lang="en-US" sz="2800" dirty="0" smtClean="0"/>
              <a:t>…</a:t>
            </a:r>
            <a:endParaRPr lang="en-US" sz="2800" dirty="0"/>
          </a:p>
        </p:txBody>
      </p:sp>
      <p:sp>
        <p:nvSpPr>
          <p:cNvPr id="15" name="ee4pFootnotes"/>
          <p:cNvSpPr>
            <a:spLocks noChangeArrowheads="1"/>
          </p:cNvSpPr>
          <p:nvPr/>
        </p:nvSpPr>
        <p:spPr bwMode="auto">
          <a:xfrm>
            <a:off x="629999" y="6282941"/>
            <a:ext cx="10130766" cy="2769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latin typeface="Trebuchet MS" panose="020B0603020202020204" pitchFamily="34" charset="0"/>
                <a:cs typeface="Arial" panose="020B0604020202020204" pitchFamily="34" charset="0"/>
              </a:rPr>
              <a:t>1.</a:t>
            </a:r>
            <a:r>
              <a:rPr lang="en-US" sz="1000" dirty="0">
                <a:latin typeface="Trebuchet MS" panose="020B0603020202020204" pitchFamily="34" charset="0"/>
              </a:rPr>
              <a:t> ChicagoNEXT, Carnegie Foundation Classification of Institutions of Higher Education, 2018;</a:t>
            </a:r>
            <a:r>
              <a:rPr lang="en-US" sz="1000" dirty="0">
                <a:latin typeface="Trebuchet MS" panose="020B0603020202020204" pitchFamily="34" charset="0"/>
                <a:cs typeface="Arial" panose="020B0604020202020204" pitchFamily="34" charset="0"/>
              </a:rPr>
              <a:t> Illinois Innovation Index: Talent Index, Fall 2017; 2. OAG Megahubs International Index, 2018;  3. </a:t>
            </a:r>
            <a:r>
              <a:rPr lang="en-US" sz="1000" dirty="0">
                <a:latin typeface="Trebuchet MS" panose="020B0603020202020204" pitchFamily="34" charset="0"/>
              </a:rPr>
              <a:t>Fortune, 2018;  </a:t>
            </a:r>
            <a:r>
              <a:rPr lang="en-US" sz="1000" dirty="0">
                <a:latin typeface="Trebuchet MS" panose="020B0603020202020204" pitchFamily="34" charset="0"/>
                <a:cs typeface="Arial" panose="020B0604020202020204" pitchFamily="34" charset="0"/>
              </a:rPr>
              <a:t>4. Inc Magazine, Why this Midwestern City has the Highest Concentration of Women Entrepreneurs in America, 2018; 5. ChicagoNEXT, 2018</a:t>
            </a:r>
            <a:endParaRPr lang="en-US" sz="1000" dirty="0">
              <a:latin typeface="Trebuchet MS" panose="020B0603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12F3DBC9-1FE4-49AE-9763-AC7D3D22AB03}"/>
              </a:ext>
            </a:extLst>
          </p:cNvPr>
          <p:cNvSpPr/>
          <p:nvPr/>
        </p:nvSpPr>
        <p:spPr>
          <a:xfrm>
            <a:off x="7376356" y="3741297"/>
            <a:ext cx="1947672" cy="892552"/>
          </a:xfrm>
          <a:prstGeom prst="rect">
            <a:avLst/>
          </a:prstGeom>
          <a:noFill/>
          <a:ln w="19050" cap="flat" cmpd="sng" algn="ctr">
            <a:noFill/>
            <a:prstDash val="sysDot"/>
            <a:headEnd type="none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BBEE"/>
                </a:solidFill>
              </a14:hiddenFill>
            </a:ext>
          </a:extLst>
        </p:spPr>
        <p:txBody>
          <a:bodyPr lIns="0" rIns="0" rtlCol="0" anchor="t" anchorCtr="0">
            <a:spAutoFit/>
          </a:bodyPr>
          <a:lstStyle/>
          <a:p>
            <a:pPr algn="ctr" defTabSz="914466">
              <a:buSzPct val="100000"/>
              <a:buFont typeface="Trebuchet MS" panose="020B0603020202020204" pitchFamily="34" charset="0"/>
              <a:buChar char="​"/>
              <a:defRPr/>
            </a:pPr>
            <a:endParaRPr lang="en-US" dirty="0">
              <a:solidFill>
                <a:schemeClr val="tx1">
                  <a:lumMod val="100000"/>
                </a:schemeClr>
              </a:solidFill>
            </a:endParaRPr>
          </a:p>
          <a:p>
            <a:pPr algn="ctr" defTabSz="914466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</a:rPr>
              <a:t>#1 of major US cities</a:t>
            </a:r>
            <a:r>
              <a:rPr lang="en-US" sz="1400" baseline="30000" dirty="0">
                <a:solidFill>
                  <a:schemeClr val="tx1">
                    <a:lumMod val="100000"/>
                  </a:schemeClr>
                </a:solidFill>
              </a:rPr>
              <a:t>4</a:t>
            </a:r>
            <a:r>
              <a:rPr lang="en-US" sz="1400" dirty="0">
                <a:solidFill>
                  <a:schemeClr val="tx1">
                    <a:lumMod val="100000"/>
                  </a:schemeClr>
                </a:solidFill>
              </a:rPr>
              <a:t> </a:t>
            </a:r>
          </a:p>
          <a:p>
            <a:pPr marL="0" marR="0" lvl="0" indent="0" algn="ctr" defTabSz="91446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i="0" u="none" strike="noStrike" kern="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A90740AF-E30B-4750-916A-E04E0A842EF1}"/>
              </a:ext>
            </a:extLst>
          </p:cNvPr>
          <p:cNvSpPr/>
          <p:nvPr/>
        </p:nvSpPr>
        <p:spPr>
          <a:xfrm>
            <a:off x="2711365" y="3741297"/>
            <a:ext cx="2012771" cy="1446550"/>
          </a:xfrm>
          <a:prstGeom prst="rect">
            <a:avLst/>
          </a:prstGeom>
          <a:noFill/>
          <a:ln w="19050" cap="flat" cmpd="sng" algn="ctr">
            <a:noFill/>
            <a:prstDash val="sysDot"/>
            <a:headEnd type="none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BBEE"/>
                </a:solidFill>
              </a14:hiddenFill>
            </a:ext>
          </a:extLst>
        </p:spPr>
        <p:txBody>
          <a:bodyPr wrap="square" lIns="0" rIns="0" rtlCol="0" anchor="t" anchorCtr="0">
            <a:spAutoFit/>
          </a:bodyPr>
          <a:lstStyle/>
          <a:p>
            <a:pPr algn="ctr" defTabSz="914466">
              <a:buSzPct val="100000"/>
              <a:defRPr/>
            </a:pPr>
            <a:endParaRPr lang="en-US" dirty="0">
              <a:solidFill>
                <a:schemeClr val="tx1">
                  <a:lumMod val="100000"/>
                </a:schemeClr>
              </a:solidFill>
            </a:endParaRPr>
          </a:p>
          <a:p>
            <a:pPr algn="ctr" defTabSz="914466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</a:rPr>
              <a:t>#1 most connected airport in US</a:t>
            </a:r>
          </a:p>
          <a:p>
            <a:pPr algn="ctr" defTabSz="914466">
              <a:buSzPct val="100000"/>
              <a:buFont typeface="Trebuchet MS" panose="020B0603020202020204" pitchFamily="34" charset="0"/>
              <a:buChar char="​"/>
              <a:defRPr/>
            </a:pPr>
            <a:endParaRPr lang="en-US" sz="1400" dirty="0">
              <a:solidFill>
                <a:schemeClr val="tx1">
                  <a:lumMod val="100000"/>
                </a:schemeClr>
              </a:solidFill>
            </a:endParaRPr>
          </a:p>
          <a:p>
            <a:pPr algn="ctr" defTabSz="914466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</a:rPr>
              <a:t>#2 most connected</a:t>
            </a:r>
          </a:p>
          <a:p>
            <a:pPr algn="ctr" defTabSz="914466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</a:rPr>
              <a:t>airport in world</a:t>
            </a:r>
            <a:r>
              <a:rPr lang="en-US" sz="1400" baseline="30000" dirty="0">
                <a:solidFill>
                  <a:schemeClr val="tx1">
                    <a:lumMod val="100000"/>
                  </a:schemeClr>
                </a:solidFill>
              </a:rPr>
              <a:t>2</a:t>
            </a:r>
            <a:endParaRPr lang="en-US" sz="1050" baseline="3000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B9D67C3A-0B21-4FDD-9A0A-7DDBC12A9373}"/>
              </a:ext>
            </a:extLst>
          </p:cNvPr>
          <p:cNvSpPr/>
          <p:nvPr/>
        </p:nvSpPr>
        <p:spPr>
          <a:xfrm>
            <a:off x="5055482" y="3741297"/>
            <a:ext cx="1947672" cy="746358"/>
          </a:xfrm>
          <a:prstGeom prst="rect">
            <a:avLst/>
          </a:prstGeom>
          <a:noFill/>
          <a:ln w="19050" cap="flat" cmpd="sng" algn="ctr">
            <a:noFill/>
            <a:prstDash val="sysDot"/>
            <a:round/>
            <a:headEnd type="none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BBEE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rgbClr val="1F4174"/>
                </a:solidFill>
                <a:prstDash val="sysDot"/>
                <a:round/>
                <a:headEnd type="none" w="med" len="med"/>
                <a:tailEnd type="oval" w="med" len="med"/>
              </a14:hiddenLine>
            </a:ext>
          </a:extLst>
        </p:spPr>
        <p:txBody>
          <a:bodyPr lIns="0" rIns="0" rtlCol="0" anchor="t" anchorCtr="0">
            <a:spAutoFit/>
          </a:bodyPr>
          <a:lstStyle/>
          <a:p>
            <a:pPr algn="ctr" defTabSz="914466">
              <a:buSzPct val="100000"/>
              <a:defRPr/>
            </a:pPr>
            <a:endParaRPr kumimoji="0" lang="en-US" strike="noStrike" cap="none" normalizeH="0" baseline="0" noProof="0" dirty="0">
              <a:ln>
                <a:noFill/>
              </a:ln>
              <a:solidFill>
                <a:schemeClr val="tx1">
                  <a:lumMod val="100000"/>
                </a:schemeClr>
              </a:solidFill>
              <a:effectLst/>
              <a:uLnTx/>
              <a:uFillTx/>
            </a:endParaRPr>
          </a:p>
          <a:p>
            <a:pPr algn="ctr" defTabSz="914466">
              <a:buSzPct val="100000"/>
              <a:buFont typeface="Trebuchet MS" panose="020B0603020202020204" pitchFamily="34" charset="0"/>
              <a:buChar char="​"/>
              <a:defRPr/>
            </a:pPr>
            <a:r>
              <a:rPr kumimoji="0" lang="en-US" sz="1400" strike="noStrike" cap="none" normalizeH="0" baseline="0" noProof="0" dirty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</a:rPr>
              <a:t>#3 in US</a:t>
            </a:r>
            <a:r>
              <a:rPr lang="en-US" sz="1400" baseline="30000" noProof="0" dirty="0">
                <a:solidFill>
                  <a:schemeClr val="tx1">
                    <a:lumMod val="100000"/>
                  </a:schemeClr>
                </a:solidFill>
              </a:rPr>
              <a:t>3</a:t>
            </a:r>
            <a:r>
              <a:rPr kumimoji="0" lang="en-US" sz="1400" strike="noStrike" cap="none" normalizeH="0" baseline="0" noProof="0" dirty="0">
                <a:ln>
                  <a:noFill/>
                </a:ln>
                <a:solidFill>
                  <a:schemeClr val="tx1">
                    <a:lumMod val="100000"/>
                  </a:schemeClr>
                </a:solidFill>
                <a:effectLst/>
                <a:uLnTx/>
                <a:uFillTx/>
              </a:rPr>
              <a:t> </a:t>
            </a:r>
          </a:p>
          <a:p>
            <a:pPr algn="ctr" defTabSz="914466">
              <a:buSzPct val="100000"/>
              <a:buFont typeface="Trebuchet MS" panose="020B0603020202020204" pitchFamily="34" charset="0"/>
              <a:buChar char="​"/>
              <a:defRPr/>
            </a:pPr>
            <a:endParaRPr lang="en-US" sz="105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0182E0B2-B4FD-4888-83BC-B54B52FE6BB7}"/>
              </a:ext>
            </a:extLst>
          </p:cNvPr>
          <p:cNvSpPr/>
          <p:nvPr/>
        </p:nvSpPr>
        <p:spPr>
          <a:xfrm>
            <a:off x="228377" y="3741297"/>
            <a:ext cx="2306279" cy="984885"/>
          </a:xfrm>
          <a:prstGeom prst="rect">
            <a:avLst/>
          </a:prstGeom>
          <a:noFill/>
          <a:ln w="19050" cap="flat" cmpd="sng" algn="ctr">
            <a:noFill/>
            <a:prstDash val="sysDot"/>
            <a:headEnd type="none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BBEE"/>
                </a:solidFill>
              </a14:hiddenFill>
            </a:ext>
          </a:extLst>
        </p:spPr>
        <p:txBody>
          <a:bodyPr wrap="square" lIns="0" rIns="0" rtlCol="0" anchor="t" anchorCtr="0">
            <a:spAutoFit/>
          </a:bodyPr>
          <a:lstStyle/>
          <a:p>
            <a:pPr algn="ctr" defTabSz="914466">
              <a:buSzPct val="100000"/>
              <a:defRPr/>
            </a:pPr>
            <a:endParaRPr lang="en-US" dirty="0">
              <a:solidFill>
                <a:srgbClr val="1F4174"/>
              </a:solidFill>
            </a:endParaRPr>
          </a:p>
          <a:p>
            <a:pPr algn="ctr" defTabSz="914466">
              <a:buSzPct val="100000"/>
              <a:defRPr/>
            </a:pPr>
            <a:r>
              <a:rPr lang="en-US" sz="1400" dirty="0">
                <a:solidFill>
                  <a:schemeClr val="tx1">
                    <a:lumMod val="100000"/>
                  </a:schemeClr>
                </a:solidFill>
              </a:rPr>
              <a:t>1 of 4 US cities with three tier 1 research universities</a:t>
            </a:r>
            <a:r>
              <a:rPr lang="en-US" sz="1400" baseline="30000" dirty="0">
                <a:solidFill>
                  <a:schemeClr val="tx1">
                    <a:lumMod val="100000"/>
                  </a:schemeClr>
                </a:solidFill>
              </a:rPr>
              <a:t>1</a:t>
            </a:r>
            <a:r>
              <a:rPr lang="en-US" sz="1400" dirty="0">
                <a:solidFill>
                  <a:schemeClr val="tx1">
                    <a:lumMod val="100000"/>
                  </a:schemeClr>
                </a:solidFill>
              </a:rPr>
              <a:t> </a:t>
            </a:r>
            <a:r>
              <a:rPr lang="en-US" dirty="0">
                <a:solidFill>
                  <a:schemeClr val="tx1">
                    <a:lumMod val="100000"/>
                  </a:schemeClr>
                </a:solidFill>
              </a:rPr>
              <a:t/>
            </a:r>
            <a:br>
              <a:rPr lang="en-US" dirty="0">
                <a:solidFill>
                  <a:schemeClr val="tx1">
                    <a:lumMod val="100000"/>
                  </a:schemeClr>
                </a:solidFill>
              </a:rPr>
            </a:br>
            <a:endParaRPr lang="en-US" sz="12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3FF7F254-899C-4BFC-B812-419350C21739}"/>
              </a:ext>
            </a:extLst>
          </p:cNvPr>
          <p:cNvSpPr/>
          <p:nvPr/>
        </p:nvSpPr>
        <p:spPr>
          <a:xfrm>
            <a:off x="9697230" y="3741297"/>
            <a:ext cx="1947672" cy="1446550"/>
          </a:xfrm>
          <a:prstGeom prst="rect">
            <a:avLst/>
          </a:prstGeom>
          <a:noFill/>
          <a:ln w="19050" cap="flat" cmpd="sng" algn="ctr">
            <a:noFill/>
            <a:prstDash val="sysDot"/>
            <a:headEnd type="none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BBEE"/>
                </a:solidFill>
              </a14:hiddenFill>
            </a:ext>
          </a:extLst>
        </p:spPr>
        <p:txBody>
          <a:bodyPr lIns="0" rIns="0" rtlCol="0" anchor="t" anchorCtr="0">
            <a:spAutoFit/>
          </a:bodyPr>
          <a:lstStyle/>
          <a:p>
            <a:pPr algn="ctr" defTabSz="914466">
              <a:buSzPct val="100000"/>
              <a:defRPr/>
            </a:pPr>
            <a:endParaRPr lang="en-US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  <a:p>
            <a:pPr algn="ctr" defTabSz="914466">
              <a:buSzPct val="100000"/>
              <a:defRPr/>
            </a:pPr>
            <a:r>
              <a:rPr lang="en-US" sz="140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#1 University-affiliated Incubator in the world </a:t>
            </a:r>
          </a:p>
          <a:p>
            <a:pPr algn="ctr" defTabSz="914466">
              <a:buSzPct val="100000"/>
              <a:defRPr/>
            </a:pPr>
            <a:endParaRPr lang="en-US" sz="140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  <a:p>
            <a:pPr algn="ctr" defTabSz="914466">
              <a:buSzPct val="100000"/>
              <a:defRPr/>
            </a:pPr>
            <a:r>
              <a:rPr lang="en-US" sz="140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#4 </a:t>
            </a:r>
            <a:r>
              <a:rPr lang="en-US" sz="14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in US for number of accelerators (7)</a:t>
            </a:r>
            <a:r>
              <a:rPr lang="en-US" sz="1400" baseline="300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5</a:t>
            </a:r>
            <a:r>
              <a:rPr lang="en-US" sz="1400" dirty="0">
                <a:solidFill>
                  <a:schemeClr val="tx1">
                    <a:lumMod val="100000"/>
                  </a:schemeClr>
                </a:solidFill>
                <a:cs typeface="Arial" panose="020B0604020202020204" pitchFamily="34" charset="0"/>
              </a:rPr>
              <a:t> </a:t>
            </a:r>
            <a:endParaRPr lang="en-US" sz="1400" noProof="0" dirty="0">
              <a:solidFill>
                <a:schemeClr val="tx1">
                  <a:lumMod val="10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 rot="2700000">
            <a:off x="871843" y="2191913"/>
            <a:ext cx="1039221" cy="1039221"/>
          </a:xfrm>
          <a:prstGeom prst="rect">
            <a:avLst/>
          </a:prstGeom>
          <a:solidFill>
            <a:srgbClr val="FBFCFE"/>
          </a:solidFill>
          <a:ln w="1905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Rectangle 50"/>
          <p:cNvSpPr/>
          <p:nvPr/>
        </p:nvSpPr>
        <p:spPr>
          <a:xfrm rot="2700000">
            <a:off x="3198140" y="2191913"/>
            <a:ext cx="1039221" cy="1039221"/>
          </a:xfrm>
          <a:prstGeom prst="rect">
            <a:avLst/>
          </a:prstGeom>
          <a:solidFill>
            <a:srgbClr val="FBFCFE"/>
          </a:solidFill>
          <a:ln w="1905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Rectangle 51"/>
          <p:cNvSpPr/>
          <p:nvPr/>
        </p:nvSpPr>
        <p:spPr>
          <a:xfrm rot="2700000">
            <a:off x="5506665" y="2191913"/>
            <a:ext cx="1039221" cy="1039221"/>
          </a:xfrm>
          <a:prstGeom prst="rect">
            <a:avLst/>
          </a:prstGeom>
          <a:solidFill>
            <a:srgbClr val="FBFCFE"/>
          </a:solidFill>
          <a:ln w="1905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Rectangle 52"/>
          <p:cNvSpPr/>
          <p:nvPr/>
        </p:nvSpPr>
        <p:spPr>
          <a:xfrm rot="2700000">
            <a:off x="7824076" y="2191913"/>
            <a:ext cx="1039221" cy="1039221"/>
          </a:xfrm>
          <a:prstGeom prst="rect">
            <a:avLst/>
          </a:prstGeom>
          <a:solidFill>
            <a:srgbClr val="FBFCFE"/>
          </a:solidFill>
          <a:ln w="1905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Rectangle 53"/>
          <p:cNvSpPr/>
          <p:nvPr/>
        </p:nvSpPr>
        <p:spPr>
          <a:xfrm rot="2700000">
            <a:off x="10141487" y="2191913"/>
            <a:ext cx="1039221" cy="1039221"/>
          </a:xfrm>
          <a:prstGeom prst="rect">
            <a:avLst/>
          </a:prstGeom>
          <a:solidFill>
            <a:srgbClr val="FBFCFE"/>
          </a:solidFill>
          <a:ln w="1905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5" name="Picture 54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9964" y="2341761"/>
            <a:ext cx="680054" cy="682091"/>
          </a:xfrm>
          <a:prstGeom prst="rect">
            <a:avLst/>
          </a:prstGeom>
        </p:spPr>
      </p:pic>
      <p:pic>
        <p:nvPicPr>
          <p:cNvPr id="56" name="Picture 55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632"/>
          <a:stretch/>
        </p:blipFill>
        <p:spPr>
          <a:xfrm>
            <a:off x="3354992" y="2341761"/>
            <a:ext cx="723610" cy="726585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>
          <a:xfrm>
            <a:off x="10076031" y="2459454"/>
            <a:ext cx="125867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>
                <a:solidFill>
                  <a:srgbClr val="1F4174"/>
                </a:solidFill>
                <a:latin typeface="+mj-lt"/>
              </a:rPr>
              <a:t>100+ </a:t>
            </a:r>
            <a:endParaRPr lang="en-US" sz="2800" b="1" dirty="0">
              <a:latin typeface="+mj-lt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-42372" y="3497088"/>
            <a:ext cx="286765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66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sz="1400" dirty="0">
                <a:solidFill>
                  <a:srgbClr val="1F4174"/>
                </a:solidFill>
                <a:latin typeface="+mj-lt"/>
              </a:rPr>
              <a:t>WORLD-CLASS HIGHER EDUCATION ASSETS</a:t>
            </a:r>
            <a:endParaRPr lang="en-US" sz="1400" baseline="30000" dirty="0">
              <a:solidFill>
                <a:srgbClr val="1F4174"/>
              </a:solidFill>
              <a:latin typeface="+mj-l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2744778" y="3520604"/>
            <a:ext cx="194594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66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sz="1400" dirty="0">
                <a:solidFill>
                  <a:srgbClr val="1F4174"/>
                </a:solidFill>
                <a:latin typeface="+mj-lt"/>
              </a:rPr>
              <a:t>O’HARE INT'L</a:t>
            </a:r>
          </a:p>
          <a:p>
            <a:pPr algn="ctr" defTabSz="914466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sz="1400" dirty="0">
                <a:solidFill>
                  <a:srgbClr val="1F4174"/>
                </a:solidFill>
                <a:latin typeface="+mj-lt"/>
              </a:rPr>
              <a:t>AIRPORT</a:t>
            </a:r>
          </a:p>
        </p:txBody>
      </p:sp>
      <p:sp>
        <p:nvSpPr>
          <p:cNvPr id="22" name="Rectangle 21"/>
          <p:cNvSpPr/>
          <p:nvPr/>
        </p:nvSpPr>
        <p:spPr>
          <a:xfrm>
            <a:off x="4859648" y="3474220"/>
            <a:ext cx="225144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66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sz="1400" b="1" dirty="0">
                <a:solidFill>
                  <a:srgbClr val="1F4174"/>
                </a:solidFill>
                <a:latin typeface="+mj-lt"/>
              </a:rPr>
              <a:t>35 FORTUNE 500 HEADQUARTERS</a:t>
            </a:r>
          </a:p>
        </p:txBody>
      </p:sp>
      <p:sp>
        <p:nvSpPr>
          <p:cNvPr id="23" name="Rectangle 22"/>
          <p:cNvSpPr/>
          <p:nvPr/>
        </p:nvSpPr>
        <p:spPr>
          <a:xfrm>
            <a:off x="7143267" y="3520604"/>
            <a:ext cx="240083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66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sz="1400" b="1" dirty="0">
                <a:solidFill>
                  <a:srgbClr val="1F4174"/>
                </a:solidFill>
                <a:latin typeface="+mj-lt"/>
              </a:rPr>
              <a:t>34% OF STARTUPS ARE WOMEN-OWNED</a:t>
            </a:r>
          </a:p>
        </p:txBody>
      </p:sp>
      <p:pic>
        <p:nvPicPr>
          <p:cNvPr id="57" name="Picture 56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3331" y="2422057"/>
            <a:ext cx="780710" cy="578932"/>
          </a:xfrm>
          <a:prstGeom prst="rect">
            <a:avLst/>
          </a:prstGeom>
        </p:spPr>
      </p:pic>
      <p:sp>
        <p:nvSpPr>
          <p:cNvPr id="24" name="Rectangle 23"/>
          <p:cNvSpPr/>
          <p:nvPr/>
        </p:nvSpPr>
        <p:spPr>
          <a:xfrm>
            <a:off x="9361916" y="3498374"/>
            <a:ext cx="259836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66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sz="1400" b="1" dirty="0">
                <a:solidFill>
                  <a:srgbClr val="1F4174"/>
                </a:solidFill>
                <a:latin typeface="+mj-lt"/>
              </a:rPr>
              <a:t>100+ </a:t>
            </a:r>
            <a:r>
              <a:rPr lang="en-US" sz="1400" b="1" dirty="0">
                <a:solidFill>
                  <a:srgbClr val="1F4174"/>
                </a:solidFill>
                <a:latin typeface="+mj-lt"/>
                <a:cs typeface="Arial" panose="020B0604020202020204" pitchFamily="34" charset="0"/>
              </a:rPr>
              <a:t>INCUBATORS</a:t>
            </a:r>
            <a:br>
              <a:rPr lang="en-US" sz="1400" b="1" dirty="0">
                <a:solidFill>
                  <a:srgbClr val="1F4174"/>
                </a:solidFill>
                <a:latin typeface="+mj-lt"/>
                <a:cs typeface="Arial" panose="020B0604020202020204" pitchFamily="34" charset="0"/>
              </a:rPr>
            </a:br>
            <a:r>
              <a:rPr lang="en-US" sz="1400" b="1" dirty="0">
                <a:solidFill>
                  <a:srgbClr val="1F4174"/>
                </a:solidFill>
                <a:latin typeface="+mj-lt"/>
                <a:cs typeface="Arial" panose="020B0604020202020204" pitchFamily="34" charset="0"/>
              </a:rPr>
              <a:t>AND ACCELERATORS</a:t>
            </a:r>
            <a:endParaRPr lang="en-US" sz="1400" b="1" baseline="30000" dirty="0">
              <a:solidFill>
                <a:schemeClr val="tx1">
                  <a:lumMod val="10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585" y="2172291"/>
            <a:ext cx="726298" cy="840431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297773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43652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61" name="think-cell Slide" r:id="rId5" imgW="424" imgH="424" progId="TCLayout.ActiveDocument.1">
                  <p:embed/>
                </p:oleObj>
              </mc:Choice>
              <mc:Fallback>
                <p:oleObj name="think-cell Slide" r:id="rId5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 err="1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87798"/>
          </a:xfrm>
        </p:spPr>
        <p:txBody>
          <a:bodyPr/>
          <a:lstStyle/>
          <a:p>
            <a:r>
              <a:rPr lang="en-US" sz="2800" dirty="0" smtClean="0"/>
              <a:t>…HOWEVER, WE have Tier 2 outcomes</a:t>
            </a:r>
            <a:endParaRPr lang="en-US" sz="2800" dirty="0"/>
          </a:p>
        </p:txBody>
      </p:sp>
      <p:pic>
        <p:nvPicPr>
          <p:cNvPr id="38" name="Picture 3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5742" y="2056388"/>
            <a:ext cx="2663607" cy="1677595"/>
          </a:xfrm>
          <a:prstGeom prst="rect">
            <a:avLst/>
          </a:prstGeom>
        </p:spPr>
      </p:pic>
      <p:grpSp>
        <p:nvGrpSpPr>
          <p:cNvPr id="47" name="Group 46"/>
          <p:cNvGrpSpPr/>
          <p:nvPr/>
        </p:nvGrpSpPr>
        <p:grpSpPr>
          <a:xfrm>
            <a:off x="9385797" y="2439797"/>
            <a:ext cx="2242665" cy="844341"/>
            <a:chOff x="3997268" y="4491163"/>
            <a:chExt cx="2242665" cy="844341"/>
          </a:xfrm>
        </p:grpSpPr>
        <p:sp>
          <p:nvSpPr>
            <p:cNvPr id="6" name="Rectangle 5"/>
            <p:cNvSpPr/>
            <p:nvPr/>
          </p:nvSpPr>
          <p:spPr>
            <a:xfrm>
              <a:off x="3997268" y="4491163"/>
              <a:ext cx="956993" cy="369332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/>
            <a:p>
              <a:pPr algn="ctr">
                <a:buSzPct val="100000"/>
                <a:buFont typeface="Trebuchet MS" panose="020B0603020202020204" pitchFamily="34" charset="0"/>
                <a:buChar char="​"/>
              </a:pPr>
              <a:r>
                <a:rPr lang="en-US" sz="2400" b="1" dirty="0">
                  <a:solidFill>
                    <a:schemeClr val="tx2"/>
                  </a:solidFill>
                  <a:latin typeface="+mj-lt"/>
                </a:rPr>
                <a:t>$5.6B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4076596" y="4843061"/>
              <a:ext cx="2163337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>
                <a:buSzPct val="100000"/>
                <a:buFont typeface="Trebuchet MS" panose="020B0603020202020204" pitchFamily="34" charset="0"/>
                <a:buChar char="​"/>
              </a:pPr>
              <a:r>
                <a:rPr lang="en-US" sz="1600" dirty="0">
                  <a:solidFill>
                    <a:schemeClr val="tx2"/>
                  </a:solidFill>
                </a:rPr>
                <a:t>VC FUNDS IN CHICAGO STARTUPS</a:t>
              </a:r>
            </a:p>
          </p:txBody>
        </p:sp>
      </p:grpSp>
      <p:cxnSp>
        <p:nvCxnSpPr>
          <p:cNvPr id="21" name="Straight Connector 20"/>
          <p:cNvCxnSpPr/>
          <p:nvPr/>
        </p:nvCxnSpPr>
        <p:spPr>
          <a:xfrm>
            <a:off x="6096000" y="1933360"/>
            <a:ext cx="0" cy="3857840"/>
          </a:xfrm>
          <a:prstGeom prst="line">
            <a:avLst/>
          </a:prstGeom>
          <a:ln w="19050" cap="sq">
            <a:solidFill>
              <a:schemeClr val="tx2"/>
            </a:solidFill>
            <a:prstDash val="solid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Footnotes"/>
          <p:cNvSpPr>
            <a:spLocks noChangeArrowheads="1"/>
          </p:cNvSpPr>
          <p:nvPr/>
        </p:nvSpPr>
        <p:spPr bwMode="auto">
          <a:xfrm>
            <a:off x="630000" y="6282941"/>
            <a:ext cx="9030914" cy="2769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latin typeface="Trebuchet MS" panose="020B0603020202020204" pitchFamily="34" charset="0"/>
                <a:cs typeface="Arial" pitchFamily="34" charset="0"/>
              </a:rPr>
              <a:t>Source</a:t>
            </a:r>
            <a:r>
              <a:rPr lang="en-US" sz="1000" dirty="0">
                <a:latin typeface="Trebuchet MS" panose="020B0603020202020204" pitchFamily="34" charset="0"/>
              </a:rPr>
              <a:t>: Moretti, Enrico – The New Geography of Jobs; Brookings – Opportunity for growth: How reducing barriers to economic inclusion can benefit workers, firms, and local economies; Brookings – Digitalization and the American Workforce; Brookings – Tech in metros: The strong are getting stronger</a:t>
            </a:r>
          </a:p>
        </p:txBody>
      </p:sp>
      <p:pic>
        <p:nvPicPr>
          <p:cNvPr id="36" name="Picture 3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534" y="2056388"/>
            <a:ext cx="2663607" cy="1677595"/>
          </a:xfrm>
          <a:prstGeom prst="rect">
            <a:avLst/>
          </a:prstGeom>
        </p:spPr>
      </p:pic>
      <p:grpSp>
        <p:nvGrpSpPr>
          <p:cNvPr id="45" name="Group 44"/>
          <p:cNvGrpSpPr/>
          <p:nvPr/>
        </p:nvGrpSpPr>
        <p:grpSpPr>
          <a:xfrm>
            <a:off x="3492483" y="2571218"/>
            <a:ext cx="2176700" cy="607112"/>
            <a:chOff x="3771503" y="2133401"/>
            <a:chExt cx="2176700" cy="607112"/>
          </a:xfrm>
        </p:grpSpPr>
        <p:sp>
          <p:nvSpPr>
            <p:cNvPr id="8" name="Rectangle 7"/>
            <p:cNvSpPr/>
            <p:nvPr/>
          </p:nvSpPr>
          <p:spPr>
            <a:xfrm>
              <a:off x="3774015" y="2133401"/>
              <a:ext cx="872035" cy="369332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/>
            <a:p>
              <a:pPr>
                <a:buSzPct val="100000"/>
                <a:buFont typeface="Trebuchet MS" panose="020B0603020202020204" pitchFamily="34" charset="0"/>
                <a:buChar char="​"/>
              </a:pPr>
              <a:r>
                <a:rPr lang="en-US" sz="2400" b="1" dirty="0">
                  <a:solidFill>
                    <a:schemeClr val="tx2"/>
                  </a:solidFill>
                  <a:latin typeface="+mj-lt"/>
                </a:rPr>
                <a:t>241K</a:t>
              </a: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3771503" y="2494292"/>
              <a:ext cx="217670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>
                <a:buSzPct val="100000"/>
                <a:buFont typeface="Trebuchet MS" panose="020B0603020202020204" pitchFamily="34" charset="0"/>
                <a:buChar char="​"/>
              </a:pPr>
              <a:r>
                <a:rPr lang="en-US" sz="1600" dirty="0">
                  <a:solidFill>
                    <a:schemeClr val="tx2"/>
                  </a:solidFill>
                </a:rPr>
                <a:t>STEM WORKERS</a:t>
              </a:r>
            </a:p>
          </p:txBody>
        </p:sp>
      </p:grpSp>
      <p:sp>
        <p:nvSpPr>
          <p:cNvPr id="41" name="Rectangle 40"/>
          <p:cNvSpPr/>
          <p:nvPr/>
        </p:nvSpPr>
        <p:spPr>
          <a:xfrm>
            <a:off x="617861" y="2400690"/>
            <a:ext cx="2317249" cy="923330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lang="en-US" sz="6000" dirty="0">
                <a:solidFill>
                  <a:srgbClr val="91D7EC"/>
                </a:solidFill>
                <a:latin typeface="+mj-lt"/>
              </a:rPr>
              <a:t>#6</a:t>
            </a:r>
            <a:endParaRPr lang="en-US" sz="4000" dirty="0">
              <a:solidFill>
                <a:srgbClr val="91D7EC"/>
              </a:solidFill>
              <a:latin typeface="+mj-lt"/>
            </a:endParaRPr>
          </a:p>
        </p:txBody>
      </p:sp>
      <p:grpSp>
        <p:nvGrpSpPr>
          <p:cNvPr id="46" name="Group 45"/>
          <p:cNvGrpSpPr/>
          <p:nvPr/>
        </p:nvGrpSpPr>
        <p:grpSpPr>
          <a:xfrm>
            <a:off x="9385797" y="4455835"/>
            <a:ext cx="2192987" cy="646992"/>
            <a:chOff x="9527994" y="4491163"/>
            <a:chExt cx="2192987" cy="646992"/>
          </a:xfrm>
        </p:grpSpPr>
        <p:sp>
          <p:nvSpPr>
            <p:cNvPr id="14" name="Rectangle 13"/>
            <p:cNvSpPr/>
            <p:nvPr/>
          </p:nvSpPr>
          <p:spPr>
            <a:xfrm>
              <a:off x="9527994" y="4491163"/>
              <a:ext cx="956993" cy="369332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/>
            <a:p>
              <a:pPr>
                <a:buSzPct val="100000"/>
                <a:buFont typeface="Trebuchet MS" panose="020B0603020202020204" pitchFamily="34" charset="0"/>
                <a:buChar char="​"/>
              </a:pPr>
              <a:r>
                <a:rPr lang="en-US" sz="2400" dirty="0">
                  <a:solidFill>
                    <a:schemeClr val="tx2"/>
                  </a:solidFill>
                  <a:latin typeface="+mj-lt"/>
                </a:rPr>
                <a:t>$6.4B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9569593" y="4891934"/>
              <a:ext cx="2151388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>
                <a:buSzPct val="100000"/>
                <a:buFont typeface="Trebuchet MS" panose="020B0603020202020204" pitchFamily="34" charset="0"/>
                <a:buChar char="​"/>
              </a:pPr>
              <a:r>
                <a:rPr lang="en-US" sz="1600" dirty="0">
                  <a:solidFill>
                    <a:schemeClr val="tx2"/>
                  </a:solidFill>
                </a:rPr>
                <a:t>STARTUP VALUATION</a:t>
              </a:r>
            </a:p>
          </p:txBody>
        </p:sp>
      </p:grpSp>
      <p:pic>
        <p:nvPicPr>
          <p:cNvPr id="39" name="Picture 3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194" y="3957336"/>
            <a:ext cx="2663607" cy="1677595"/>
          </a:xfrm>
          <a:prstGeom prst="rect">
            <a:avLst/>
          </a:prstGeom>
        </p:spPr>
      </p:pic>
      <p:grpSp>
        <p:nvGrpSpPr>
          <p:cNvPr id="44" name="Group 43"/>
          <p:cNvGrpSpPr/>
          <p:nvPr/>
        </p:nvGrpSpPr>
        <p:grpSpPr>
          <a:xfrm>
            <a:off x="3492483" y="4383585"/>
            <a:ext cx="2293776" cy="887767"/>
            <a:chOff x="9185242" y="2043453"/>
            <a:chExt cx="2293776" cy="887767"/>
          </a:xfrm>
        </p:grpSpPr>
        <p:sp>
          <p:nvSpPr>
            <p:cNvPr id="22" name="Rectangle 21"/>
            <p:cNvSpPr/>
            <p:nvPr/>
          </p:nvSpPr>
          <p:spPr>
            <a:xfrm>
              <a:off x="9214668" y="2043453"/>
              <a:ext cx="769441" cy="369332"/>
            </a:xfrm>
            <a:prstGeom prst="rect">
              <a:avLst/>
            </a:prstGeom>
          </p:spPr>
          <p:txBody>
            <a:bodyPr wrap="none" lIns="0" tIns="0" rIns="0" bIns="0" anchor="ctr" anchorCtr="0">
              <a:spAutoFit/>
            </a:bodyPr>
            <a:lstStyle/>
            <a:p>
              <a:pPr>
                <a:buSzPct val="100000"/>
                <a:buFont typeface="Trebuchet MS" panose="020B0603020202020204" pitchFamily="34" charset="0"/>
                <a:buChar char="​"/>
              </a:pPr>
              <a:r>
                <a:rPr lang="en-US" sz="2400" dirty="0">
                  <a:solidFill>
                    <a:schemeClr val="tx2"/>
                  </a:solidFill>
                  <a:latin typeface="+mj-lt"/>
                </a:rPr>
                <a:t>3.6K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9185242" y="2438777"/>
              <a:ext cx="2293776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>
                <a:buSzPct val="100000"/>
                <a:buFont typeface="Trebuchet MS" panose="020B0603020202020204" pitchFamily="34" charset="0"/>
                <a:buChar char="​"/>
              </a:pPr>
              <a:r>
                <a:rPr lang="en-US" sz="1600" dirty="0">
                  <a:solidFill>
                    <a:schemeClr val="tx2"/>
                  </a:solidFill>
                </a:rPr>
                <a:t>NEW STEM WORKERS PER YEAR</a:t>
              </a:r>
            </a:p>
          </p:txBody>
        </p:sp>
      </p:grpSp>
      <p:pic>
        <p:nvPicPr>
          <p:cNvPr id="40" name="Picture 3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534" y="3957336"/>
            <a:ext cx="2663607" cy="1677595"/>
          </a:xfrm>
          <a:prstGeom prst="rect">
            <a:avLst/>
          </a:prstGeom>
        </p:spPr>
      </p:pic>
      <p:sp>
        <p:nvSpPr>
          <p:cNvPr id="52" name="Rectangle 51"/>
          <p:cNvSpPr/>
          <p:nvPr/>
        </p:nvSpPr>
        <p:spPr>
          <a:xfrm>
            <a:off x="594178" y="4355619"/>
            <a:ext cx="2317249" cy="923330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lang="en-US" sz="6000" dirty="0">
                <a:solidFill>
                  <a:srgbClr val="91D7EC"/>
                </a:solidFill>
                <a:latin typeface="+mj-lt"/>
              </a:rPr>
              <a:t>#10</a:t>
            </a:r>
            <a:endParaRPr lang="en-US" sz="4000" dirty="0">
              <a:solidFill>
                <a:srgbClr val="91D7EC"/>
              </a:solidFill>
              <a:latin typeface="+mj-lt"/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6480194" y="2400690"/>
            <a:ext cx="2317249" cy="923330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lang="en-US" sz="6000" dirty="0">
                <a:solidFill>
                  <a:srgbClr val="91D7EC"/>
                </a:solidFill>
                <a:latin typeface="+mj-lt"/>
              </a:rPr>
              <a:t>#8</a:t>
            </a:r>
            <a:endParaRPr lang="en-US" sz="4000" dirty="0">
              <a:solidFill>
                <a:srgbClr val="91D7EC"/>
              </a:solidFill>
              <a:latin typeface="+mj-lt"/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480194" y="4322627"/>
            <a:ext cx="2317249" cy="923330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lang="en-US" sz="6000" dirty="0">
                <a:solidFill>
                  <a:srgbClr val="91D7EC"/>
                </a:solidFill>
                <a:latin typeface="+mj-lt"/>
              </a:rPr>
              <a:t>#7</a:t>
            </a:r>
            <a:endParaRPr lang="en-US" sz="4000" dirty="0">
              <a:solidFill>
                <a:srgbClr val="91D7EC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841369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05" name="think-cell Slide" r:id="rId7" imgW="352" imgH="355" progId="TCLayout.ActiveDocument.1">
                  <p:embed/>
                </p:oleObj>
              </mc:Choice>
              <mc:Fallback>
                <p:oleObj name="think-cell Slide" r:id="rId7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dirty="0" smtClean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8137961"/>
          </a:xfrm>
          <a:prstGeom prst="rect">
            <a:avLst/>
          </a:prstGeom>
        </p:spPr>
      </p:pic>
      <p:sp>
        <p:nvSpPr>
          <p:cNvPr id="10" name="Overlay"/>
          <p:cNvSpPr/>
          <p:nvPr>
            <p:custDataLst>
              <p:tags r:id="rId4"/>
            </p:custDataLst>
          </p:nvPr>
        </p:nvSpPr>
        <p:spPr>
          <a:xfrm>
            <a:off x="0" y="0"/>
            <a:ext cx="12192000" cy="8137961"/>
          </a:xfrm>
          <a:prstGeom prst="rect">
            <a:avLst/>
          </a:prstGeom>
          <a:solidFill>
            <a:srgbClr val="000000">
              <a:alpha val="4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 smtClean="0">
              <a:solidFill>
                <a:schemeClr val="bg1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28650" y="2823810"/>
            <a:ext cx="11811284" cy="2686889"/>
          </a:xfrm>
        </p:spPr>
        <p:txBody>
          <a:bodyPr/>
          <a:lstStyle/>
          <a:p>
            <a:r>
              <a:rPr lang="en-US" sz="5000" dirty="0" smtClean="0">
                <a:solidFill>
                  <a:srgbClr val="B7E1EE"/>
                </a:solidFill>
              </a:rPr>
              <a:t>P33's mission</a:t>
            </a:r>
            <a:r>
              <a:rPr lang="en-US" sz="4400" dirty="0" smtClean="0">
                <a:solidFill>
                  <a:srgbClr val="B7E1EE"/>
                </a:solidFill>
              </a:rPr>
              <a:t/>
            </a:r>
            <a:br>
              <a:rPr lang="en-US" sz="4400" dirty="0" smtClean="0">
                <a:solidFill>
                  <a:srgbClr val="B7E1EE"/>
                </a:solidFill>
              </a:rPr>
            </a:br>
            <a:r>
              <a:rPr lang="en-US" sz="3600" dirty="0" smtClean="0">
                <a:solidFill>
                  <a:srgbClr val="B7E1EE"/>
                </a:solidFill>
              </a:rPr>
              <a:t/>
            </a:r>
            <a:br>
              <a:rPr lang="en-US" sz="3600" dirty="0" smtClean="0">
                <a:solidFill>
                  <a:srgbClr val="B7E1EE"/>
                </a:solidFill>
              </a:rPr>
            </a:br>
            <a:r>
              <a:rPr lang="en-US" sz="3600" dirty="0" smtClean="0">
                <a:solidFill>
                  <a:srgbClr val="B7E1EE"/>
                </a:solidFill>
              </a:rPr>
              <a:t>Transform Chicago into a tier one INNOVATION hub and promote inclusive economic growth</a:t>
            </a:r>
            <a:endParaRPr lang="en-US" sz="3600" dirty="0">
              <a:solidFill>
                <a:srgbClr val="B7E1EE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628650" y="3713297"/>
            <a:ext cx="10934700" cy="0"/>
          </a:xfrm>
          <a:prstGeom prst="line">
            <a:avLst/>
          </a:prstGeom>
          <a:ln w="9525" cap="rnd" cmpd="sng" algn="ctr">
            <a:solidFill>
              <a:srgbClr val="B7E1E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19229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29" name="think-cell Slide" r:id="rId5" imgW="424" imgH="424" progId="TCLayout.ActiveDocument.1">
                  <p:embed/>
                </p:oleObj>
              </mc:Choice>
              <mc:Fallback>
                <p:oleObj name="think-cell Slide" r:id="rId5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 err="1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Rectangle: Rounded Corners 1">
            <a:extLst>
              <a:ext uri="{FF2B5EF4-FFF2-40B4-BE49-F238E27FC236}">
                <a16:creationId xmlns="" xmlns:a16="http://schemas.microsoft.com/office/drawing/2014/main" id="{B9E5DC53-27BD-4387-81A8-B617FB13841F}"/>
              </a:ext>
            </a:extLst>
          </p:cNvPr>
          <p:cNvSpPr/>
          <p:nvPr/>
        </p:nvSpPr>
        <p:spPr>
          <a:xfrm>
            <a:off x="572225" y="5866925"/>
            <a:ext cx="11047549" cy="920012"/>
          </a:xfrm>
          <a:prstGeom prst="rect">
            <a:avLst/>
          </a:prstGeom>
          <a:solidFill>
            <a:srgbClr val="FFFFFF">
              <a:alpha val="36000"/>
            </a:srgbClr>
          </a:solidFill>
          <a:ln w="19050">
            <a:solidFill>
              <a:schemeClr val="tx2"/>
            </a:solidFill>
            <a:prstDash val="solid"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8522" tIns="29261" rIns="58522" bIns="29261" rtlCol="0" anchor="ctr"/>
          <a:lstStyle/>
          <a:p>
            <a:pPr algn="ctr"/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775597"/>
          </a:xfrm>
        </p:spPr>
        <p:txBody>
          <a:bodyPr/>
          <a:lstStyle/>
          <a:p>
            <a:r>
              <a:rPr lang="en-US" sz="2800" dirty="0"/>
              <a:t>BY EXECUTING three core Objectives, together, we can lead Chicago into its next chapter</a:t>
            </a:r>
          </a:p>
        </p:txBody>
      </p:sp>
      <p:sp>
        <p:nvSpPr>
          <p:cNvPr id="6" name="Rectangle 5"/>
          <p:cNvSpPr/>
          <p:nvPr/>
        </p:nvSpPr>
        <p:spPr>
          <a:xfrm>
            <a:off x="1347001" y="3022231"/>
            <a:ext cx="2788920" cy="1077218"/>
          </a:xfrm>
          <a:prstGeom prst="rect">
            <a:avLst/>
          </a:prstGeom>
        </p:spPr>
        <p:txBody>
          <a:bodyPr wrap="square" lIns="0" rIns="91440">
            <a:spAutoFit/>
          </a:bodyPr>
          <a:lstStyle/>
          <a:p>
            <a:pPr marR="0" lvl="1" algn="ctr">
              <a:spcBef>
                <a:spcPts val="0"/>
              </a:spcBef>
              <a:spcAft>
                <a:spcPts val="0"/>
              </a:spcAft>
            </a:pPr>
            <a:endParaRPr lang="en-US" sz="1600" dirty="0">
              <a:latin typeface="+mj-lt"/>
            </a:endParaRPr>
          </a:p>
          <a:p>
            <a:pPr marL="162000" lvl="1" algn="ctr">
              <a:buClr>
                <a:srgbClr val="1F4174">
                  <a:lumMod val="100000"/>
                </a:srgbClr>
              </a:buClr>
              <a:buSzPct val="100000"/>
            </a:pPr>
            <a:r>
              <a:rPr lang="en-US" sz="1600" dirty="0">
                <a:latin typeface="+mj-lt"/>
              </a:rPr>
              <a:t>DRIVING CLUSTER COMMERCIALIZATION</a:t>
            </a:r>
          </a:p>
          <a:p>
            <a:pPr marL="486000" lvl="1" indent="-324000" algn="ctr">
              <a:buClr>
                <a:srgbClr val="1F4174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endParaRPr lang="en-US" sz="1600" dirty="0">
              <a:latin typeface="+mj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05058" y="6065321"/>
            <a:ext cx="1198188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algn="ctr">
              <a:spcBef>
                <a:spcPts val="0"/>
              </a:spcBef>
              <a:spcAft>
                <a:spcPts val="0"/>
              </a:spcAft>
            </a:pPr>
            <a:r>
              <a:rPr lang="en-US" sz="2800" b="1" dirty="0">
                <a:solidFill>
                  <a:srgbClr val="1F4174"/>
                </a:solidFill>
                <a:latin typeface="+mj-lt"/>
              </a:rPr>
              <a:t>NOW IS THE TIME TO MOVE</a:t>
            </a:r>
          </a:p>
        </p:txBody>
      </p:sp>
      <p:sp>
        <p:nvSpPr>
          <p:cNvPr id="9" name="Rectangle 8"/>
          <p:cNvSpPr/>
          <p:nvPr/>
        </p:nvSpPr>
        <p:spPr>
          <a:xfrm>
            <a:off x="8927061" y="3206897"/>
            <a:ext cx="254766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62000" lvl="1" algn="ctr">
              <a:buClr>
                <a:srgbClr val="1F4174">
                  <a:lumMod val="100000"/>
                </a:srgbClr>
              </a:buClr>
              <a:buSzPct val="100000"/>
            </a:pPr>
            <a:r>
              <a:rPr lang="en-US" sz="1600" dirty="0">
                <a:latin typeface="+mj-lt"/>
              </a:rPr>
              <a:t>TELLING CHICAGO'S STORY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960131" y="3206897"/>
            <a:ext cx="3017520" cy="830997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162000" lvl="1" algn="ctr">
              <a:buClr>
                <a:srgbClr val="1F4174">
                  <a:lumMod val="100000"/>
                </a:srgbClr>
              </a:buClr>
              <a:buSzPct val="100000"/>
            </a:pPr>
            <a:r>
              <a:rPr lang="en-US" sz="1600" dirty="0">
                <a:latin typeface="+mj-lt"/>
              </a:rPr>
              <a:t>SUPPORTING INCLUSIVE WORKFORCE DEVELOPMENT</a:t>
            </a:r>
          </a:p>
        </p:txBody>
      </p:sp>
      <p:grpSp>
        <p:nvGrpSpPr>
          <p:cNvPr id="30" name="Group 19">
            <a:extLst>
              <a:ext uri="{FF2B5EF4-FFF2-40B4-BE49-F238E27FC236}">
                <a16:creationId xmlns="" xmlns:a16="http://schemas.microsoft.com/office/drawing/2014/main" id="{B2BDCBC9-AD64-46C7-9C25-7BE4D612758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83502" y="2108053"/>
            <a:ext cx="1170778" cy="1171862"/>
            <a:chOff x="1682" y="0"/>
            <a:chExt cx="4316" cy="4320"/>
          </a:xfrm>
        </p:grpSpPr>
        <p:sp>
          <p:nvSpPr>
            <p:cNvPr id="31" name="AutoShape 18">
              <a:extLst>
                <a:ext uri="{FF2B5EF4-FFF2-40B4-BE49-F238E27FC236}">
                  <a16:creationId xmlns="" xmlns:a16="http://schemas.microsoft.com/office/drawing/2014/main" id="{D66828EB-2B5A-4B7C-B5FE-ED4AA9BC1D8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200" tIns="38100" rIns="76200" bIns="38100" numCol="1" anchor="t" anchorCtr="0" compatLnSpc="1">
              <a:prstTxWarp prst="textNoShape">
                <a:avLst/>
              </a:prstTxWarp>
            </a:bodyPr>
            <a:lstStyle/>
            <a:p>
              <a:endParaRPr lang="en-US" sz="1500" dirty="0"/>
            </a:p>
          </p:txBody>
        </p:sp>
        <p:sp>
          <p:nvSpPr>
            <p:cNvPr id="32" name="Freeform 20">
              <a:extLst>
                <a:ext uri="{FF2B5EF4-FFF2-40B4-BE49-F238E27FC236}">
                  <a16:creationId xmlns="" xmlns:a16="http://schemas.microsoft.com/office/drawing/2014/main" id="{9A4C7BA0-0AAF-4521-8F78-FD6D83AF25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54" y="1273"/>
              <a:ext cx="2772" cy="2548"/>
            </a:xfrm>
            <a:custGeom>
              <a:avLst/>
              <a:gdLst>
                <a:gd name="T0" fmla="*/ 1125 w 1480"/>
                <a:gd name="T1" fmla="*/ 456 h 1359"/>
                <a:gd name="T2" fmla="*/ 1152 w 1480"/>
                <a:gd name="T3" fmla="*/ 539 h 1359"/>
                <a:gd name="T4" fmla="*/ 1036 w 1480"/>
                <a:gd name="T5" fmla="*/ 573 h 1359"/>
                <a:gd name="T6" fmla="*/ 577 w 1480"/>
                <a:gd name="T7" fmla="*/ 301 h 1359"/>
                <a:gd name="T8" fmla="*/ 540 w 1480"/>
                <a:gd name="T9" fmla="*/ 323 h 1359"/>
                <a:gd name="T10" fmla="*/ 391 w 1480"/>
                <a:gd name="T11" fmla="*/ 541 h 1359"/>
                <a:gd name="T12" fmla="*/ 370 w 1480"/>
                <a:gd name="T13" fmla="*/ 384 h 1359"/>
                <a:gd name="T14" fmla="*/ 748 w 1480"/>
                <a:gd name="T15" fmla="*/ 0 h 1359"/>
                <a:gd name="T16" fmla="*/ 1126 w 1480"/>
                <a:gd name="T17" fmla="*/ 384 h 1359"/>
                <a:gd name="T18" fmla="*/ 1125 w 1480"/>
                <a:gd name="T19" fmla="*/ 456 h 1359"/>
                <a:gd name="T20" fmla="*/ 745 w 1480"/>
                <a:gd name="T21" fmla="*/ 1212 h 1359"/>
                <a:gd name="T22" fmla="*/ 735 w 1480"/>
                <a:gd name="T23" fmla="*/ 1212 h 1359"/>
                <a:gd name="T24" fmla="*/ 501 w 1480"/>
                <a:gd name="T25" fmla="*/ 1021 h 1359"/>
                <a:gd name="T26" fmla="*/ 501 w 1480"/>
                <a:gd name="T27" fmla="*/ 1021 h 1359"/>
                <a:gd name="T28" fmla="*/ 183 w 1480"/>
                <a:gd name="T29" fmla="*/ 1075 h 1359"/>
                <a:gd name="T30" fmla="*/ 4 w 1480"/>
                <a:gd name="T31" fmla="*/ 1335 h 1359"/>
                <a:gd name="T32" fmla="*/ 21 w 1480"/>
                <a:gd name="T33" fmla="*/ 1359 h 1359"/>
                <a:gd name="T34" fmla="*/ 1459 w 1480"/>
                <a:gd name="T35" fmla="*/ 1359 h 1359"/>
                <a:gd name="T36" fmla="*/ 1476 w 1480"/>
                <a:gd name="T37" fmla="*/ 1335 h 1359"/>
                <a:gd name="T38" fmla="*/ 1297 w 1480"/>
                <a:gd name="T39" fmla="*/ 1075 h 1359"/>
                <a:gd name="T40" fmla="*/ 979 w 1480"/>
                <a:gd name="T41" fmla="*/ 1021 h 1359"/>
                <a:gd name="T42" fmla="*/ 979 w 1480"/>
                <a:gd name="T43" fmla="*/ 1021 h 1359"/>
                <a:gd name="T44" fmla="*/ 745 w 1480"/>
                <a:gd name="T45" fmla="*/ 1212 h 1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480" h="1359">
                  <a:moveTo>
                    <a:pt x="1125" y="456"/>
                  </a:moveTo>
                  <a:cubicBezTo>
                    <a:pt x="1123" y="476"/>
                    <a:pt x="1130" y="507"/>
                    <a:pt x="1152" y="539"/>
                  </a:cubicBezTo>
                  <a:cubicBezTo>
                    <a:pt x="1152" y="539"/>
                    <a:pt x="1074" y="594"/>
                    <a:pt x="1036" y="573"/>
                  </a:cubicBezTo>
                  <a:cubicBezTo>
                    <a:pt x="993" y="549"/>
                    <a:pt x="813" y="300"/>
                    <a:pt x="577" y="301"/>
                  </a:cubicBezTo>
                  <a:cubicBezTo>
                    <a:pt x="577" y="301"/>
                    <a:pt x="551" y="315"/>
                    <a:pt x="540" y="323"/>
                  </a:cubicBezTo>
                  <a:cubicBezTo>
                    <a:pt x="433" y="395"/>
                    <a:pt x="428" y="575"/>
                    <a:pt x="391" y="541"/>
                  </a:cubicBezTo>
                  <a:cubicBezTo>
                    <a:pt x="377" y="525"/>
                    <a:pt x="370" y="431"/>
                    <a:pt x="370" y="384"/>
                  </a:cubicBezTo>
                  <a:cubicBezTo>
                    <a:pt x="370" y="172"/>
                    <a:pt x="534" y="0"/>
                    <a:pt x="748" y="0"/>
                  </a:cubicBezTo>
                  <a:cubicBezTo>
                    <a:pt x="962" y="0"/>
                    <a:pt x="1126" y="172"/>
                    <a:pt x="1126" y="384"/>
                  </a:cubicBezTo>
                  <a:cubicBezTo>
                    <a:pt x="1126" y="409"/>
                    <a:pt x="1127" y="433"/>
                    <a:pt x="1125" y="456"/>
                  </a:cubicBezTo>
                  <a:close/>
                  <a:moveTo>
                    <a:pt x="745" y="1212"/>
                  </a:moveTo>
                  <a:cubicBezTo>
                    <a:pt x="742" y="1215"/>
                    <a:pt x="738" y="1215"/>
                    <a:pt x="735" y="1212"/>
                  </a:cubicBezTo>
                  <a:cubicBezTo>
                    <a:pt x="660" y="1152"/>
                    <a:pt x="501" y="1021"/>
                    <a:pt x="501" y="1021"/>
                  </a:cubicBezTo>
                  <a:cubicBezTo>
                    <a:pt x="501" y="1021"/>
                    <a:pt x="501" y="1021"/>
                    <a:pt x="501" y="1021"/>
                  </a:cubicBezTo>
                  <a:cubicBezTo>
                    <a:pt x="501" y="1021"/>
                    <a:pt x="294" y="1023"/>
                    <a:pt x="183" y="1075"/>
                  </a:cubicBezTo>
                  <a:cubicBezTo>
                    <a:pt x="93" y="1116"/>
                    <a:pt x="27" y="1274"/>
                    <a:pt x="4" y="1335"/>
                  </a:cubicBezTo>
                  <a:cubicBezTo>
                    <a:pt x="0" y="1346"/>
                    <a:pt x="9" y="1359"/>
                    <a:pt x="21" y="1359"/>
                  </a:cubicBezTo>
                  <a:cubicBezTo>
                    <a:pt x="1459" y="1359"/>
                    <a:pt x="1459" y="1359"/>
                    <a:pt x="1459" y="1359"/>
                  </a:cubicBezTo>
                  <a:cubicBezTo>
                    <a:pt x="1471" y="1359"/>
                    <a:pt x="1480" y="1346"/>
                    <a:pt x="1476" y="1335"/>
                  </a:cubicBezTo>
                  <a:cubicBezTo>
                    <a:pt x="1453" y="1274"/>
                    <a:pt x="1387" y="1116"/>
                    <a:pt x="1297" y="1075"/>
                  </a:cubicBezTo>
                  <a:cubicBezTo>
                    <a:pt x="1186" y="1023"/>
                    <a:pt x="979" y="1021"/>
                    <a:pt x="979" y="1021"/>
                  </a:cubicBezTo>
                  <a:cubicBezTo>
                    <a:pt x="979" y="1021"/>
                    <a:pt x="979" y="1021"/>
                    <a:pt x="979" y="1021"/>
                  </a:cubicBezTo>
                  <a:cubicBezTo>
                    <a:pt x="979" y="1021"/>
                    <a:pt x="847" y="1130"/>
                    <a:pt x="745" y="121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200" tIns="38100" rIns="76200" bIns="38100" numCol="1" anchor="t" anchorCtr="0" compatLnSpc="1">
              <a:prstTxWarp prst="textNoShape">
                <a:avLst/>
              </a:prstTxWarp>
            </a:bodyPr>
            <a:lstStyle/>
            <a:p>
              <a:endParaRPr lang="en-US" sz="1500" dirty="0"/>
            </a:p>
          </p:txBody>
        </p:sp>
        <p:sp>
          <p:nvSpPr>
            <p:cNvPr id="33" name="Freeform 21">
              <a:extLst>
                <a:ext uri="{FF2B5EF4-FFF2-40B4-BE49-F238E27FC236}">
                  <a16:creationId xmlns="" xmlns:a16="http://schemas.microsoft.com/office/drawing/2014/main" id="{081DFDF9-FAE4-4BE7-BDD0-B1CE42F8EA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88" y="396"/>
              <a:ext cx="2904" cy="2835"/>
            </a:xfrm>
            <a:custGeom>
              <a:avLst/>
              <a:gdLst>
                <a:gd name="T0" fmla="*/ 390 w 1550"/>
                <a:gd name="T1" fmla="*/ 1015 h 1512"/>
                <a:gd name="T2" fmla="*/ 434 w 1550"/>
                <a:gd name="T3" fmla="*/ 1051 h 1512"/>
                <a:gd name="T4" fmla="*/ 483 w 1550"/>
                <a:gd name="T5" fmla="*/ 1121 h 1512"/>
                <a:gd name="T6" fmla="*/ 776 w 1550"/>
                <a:gd name="T7" fmla="*/ 1451 h 1512"/>
                <a:gd name="T8" fmla="*/ 1068 w 1550"/>
                <a:gd name="T9" fmla="*/ 1121 h 1512"/>
                <a:gd name="T10" fmla="*/ 1107 w 1550"/>
                <a:gd name="T11" fmla="*/ 1082 h 1512"/>
                <a:gd name="T12" fmla="*/ 1106 w 1550"/>
                <a:gd name="T13" fmla="*/ 1145 h 1512"/>
                <a:gd name="T14" fmla="*/ 977 w 1550"/>
                <a:gd name="T15" fmla="*/ 1400 h 1512"/>
                <a:gd name="T16" fmla="*/ 933 w 1550"/>
                <a:gd name="T17" fmla="*/ 1499 h 1512"/>
                <a:gd name="T18" fmla="*/ 776 w 1550"/>
                <a:gd name="T19" fmla="*/ 1495 h 1512"/>
                <a:gd name="T20" fmla="*/ 633 w 1550"/>
                <a:gd name="T21" fmla="*/ 1512 h 1512"/>
                <a:gd name="T22" fmla="*/ 589 w 1550"/>
                <a:gd name="T23" fmla="*/ 1411 h 1512"/>
                <a:gd name="T24" fmla="*/ 446 w 1550"/>
                <a:gd name="T25" fmla="*/ 1146 h 1512"/>
                <a:gd name="T26" fmla="*/ 774 w 1550"/>
                <a:gd name="T27" fmla="*/ 0 h 1512"/>
                <a:gd name="T28" fmla="*/ 774 w 1550"/>
                <a:gd name="T29" fmla="*/ 0 h 1512"/>
                <a:gd name="T30" fmla="*/ 721 w 1550"/>
                <a:gd name="T31" fmla="*/ 117 h 1512"/>
                <a:gd name="T32" fmla="*/ 687 w 1550"/>
                <a:gd name="T33" fmla="*/ 222 h 1512"/>
                <a:gd name="T34" fmla="*/ 774 w 1550"/>
                <a:gd name="T35" fmla="*/ 288 h 1512"/>
                <a:gd name="T36" fmla="*/ 863 w 1550"/>
                <a:gd name="T37" fmla="*/ 222 h 1512"/>
                <a:gd name="T38" fmla="*/ 829 w 1550"/>
                <a:gd name="T39" fmla="*/ 117 h 1512"/>
                <a:gd name="T40" fmla="*/ 336 w 1550"/>
                <a:gd name="T41" fmla="*/ 175 h 1512"/>
                <a:gd name="T42" fmla="*/ 336 w 1550"/>
                <a:gd name="T43" fmla="*/ 175 h 1512"/>
                <a:gd name="T44" fmla="*/ 294 w 1550"/>
                <a:gd name="T45" fmla="*/ 264 h 1512"/>
                <a:gd name="T46" fmla="*/ 269 w 1550"/>
                <a:gd name="T47" fmla="*/ 342 h 1512"/>
                <a:gd name="T48" fmla="*/ 336 w 1550"/>
                <a:gd name="T49" fmla="*/ 390 h 1512"/>
                <a:gd name="T50" fmla="*/ 406 w 1550"/>
                <a:gd name="T51" fmla="*/ 342 h 1512"/>
                <a:gd name="T52" fmla="*/ 380 w 1550"/>
                <a:gd name="T53" fmla="*/ 264 h 1512"/>
                <a:gd name="T54" fmla="*/ 94 w 1550"/>
                <a:gd name="T55" fmla="*/ 450 h 1512"/>
                <a:gd name="T56" fmla="*/ 94 w 1550"/>
                <a:gd name="T57" fmla="*/ 450 h 1512"/>
                <a:gd name="T58" fmla="*/ 64 w 1550"/>
                <a:gd name="T59" fmla="*/ 509 h 1512"/>
                <a:gd name="T60" fmla="*/ 46 w 1550"/>
                <a:gd name="T61" fmla="*/ 563 h 1512"/>
                <a:gd name="T62" fmla="*/ 94 w 1550"/>
                <a:gd name="T63" fmla="*/ 595 h 1512"/>
                <a:gd name="T64" fmla="*/ 142 w 1550"/>
                <a:gd name="T65" fmla="*/ 563 h 1512"/>
                <a:gd name="T66" fmla="*/ 123 w 1550"/>
                <a:gd name="T67" fmla="*/ 509 h 1512"/>
                <a:gd name="T68" fmla="*/ 1456 w 1550"/>
                <a:gd name="T69" fmla="*/ 450 h 1512"/>
                <a:gd name="T70" fmla="*/ 1456 w 1550"/>
                <a:gd name="T71" fmla="*/ 450 h 1512"/>
                <a:gd name="T72" fmla="*/ 1429 w 1550"/>
                <a:gd name="T73" fmla="*/ 509 h 1512"/>
                <a:gd name="T74" fmla="*/ 1411 w 1550"/>
                <a:gd name="T75" fmla="*/ 563 h 1512"/>
                <a:gd name="T76" fmla="*/ 1456 w 1550"/>
                <a:gd name="T77" fmla="*/ 595 h 1512"/>
                <a:gd name="T78" fmla="*/ 1504 w 1550"/>
                <a:gd name="T79" fmla="*/ 563 h 1512"/>
                <a:gd name="T80" fmla="*/ 1488 w 1550"/>
                <a:gd name="T81" fmla="*/ 509 h 1512"/>
                <a:gd name="T82" fmla="*/ 1212 w 1550"/>
                <a:gd name="T83" fmla="*/ 175 h 1512"/>
                <a:gd name="T84" fmla="*/ 1212 w 1550"/>
                <a:gd name="T85" fmla="*/ 175 h 1512"/>
                <a:gd name="T86" fmla="*/ 1170 w 1550"/>
                <a:gd name="T87" fmla="*/ 264 h 1512"/>
                <a:gd name="T88" fmla="*/ 1141 w 1550"/>
                <a:gd name="T89" fmla="*/ 342 h 1512"/>
                <a:gd name="T90" fmla="*/ 1212 w 1550"/>
                <a:gd name="T91" fmla="*/ 390 h 1512"/>
                <a:gd name="T92" fmla="*/ 1282 w 1550"/>
                <a:gd name="T93" fmla="*/ 342 h 1512"/>
                <a:gd name="T94" fmla="*/ 1255 w 1550"/>
                <a:gd name="T95" fmla="*/ 264 h 1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50" h="1512">
                  <a:moveTo>
                    <a:pt x="387" y="1024"/>
                  </a:moveTo>
                  <a:cubicBezTo>
                    <a:pt x="388" y="1021"/>
                    <a:pt x="388" y="1018"/>
                    <a:pt x="390" y="1015"/>
                  </a:cubicBezTo>
                  <a:cubicBezTo>
                    <a:pt x="393" y="1023"/>
                    <a:pt x="397" y="1030"/>
                    <a:pt x="401" y="1037"/>
                  </a:cubicBezTo>
                  <a:cubicBezTo>
                    <a:pt x="411" y="1050"/>
                    <a:pt x="426" y="1051"/>
                    <a:pt x="434" y="1051"/>
                  </a:cubicBezTo>
                  <a:cubicBezTo>
                    <a:pt x="439" y="1073"/>
                    <a:pt x="449" y="1101"/>
                    <a:pt x="470" y="1108"/>
                  </a:cubicBezTo>
                  <a:cubicBezTo>
                    <a:pt x="476" y="1111"/>
                    <a:pt x="481" y="1115"/>
                    <a:pt x="483" y="1121"/>
                  </a:cubicBezTo>
                  <a:cubicBezTo>
                    <a:pt x="518" y="1210"/>
                    <a:pt x="576" y="1343"/>
                    <a:pt x="597" y="1362"/>
                  </a:cubicBezTo>
                  <a:cubicBezTo>
                    <a:pt x="632" y="1392"/>
                    <a:pt x="726" y="1451"/>
                    <a:pt x="776" y="1451"/>
                  </a:cubicBezTo>
                  <a:cubicBezTo>
                    <a:pt x="825" y="1451"/>
                    <a:pt x="919" y="1392"/>
                    <a:pt x="954" y="1362"/>
                  </a:cubicBezTo>
                  <a:cubicBezTo>
                    <a:pt x="975" y="1343"/>
                    <a:pt x="1033" y="1210"/>
                    <a:pt x="1068" y="1121"/>
                  </a:cubicBezTo>
                  <a:cubicBezTo>
                    <a:pt x="1070" y="1116"/>
                    <a:pt x="1073" y="1112"/>
                    <a:pt x="1078" y="1110"/>
                  </a:cubicBezTo>
                  <a:cubicBezTo>
                    <a:pt x="1092" y="1103"/>
                    <a:pt x="1101" y="1093"/>
                    <a:pt x="1107" y="1082"/>
                  </a:cubicBezTo>
                  <a:cubicBezTo>
                    <a:pt x="1125" y="1080"/>
                    <a:pt x="1144" y="1073"/>
                    <a:pt x="1160" y="1065"/>
                  </a:cubicBezTo>
                  <a:cubicBezTo>
                    <a:pt x="1155" y="1087"/>
                    <a:pt x="1141" y="1123"/>
                    <a:pt x="1106" y="1145"/>
                  </a:cubicBezTo>
                  <a:cubicBezTo>
                    <a:pt x="1086" y="1194"/>
                    <a:pt x="1018" y="1363"/>
                    <a:pt x="983" y="1394"/>
                  </a:cubicBezTo>
                  <a:cubicBezTo>
                    <a:pt x="981" y="1396"/>
                    <a:pt x="979" y="1398"/>
                    <a:pt x="977" y="1400"/>
                  </a:cubicBezTo>
                  <a:cubicBezTo>
                    <a:pt x="977" y="1463"/>
                    <a:pt x="977" y="1463"/>
                    <a:pt x="977" y="1463"/>
                  </a:cubicBezTo>
                  <a:cubicBezTo>
                    <a:pt x="968" y="1470"/>
                    <a:pt x="952" y="1483"/>
                    <a:pt x="933" y="1499"/>
                  </a:cubicBezTo>
                  <a:cubicBezTo>
                    <a:pt x="933" y="1432"/>
                    <a:pt x="933" y="1432"/>
                    <a:pt x="933" y="1432"/>
                  </a:cubicBezTo>
                  <a:cubicBezTo>
                    <a:pt x="885" y="1463"/>
                    <a:pt x="821" y="1495"/>
                    <a:pt x="776" y="1495"/>
                  </a:cubicBezTo>
                  <a:cubicBezTo>
                    <a:pt x="735" y="1495"/>
                    <a:pt x="679" y="1469"/>
                    <a:pt x="633" y="1441"/>
                  </a:cubicBezTo>
                  <a:cubicBezTo>
                    <a:pt x="633" y="1512"/>
                    <a:pt x="633" y="1512"/>
                    <a:pt x="633" y="1512"/>
                  </a:cubicBezTo>
                  <a:cubicBezTo>
                    <a:pt x="616" y="1498"/>
                    <a:pt x="601" y="1486"/>
                    <a:pt x="589" y="1476"/>
                  </a:cubicBezTo>
                  <a:cubicBezTo>
                    <a:pt x="589" y="1411"/>
                    <a:pt x="589" y="1411"/>
                    <a:pt x="589" y="1411"/>
                  </a:cubicBezTo>
                  <a:cubicBezTo>
                    <a:pt x="581" y="1405"/>
                    <a:pt x="574" y="1399"/>
                    <a:pt x="568" y="1394"/>
                  </a:cubicBezTo>
                  <a:cubicBezTo>
                    <a:pt x="534" y="1364"/>
                    <a:pt x="466" y="1197"/>
                    <a:pt x="446" y="1146"/>
                  </a:cubicBezTo>
                  <a:cubicBezTo>
                    <a:pt x="397" y="1120"/>
                    <a:pt x="387" y="1049"/>
                    <a:pt x="387" y="1024"/>
                  </a:cubicBezTo>
                  <a:close/>
                  <a:moveTo>
                    <a:pt x="774" y="0"/>
                  </a:moveTo>
                  <a:cubicBezTo>
                    <a:pt x="774" y="0"/>
                    <a:pt x="774" y="0"/>
                    <a:pt x="774" y="0"/>
                  </a:cubicBezTo>
                  <a:cubicBezTo>
                    <a:pt x="774" y="0"/>
                    <a:pt x="774" y="0"/>
                    <a:pt x="774" y="0"/>
                  </a:cubicBezTo>
                  <a:cubicBezTo>
                    <a:pt x="774" y="0"/>
                    <a:pt x="774" y="0"/>
                    <a:pt x="774" y="0"/>
                  </a:cubicBezTo>
                  <a:cubicBezTo>
                    <a:pt x="721" y="117"/>
                    <a:pt x="721" y="117"/>
                    <a:pt x="721" y="117"/>
                  </a:cubicBezTo>
                  <a:cubicBezTo>
                    <a:pt x="600" y="136"/>
                    <a:pt x="600" y="136"/>
                    <a:pt x="600" y="136"/>
                  </a:cubicBezTo>
                  <a:cubicBezTo>
                    <a:pt x="687" y="222"/>
                    <a:pt x="687" y="222"/>
                    <a:pt x="687" y="222"/>
                  </a:cubicBezTo>
                  <a:cubicBezTo>
                    <a:pt x="667" y="350"/>
                    <a:pt x="667" y="350"/>
                    <a:pt x="667" y="350"/>
                  </a:cubicBezTo>
                  <a:cubicBezTo>
                    <a:pt x="774" y="288"/>
                    <a:pt x="774" y="288"/>
                    <a:pt x="774" y="288"/>
                  </a:cubicBezTo>
                  <a:cubicBezTo>
                    <a:pt x="885" y="350"/>
                    <a:pt x="885" y="350"/>
                    <a:pt x="885" y="350"/>
                  </a:cubicBezTo>
                  <a:cubicBezTo>
                    <a:pt x="863" y="222"/>
                    <a:pt x="863" y="222"/>
                    <a:pt x="863" y="222"/>
                  </a:cubicBezTo>
                  <a:cubicBezTo>
                    <a:pt x="950" y="136"/>
                    <a:pt x="950" y="136"/>
                    <a:pt x="950" y="136"/>
                  </a:cubicBezTo>
                  <a:cubicBezTo>
                    <a:pt x="829" y="117"/>
                    <a:pt x="829" y="117"/>
                    <a:pt x="829" y="117"/>
                  </a:cubicBezTo>
                  <a:cubicBezTo>
                    <a:pt x="774" y="0"/>
                    <a:pt x="774" y="0"/>
                    <a:pt x="774" y="0"/>
                  </a:cubicBezTo>
                  <a:close/>
                  <a:moveTo>
                    <a:pt x="336" y="175"/>
                  </a:moveTo>
                  <a:cubicBezTo>
                    <a:pt x="336" y="175"/>
                    <a:pt x="336" y="175"/>
                    <a:pt x="336" y="175"/>
                  </a:cubicBezTo>
                  <a:cubicBezTo>
                    <a:pt x="336" y="175"/>
                    <a:pt x="336" y="175"/>
                    <a:pt x="336" y="175"/>
                  </a:cubicBezTo>
                  <a:cubicBezTo>
                    <a:pt x="336" y="175"/>
                    <a:pt x="336" y="175"/>
                    <a:pt x="336" y="175"/>
                  </a:cubicBezTo>
                  <a:cubicBezTo>
                    <a:pt x="294" y="264"/>
                    <a:pt x="294" y="264"/>
                    <a:pt x="294" y="264"/>
                  </a:cubicBezTo>
                  <a:cubicBezTo>
                    <a:pt x="200" y="274"/>
                    <a:pt x="200" y="274"/>
                    <a:pt x="200" y="274"/>
                  </a:cubicBezTo>
                  <a:cubicBezTo>
                    <a:pt x="269" y="342"/>
                    <a:pt x="269" y="342"/>
                    <a:pt x="269" y="342"/>
                  </a:cubicBezTo>
                  <a:cubicBezTo>
                    <a:pt x="254" y="438"/>
                    <a:pt x="254" y="438"/>
                    <a:pt x="254" y="438"/>
                  </a:cubicBezTo>
                  <a:cubicBezTo>
                    <a:pt x="336" y="390"/>
                    <a:pt x="336" y="390"/>
                    <a:pt x="336" y="390"/>
                  </a:cubicBezTo>
                  <a:cubicBezTo>
                    <a:pt x="420" y="438"/>
                    <a:pt x="420" y="438"/>
                    <a:pt x="420" y="438"/>
                  </a:cubicBezTo>
                  <a:cubicBezTo>
                    <a:pt x="406" y="342"/>
                    <a:pt x="406" y="342"/>
                    <a:pt x="406" y="342"/>
                  </a:cubicBezTo>
                  <a:cubicBezTo>
                    <a:pt x="475" y="274"/>
                    <a:pt x="475" y="274"/>
                    <a:pt x="475" y="274"/>
                  </a:cubicBezTo>
                  <a:cubicBezTo>
                    <a:pt x="380" y="264"/>
                    <a:pt x="380" y="264"/>
                    <a:pt x="380" y="264"/>
                  </a:cubicBezTo>
                  <a:cubicBezTo>
                    <a:pt x="336" y="175"/>
                    <a:pt x="336" y="175"/>
                    <a:pt x="336" y="175"/>
                  </a:cubicBezTo>
                  <a:close/>
                  <a:moveTo>
                    <a:pt x="94" y="450"/>
                  </a:moveTo>
                  <a:cubicBezTo>
                    <a:pt x="94" y="450"/>
                    <a:pt x="94" y="450"/>
                    <a:pt x="94" y="450"/>
                  </a:cubicBezTo>
                  <a:cubicBezTo>
                    <a:pt x="94" y="450"/>
                    <a:pt x="94" y="450"/>
                    <a:pt x="94" y="450"/>
                  </a:cubicBezTo>
                  <a:cubicBezTo>
                    <a:pt x="94" y="450"/>
                    <a:pt x="94" y="450"/>
                    <a:pt x="94" y="450"/>
                  </a:cubicBezTo>
                  <a:cubicBezTo>
                    <a:pt x="64" y="509"/>
                    <a:pt x="64" y="509"/>
                    <a:pt x="64" y="509"/>
                  </a:cubicBezTo>
                  <a:cubicBezTo>
                    <a:pt x="0" y="519"/>
                    <a:pt x="0" y="519"/>
                    <a:pt x="0" y="519"/>
                  </a:cubicBezTo>
                  <a:cubicBezTo>
                    <a:pt x="46" y="563"/>
                    <a:pt x="46" y="563"/>
                    <a:pt x="46" y="563"/>
                  </a:cubicBezTo>
                  <a:cubicBezTo>
                    <a:pt x="37" y="625"/>
                    <a:pt x="37" y="625"/>
                    <a:pt x="37" y="625"/>
                  </a:cubicBezTo>
                  <a:cubicBezTo>
                    <a:pt x="94" y="595"/>
                    <a:pt x="94" y="595"/>
                    <a:pt x="94" y="595"/>
                  </a:cubicBezTo>
                  <a:cubicBezTo>
                    <a:pt x="152" y="625"/>
                    <a:pt x="152" y="625"/>
                    <a:pt x="152" y="625"/>
                  </a:cubicBezTo>
                  <a:cubicBezTo>
                    <a:pt x="142" y="563"/>
                    <a:pt x="142" y="563"/>
                    <a:pt x="142" y="563"/>
                  </a:cubicBezTo>
                  <a:cubicBezTo>
                    <a:pt x="187" y="519"/>
                    <a:pt x="187" y="519"/>
                    <a:pt x="187" y="519"/>
                  </a:cubicBezTo>
                  <a:cubicBezTo>
                    <a:pt x="123" y="509"/>
                    <a:pt x="123" y="509"/>
                    <a:pt x="123" y="509"/>
                  </a:cubicBezTo>
                  <a:cubicBezTo>
                    <a:pt x="94" y="450"/>
                    <a:pt x="94" y="450"/>
                    <a:pt x="94" y="450"/>
                  </a:cubicBezTo>
                  <a:close/>
                  <a:moveTo>
                    <a:pt x="1456" y="450"/>
                  </a:moveTo>
                  <a:cubicBezTo>
                    <a:pt x="1456" y="450"/>
                    <a:pt x="1456" y="450"/>
                    <a:pt x="1456" y="450"/>
                  </a:cubicBezTo>
                  <a:cubicBezTo>
                    <a:pt x="1456" y="450"/>
                    <a:pt x="1456" y="450"/>
                    <a:pt x="1456" y="450"/>
                  </a:cubicBezTo>
                  <a:cubicBezTo>
                    <a:pt x="1456" y="450"/>
                    <a:pt x="1456" y="450"/>
                    <a:pt x="1456" y="450"/>
                  </a:cubicBezTo>
                  <a:cubicBezTo>
                    <a:pt x="1429" y="509"/>
                    <a:pt x="1429" y="509"/>
                    <a:pt x="1429" y="509"/>
                  </a:cubicBezTo>
                  <a:cubicBezTo>
                    <a:pt x="1363" y="519"/>
                    <a:pt x="1363" y="519"/>
                    <a:pt x="1363" y="519"/>
                  </a:cubicBezTo>
                  <a:cubicBezTo>
                    <a:pt x="1411" y="563"/>
                    <a:pt x="1411" y="563"/>
                    <a:pt x="1411" y="563"/>
                  </a:cubicBezTo>
                  <a:cubicBezTo>
                    <a:pt x="1400" y="625"/>
                    <a:pt x="1400" y="625"/>
                    <a:pt x="1400" y="625"/>
                  </a:cubicBezTo>
                  <a:cubicBezTo>
                    <a:pt x="1456" y="595"/>
                    <a:pt x="1456" y="595"/>
                    <a:pt x="1456" y="595"/>
                  </a:cubicBezTo>
                  <a:cubicBezTo>
                    <a:pt x="1517" y="625"/>
                    <a:pt x="1517" y="625"/>
                    <a:pt x="1517" y="625"/>
                  </a:cubicBezTo>
                  <a:cubicBezTo>
                    <a:pt x="1504" y="563"/>
                    <a:pt x="1504" y="563"/>
                    <a:pt x="1504" y="563"/>
                  </a:cubicBezTo>
                  <a:cubicBezTo>
                    <a:pt x="1550" y="519"/>
                    <a:pt x="1550" y="519"/>
                    <a:pt x="1550" y="519"/>
                  </a:cubicBezTo>
                  <a:cubicBezTo>
                    <a:pt x="1488" y="509"/>
                    <a:pt x="1488" y="509"/>
                    <a:pt x="1488" y="509"/>
                  </a:cubicBezTo>
                  <a:cubicBezTo>
                    <a:pt x="1456" y="450"/>
                    <a:pt x="1456" y="450"/>
                    <a:pt x="1456" y="450"/>
                  </a:cubicBezTo>
                  <a:close/>
                  <a:moveTo>
                    <a:pt x="1212" y="175"/>
                  </a:moveTo>
                  <a:cubicBezTo>
                    <a:pt x="1212" y="175"/>
                    <a:pt x="1212" y="175"/>
                    <a:pt x="1212" y="175"/>
                  </a:cubicBezTo>
                  <a:cubicBezTo>
                    <a:pt x="1212" y="175"/>
                    <a:pt x="1212" y="175"/>
                    <a:pt x="1212" y="175"/>
                  </a:cubicBezTo>
                  <a:cubicBezTo>
                    <a:pt x="1212" y="175"/>
                    <a:pt x="1212" y="175"/>
                    <a:pt x="1212" y="175"/>
                  </a:cubicBezTo>
                  <a:cubicBezTo>
                    <a:pt x="1170" y="264"/>
                    <a:pt x="1170" y="264"/>
                    <a:pt x="1170" y="264"/>
                  </a:cubicBezTo>
                  <a:cubicBezTo>
                    <a:pt x="1075" y="274"/>
                    <a:pt x="1075" y="274"/>
                    <a:pt x="1075" y="274"/>
                  </a:cubicBezTo>
                  <a:cubicBezTo>
                    <a:pt x="1141" y="342"/>
                    <a:pt x="1141" y="342"/>
                    <a:pt x="1141" y="342"/>
                  </a:cubicBezTo>
                  <a:cubicBezTo>
                    <a:pt x="1127" y="438"/>
                    <a:pt x="1127" y="438"/>
                    <a:pt x="1127" y="438"/>
                  </a:cubicBezTo>
                  <a:cubicBezTo>
                    <a:pt x="1212" y="390"/>
                    <a:pt x="1212" y="390"/>
                    <a:pt x="1212" y="390"/>
                  </a:cubicBezTo>
                  <a:cubicBezTo>
                    <a:pt x="1298" y="438"/>
                    <a:pt x="1298" y="438"/>
                    <a:pt x="1298" y="438"/>
                  </a:cubicBezTo>
                  <a:cubicBezTo>
                    <a:pt x="1282" y="342"/>
                    <a:pt x="1282" y="342"/>
                    <a:pt x="1282" y="342"/>
                  </a:cubicBezTo>
                  <a:cubicBezTo>
                    <a:pt x="1350" y="274"/>
                    <a:pt x="1350" y="274"/>
                    <a:pt x="1350" y="274"/>
                  </a:cubicBezTo>
                  <a:cubicBezTo>
                    <a:pt x="1255" y="264"/>
                    <a:pt x="1255" y="264"/>
                    <a:pt x="1255" y="264"/>
                  </a:cubicBezTo>
                  <a:cubicBezTo>
                    <a:pt x="1212" y="175"/>
                    <a:pt x="1212" y="175"/>
                    <a:pt x="1212" y="17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200" tIns="38100" rIns="76200" bIns="38100" numCol="1" anchor="t" anchorCtr="0" compatLnSpc="1">
              <a:prstTxWarp prst="textNoShape">
                <a:avLst/>
              </a:prstTxWarp>
            </a:bodyPr>
            <a:lstStyle/>
            <a:p>
              <a:endParaRPr lang="en-US" sz="1500" dirty="0"/>
            </a:p>
          </p:txBody>
        </p:sp>
      </p:grpSp>
      <p:grpSp>
        <p:nvGrpSpPr>
          <p:cNvPr id="20" name="bcgIcons_Network">
            <a:extLst>
              <a:ext uri="{FF2B5EF4-FFF2-40B4-BE49-F238E27FC236}">
                <a16:creationId xmlns="" xmlns:a16="http://schemas.microsoft.com/office/drawing/2014/main" id="{1552B4E7-8819-4A5B-BAA2-B1CF810393A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188248" y="2108053"/>
            <a:ext cx="1106426" cy="1107454"/>
            <a:chOff x="1682" y="0"/>
            <a:chExt cx="4316" cy="4320"/>
          </a:xfrm>
        </p:grpSpPr>
        <p:sp>
          <p:nvSpPr>
            <p:cNvPr id="21" name="AutoShape 24">
              <a:extLst>
                <a:ext uri="{FF2B5EF4-FFF2-40B4-BE49-F238E27FC236}">
                  <a16:creationId xmlns="" xmlns:a16="http://schemas.microsoft.com/office/drawing/2014/main" id="{F3249088-1FEF-4F4D-B4DD-F2FB6793247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200" tIns="38100" rIns="76200" bIns="38100" numCol="1" anchor="t" anchorCtr="0" compatLnSpc="1">
              <a:prstTxWarp prst="textNoShape">
                <a:avLst/>
              </a:prstTxWarp>
            </a:bodyPr>
            <a:lstStyle/>
            <a:p>
              <a:endParaRPr lang="en-US" sz="1500" dirty="0"/>
            </a:p>
          </p:txBody>
        </p:sp>
        <p:sp>
          <p:nvSpPr>
            <p:cNvPr id="22" name="Freeform 26">
              <a:extLst>
                <a:ext uri="{FF2B5EF4-FFF2-40B4-BE49-F238E27FC236}">
                  <a16:creationId xmlns="" xmlns:a16="http://schemas.microsoft.com/office/drawing/2014/main" id="{91F0DE8E-7721-4BF8-9C4E-7069412A86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7" y="626"/>
              <a:ext cx="2630" cy="3068"/>
            </a:xfrm>
            <a:custGeom>
              <a:avLst/>
              <a:gdLst>
                <a:gd name="T0" fmla="*/ 1189 w 2630"/>
                <a:gd name="T1" fmla="*/ 1962 h 3068"/>
                <a:gd name="T2" fmla="*/ 880 w 2630"/>
                <a:gd name="T3" fmla="*/ 1783 h 3068"/>
                <a:gd name="T4" fmla="*/ 880 w 2630"/>
                <a:gd name="T5" fmla="*/ 1427 h 3068"/>
                <a:gd name="T6" fmla="*/ 1189 w 2630"/>
                <a:gd name="T7" fmla="*/ 1605 h 3068"/>
                <a:gd name="T8" fmla="*/ 1189 w 2630"/>
                <a:gd name="T9" fmla="*/ 1962 h 3068"/>
                <a:gd name="T10" fmla="*/ 1313 w 2630"/>
                <a:gd name="T11" fmla="*/ 1392 h 3068"/>
                <a:gd name="T12" fmla="*/ 1622 w 2630"/>
                <a:gd name="T13" fmla="*/ 1213 h 3068"/>
                <a:gd name="T14" fmla="*/ 1313 w 2630"/>
                <a:gd name="T15" fmla="*/ 1035 h 3068"/>
                <a:gd name="T16" fmla="*/ 1004 w 2630"/>
                <a:gd name="T17" fmla="*/ 1213 h 3068"/>
                <a:gd name="T18" fmla="*/ 1313 w 2630"/>
                <a:gd name="T19" fmla="*/ 1392 h 3068"/>
                <a:gd name="T20" fmla="*/ 1437 w 2630"/>
                <a:gd name="T21" fmla="*/ 1605 h 3068"/>
                <a:gd name="T22" fmla="*/ 1437 w 2630"/>
                <a:gd name="T23" fmla="*/ 1962 h 3068"/>
                <a:gd name="T24" fmla="*/ 1746 w 2630"/>
                <a:gd name="T25" fmla="*/ 1783 h 3068"/>
                <a:gd name="T26" fmla="*/ 1746 w 2630"/>
                <a:gd name="T27" fmla="*/ 1427 h 3068"/>
                <a:gd name="T28" fmla="*/ 1437 w 2630"/>
                <a:gd name="T29" fmla="*/ 1605 h 3068"/>
                <a:gd name="T30" fmla="*/ 1313 w 2630"/>
                <a:gd name="T31" fmla="*/ 373 h 3068"/>
                <a:gd name="T32" fmla="*/ 1474 w 2630"/>
                <a:gd name="T33" fmla="*/ 280 h 3068"/>
                <a:gd name="T34" fmla="*/ 1474 w 2630"/>
                <a:gd name="T35" fmla="*/ 94 h 3068"/>
                <a:gd name="T36" fmla="*/ 1313 w 2630"/>
                <a:gd name="T37" fmla="*/ 0 h 3068"/>
                <a:gd name="T38" fmla="*/ 1152 w 2630"/>
                <a:gd name="T39" fmla="*/ 94 h 3068"/>
                <a:gd name="T40" fmla="*/ 1152 w 2630"/>
                <a:gd name="T41" fmla="*/ 280 h 3068"/>
                <a:gd name="T42" fmla="*/ 1313 w 2630"/>
                <a:gd name="T43" fmla="*/ 373 h 3068"/>
                <a:gd name="T44" fmla="*/ 1313 w 2630"/>
                <a:gd name="T45" fmla="*/ 3068 h 3068"/>
                <a:gd name="T46" fmla="*/ 1474 w 2630"/>
                <a:gd name="T47" fmla="*/ 2974 h 3068"/>
                <a:gd name="T48" fmla="*/ 1474 w 2630"/>
                <a:gd name="T49" fmla="*/ 2788 h 3068"/>
                <a:gd name="T50" fmla="*/ 1313 w 2630"/>
                <a:gd name="T51" fmla="*/ 2695 h 3068"/>
                <a:gd name="T52" fmla="*/ 1152 w 2630"/>
                <a:gd name="T53" fmla="*/ 2788 h 3068"/>
                <a:gd name="T54" fmla="*/ 1152 w 2630"/>
                <a:gd name="T55" fmla="*/ 2974 h 3068"/>
                <a:gd name="T56" fmla="*/ 1313 w 2630"/>
                <a:gd name="T57" fmla="*/ 3068 h 3068"/>
                <a:gd name="T58" fmla="*/ 2469 w 2630"/>
                <a:gd name="T59" fmla="*/ 2393 h 3068"/>
                <a:gd name="T60" fmla="*/ 2630 w 2630"/>
                <a:gd name="T61" fmla="*/ 2299 h 3068"/>
                <a:gd name="T62" fmla="*/ 2630 w 2630"/>
                <a:gd name="T63" fmla="*/ 2113 h 3068"/>
                <a:gd name="T64" fmla="*/ 2469 w 2630"/>
                <a:gd name="T65" fmla="*/ 2020 h 3068"/>
                <a:gd name="T66" fmla="*/ 2308 w 2630"/>
                <a:gd name="T67" fmla="*/ 2113 h 3068"/>
                <a:gd name="T68" fmla="*/ 2308 w 2630"/>
                <a:gd name="T69" fmla="*/ 2299 h 3068"/>
                <a:gd name="T70" fmla="*/ 2469 w 2630"/>
                <a:gd name="T71" fmla="*/ 2393 h 3068"/>
                <a:gd name="T72" fmla="*/ 2469 w 2630"/>
                <a:gd name="T73" fmla="*/ 1048 h 3068"/>
                <a:gd name="T74" fmla="*/ 2630 w 2630"/>
                <a:gd name="T75" fmla="*/ 955 h 3068"/>
                <a:gd name="T76" fmla="*/ 2630 w 2630"/>
                <a:gd name="T77" fmla="*/ 769 h 3068"/>
                <a:gd name="T78" fmla="*/ 2469 w 2630"/>
                <a:gd name="T79" fmla="*/ 675 h 3068"/>
                <a:gd name="T80" fmla="*/ 2308 w 2630"/>
                <a:gd name="T81" fmla="*/ 769 h 3068"/>
                <a:gd name="T82" fmla="*/ 2308 w 2630"/>
                <a:gd name="T83" fmla="*/ 955 h 3068"/>
                <a:gd name="T84" fmla="*/ 2469 w 2630"/>
                <a:gd name="T85" fmla="*/ 1048 h 3068"/>
                <a:gd name="T86" fmla="*/ 161 w 2630"/>
                <a:gd name="T87" fmla="*/ 2393 h 3068"/>
                <a:gd name="T88" fmla="*/ 322 w 2630"/>
                <a:gd name="T89" fmla="*/ 2299 h 3068"/>
                <a:gd name="T90" fmla="*/ 322 w 2630"/>
                <a:gd name="T91" fmla="*/ 2113 h 3068"/>
                <a:gd name="T92" fmla="*/ 161 w 2630"/>
                <a:gd name="T93" fmla="*/ 2020 h 3068"/>
                <a:gd name="T94" fmla="*/ 0 w 2630"/>
                <a:gd name="T95" fmla="*/ 2113 h 3068"/>
                <a:gd name="T96" fmla="*/ 0 w 2630"/>
                <a:gd name="T97" fmla="*/ 2299 h 3068"/>
                <a:gd name="T98" fmla="*/ 161 w 2630"/>
                <a:gd name="T99" fmla="*/ 2393 h 3068"/>
                <a:gd name="T100" fmla="*/ 161 w 2630"/>
                <a:gd name="T101" fmla="*/ 1048 h 3068"/>
                <a:gd name="T102" fmla="*/ 322 w 2630"/>
                <a:gd name="T103" fmla="*/ 955 h 3068"/>
                <a:gd name="T104" fmla="*/ 322 w 2630"/>
                <a:gd name="T105" fmla="*/ 769 h 3068"/>
                <a:gd name="T106" fmla="*/ 161 w 2630"/>
                <a:gd name="T107" fmla="*/ 675 h 3068"/>
                <a:gd name="T108" fmla="*/ 0 w 2630"/>
                <a:gd name="T109" fmla="*/ 769 h 3068"/>
                <a:gd name="T110" fmla="*/ 0 w 2630"/>
                <a:gd name="T111" fmla="*/ 955 h 3068"/>
                <a:gd name="T112" fmla="*/ 161 w 2630"/>
                <a:gd name="T113" fmla="*/ 1048 h 30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30" h="3068">
                  <a:moveTo>
                    <a:pt x="1189" y="1962"/>
                  </a:moveTo>
                  <a:lnTo>
                    <a:pt x="880" y="1783"/>
                  </a:lnTo>
                  <a:lnTo>
                    <a:pt x="880" y="1427"/>
                  </a:lnTo>
                  <a:lnTo>
                    <a:pt x="1189" y="1605"/>
                  </a:lnTo>
                  <a:lnTo>
                    <a:pt x="1189" y="1962"/>
                  </a:lnTo>
                  <a:close/>
                  <a:moveTo>
                    <a:pt x="1313" y="1392"/>
                  </a:moveTo>
                  <a:lnTo>
                    <a:pt x="1622" y="1213"/>
                  </a:lnTo>
                  <a:lnTo>
                    <a:pt x="1313" y="1035"/>
                  </a:lnTo>
                  <a:lnTo>
                    <a:pt x="1004" y="1213"/>
                  </a:lnTo>
                  <a:lnTo>
                    <a:pt x="1313" y="1392"/>
                  </a:lnTo>
                  <a:close/>
                  <a:moveTo>
                    <a:pt x="1437" y="1605"/>
                  </a:moveTo>
                  <a:lnTo>
                    <a:pt x="1437" y="1962"/>
                  </a:lnTo>
                  <a:lnTo>
                    <a:pt x="1746" y="1783"/>
                  </a:lnTo>
                  <a:lnTo>
                    <a:pt x="1746" y="1427"/>
                  </a:lnTo>
                  <a:lnTo>
                    <a:pt x="1437" y="1605"/>
                  </a:lnTo>
                  <a:close/>
                  <a:moveTo>
                    <a:pt x="1313" y="373"/>
                  </a:moveTo>
                  <a:lnTo>
                    <a:pt x="1474" y="280"/>
                  </a:lnTo>
                  <a:lnTo>
                    <a:pt x="1474" y="94"/>
                  </a:lnTo>
                  <a:lnTo>
                    <a:pt x="1313" y="0"/>
                  </a:lnTo>
                  <a:lnTo>
                    <a:pt x="1152" y="94"/>
                  </a:lnTo>
                  <a:lnTo>
                    <a:pt x="1152" y="280"/>
                  </a:lnTo>
                  <a:lnTo>
                    <a:pt x="1313" y="373"/>
                  </a:lnTo>
                  <a:close/>
                  <a:moveTo>
                    <a:pt x="1313" y="3068"/>
                  </a:moveTo>
                  <a:lnTo>
                    <a:pt x="1474" y="2974"/>
                  </a:lnTo>
                  <a:lnTo>
                    <a:pt x="1474" y="2788"/>
                  </a:lnTo>
                  <a:lnTo>
                    <a:pt x="1313" y="2695"/>
                  </a:lnTo>
                  <a:lnTo>
                    <a:pt x="1152" y="2788"/>
                  </a:lnTo>
                  <a:lnTo>
                    <a:pt x="1152" y="2974"/>
                  </a:lnTo>
                  <a:lnTo>
                    <a:pt x="1313" y="3068"/>
                  </a:lnTo>
                  <a:close/>
                  <a:moveTo>
                    <a:pt x="2469" y="2393"/>
                  </a:moveTo>
                  <a:lnTo>
                    <a:pt x="2630" y="2299"/>
                  </a:lnTo>
                  <a:lnTo>
                    <a:pt x="2630" y="2113"/>
                  </a:lnTo>
                  <a:lnTo>
                    <a:pt x="2469" y="2020"/>
                  </a:lnTo>
                  <a:lnTo>
                    <a:pt x="2308" y="2113"/>
                  </a:lnTo>
                  <a:lnTo>
                    <a:pt x="2308" y="2299"/>
                  </a:lnTo>
                  <a:lnTo>
                    <a:pt x="2469" y="2393"/>
                  </a:lnTo>
                  <a:close/>
                  <a:moveTo>
                    <a:pt x="2469" y="1048"/>
                  </a:moveTo>
                  <a:lnTo>
                    <a:pt x="2630" y="955"/>
                  </a:lnTo>
                  <a:lnTo>
                    <a:pt x="2630" y="769"/>
                  </a:lnTo>
                  <a:lnTo>
                    <a:pt x="2469" y="675"/>
                  </a:lnTo>
                  <a:lnTo>
                    <a:pt x="2308" y="769"/>
                  </a:lnTo>
                  <a:lnTo>
                    <a:pt x="2308" y="955"/>
                  </a:lnTo>
                  <a:lnTo>
                    <a:pt x="2469" y="1048"/>
                  </a:lnTo>
                  <a:close/>
                  <a:moveTo>
                    <a:pt x="161" y="2393"/>
                  </a:moveTo>
                  <a:lnTo>
                    <a:pt x="322" y="2299"/>
                  </a:lnTo>
                  <a:lnTo>
                    <a:pt x="322" y="2113"/>
                  </a:lnTo>
                  <a:lnTo>
                    <a:pt x="161" y="2020"/>
                  </a:lnTo>
                  <a:lnTo>
                    <a:pt x="0" y="2113"/>
                  </a:lnTo>
                  <a:lnTo>
                    <a:pt x="0" y="2299"/>
                  </a:lnTo>
                  <a:lnTo>
                    <a:pt x="161" y="2393"/>
                  </a:lnTo>
                  <a:close/>
                  <a:moveTo>
                    <a:pt x="161" y="1048"/>
                  </a:moveTo>
                  <a:lnTo>
                    <a:pt x="322" y="955"/>
                  </a:lnTo>
                  <a:lnTo>
                    <a:pt x="322" y="769"/>
                  </a:lnTo>
                  <a:lnTo>
                    <a:pt x="161" y="675"/>
                  </a:lnTo>
                  <a:lnTo>
                    <a:pt x="0" y="769"/>
                  </a:lnTo>
                  <a:lnTo>
                    <a:pt x="0" y="955"/>
                  </a:lnTo>
                  <a:lnTo>
                    <a:pt x="161" y="1048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200" tIns="38100" rIns="76200" bIns="38100" numCol="1" anchor="t" anchorCtr="0" compatLnSpc="1">
              <a:prstTxWarp prst="textNoShape">
                <a:avLst/>
              </a:prstTxWarp>
            </a:bodyPr>
            <a:lstStyle/>
            <a:p>
              <a:endParaRPr lang="en-US" sz="1500" dirty="0"/>
            </a:p>
          </p:txBody>
        </p:sp>
        <p:sp>
          <p:nvSpPr>
            <p:cNvPr id="23" name="Freeform 27">
              <a:extLst>
                <a:ext uri="{FF2B5EF4-FFF2-40B4-BE49-F238E27FC236}">
                  <a16:creationId xmlns="" xmlns:a16="http://schemas.microsoft.com/office/drawing/2014/main" id="{74172CEF-9D9E-4786-9D45-00CE9C9B98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2" y="441"/>
              <a:ext cx="2960" cy="3437"/>
            </a:xfrm>
            <a:custGeom>
              <a:avLst/>
              <a:gdLst>
                <a:gd name="T0" fmla="*/ 1395 w 1580"/>
                <a:gd name="T1" fmla="*/ 753 h 1833"/>
                <a:gd name="T2" fmla="*/ 1569 w 1580"/>
                <a:gd name="T3" fmla="*/ 665 h 1833"/>
                <a:gd name="T4" fmla="*/ 1569 w 1580"/>
                <a:gd name="T5" fmla="*/ 452 h 1833"/>
                <a:gd name="T6" fmla="*/ 1243 w 1580"/>
                <a:gd name="T7" fmla="*/ 452 h 1833"/>
                <a:gd name="T8" fmla="*/ 1086 w 1580"/>
                <a:gd name="T9" fmla="*/ 720 h 1833"/>
                <a:gd name="T10" fmla="*/ 952 w 1580"/>
                <a:gd name="T11" fmla="*/ 305 h 1833"/>
                <a:gd name="T12" fmla="*/ 952 w 1580"/>
                <a:gd name="T13" fmla="*/ 92 h 1833"/>
                <a:gd name="T14" fmla="*/ 626 w 1580"/>
                <a:gd name="T15" fmla="*/ 92 h 1833"/>
                <a:gd name="T16" fmla="*/ 626 w 1580"/>
                <a:gd name="T17" fmla="*/ 305 h 1833"/>
                <a:gd name="T18" fmla="*/ 492 w 1580"/>
                <a:gd name="T19" fmla="*/ 720 h 1833"/>
                <a:gd name="T20" fmla="*/ 337 w 1580"/>
                <a:gd name="T21" fmla="*/ 452 h 1833"/>
                <a:gd name="T22" fmla="*/ 11 w 1580"/>
                <a:gd name="T23" fmla="*/ 452 h 1833"/>
                <a:gd name="T24" fmla="*/ 11 w 1580"/>
                <a:gd name="T25" fmla="*/ 665 h 1833"/>
                <a:gd name="T26" fmla="*/ 185 w 1580"/>
                <a:gd name="T27" fmla="*/ 753 h 1833"/>
                <a:gd name="T28" fmla="*/ 470 w 1580"/>
                <a:gd name="T29" fmla="*/ 1076 h 1833"/>
                <a:gd name="T30" fmla="*/ 163 w 1580"/>
                <a:gd name="T31" fmla="*/ 1081 h 1833"/>
                <a:gd name="T32" fmla="*/ 0 w 1580"/>
                <a:gd name="T33" fmla="*/ 1363 h 1833"/>
                <a:gd name="T34" fmla="*/ 174 w 1580"/>
                <a:gd name="T35" fmla="*/ 1473 h 1833"/>
                <a:gd name="T36" fmla="*/ 348 w 1580"/>
                <a:gd name="T37" fmla="*/ 1363 h 1833"/>
                <a:gd name="T38" fmla="*/ 767 w 1580"/>
                <a:gd name="T39" fmla="*/ 1272 h 1833"/>
                <a:gd name="T40" fmla="*/ 615 w 1580"/>
                <a:gd name="T41" fmla="*/ 1548 h 1833"/>
                <a:gd name="T42" fmla="*/ 778 w 1580"/>
                <a:gd name="T43" fmla="*/ 1830 h 1833"/>
                <a:gd name="T44" fmla="*/ 952 w 1580"/>
                <a:gd name="T45" fmla="*/ 1742 h 1833"/>
                <a:gd name="T46" fmla="*/ 952 w 1580"/>
                <a:gd name="T47" fmla="*/ 1529 h 1833"/>
                <a:gd name="T48" fmla="*/ 1086 w 1580"/>
                <a:gd name="T49" fmla="*/ 1114 h 1833"/>
                <a:gd name="T50" fmla="*/ 1243 w 1580"/>
                <a:gd name="T51" fmla="*/ 1382 h 1833"/>
                <a:gd name="T52" fmla="*/ 1417 w 1580"/>
                <a:gd name="T53" fmla="*/ 1470 h 1833"/>
                <a:gd name="T54" fmla="*/ 1580 w 1580"/>
                <a:gd name="T55" fmla="*/ 1188 h 1833"/>
                <a:gd name="T56" fmla="*/ 1395 w 1580"/>
                <a:gd name="T57" fmla="*/ 1081 h 1833"/>
                <a:gd name="T58" fmla="*/ 1108 w 1580"/>
                <a:gd name="T59" fmla="*/ 758 h 1833"/>
                <a:gd name="T60" fmla="*/ 789 w 1580"/>
                <a:gd name="T61" fmla="*/ 600 h 1833"/>
                <a:gd name="T62" fmla="*/ 1276 w 1580"/>
                <a:gd name="T63" fmla="*/ 483 h 1833"/>
                <a:gd name="T64" fmla="*/ 1536 w 1580"/>
                <a:gd name="T65" fmla="*/ 634 h 1833"/>
                <a:gd name="T66" fmla="*/ 1276 w 1580"/>
                <a:gd name="T67" fmla="*/ 483 h 1833"/>
                <a:gd name="T68" fmla="*/ 919 w 1580"/>
                <a:gd name="T69" fmla="*/ 123 h 1833"/>
                <a:gd name="T70" fmla="*/ 659 w 1580"/>
                <a:gd name="T71" fmla="*/ 274 h 1833"/>
                <a:gd name="T72" fmla="*/ 174 w 1580"/>
                <a:gd name="T73" fmla="*/ 709 h 1833"/>
                <a:gd name="T74" fmla="*/ 174 w 1580"/>
                <a:gd name="T75" fmla="*/ 408 h 1833"/>
                <a:gd name="T76" fmla="*/ 304 w 1580"/>
                <a:gd name="T77" fmla="*/ 1351 h 1833"/>
                <a:gd name="T78" fmla="*/ 44 w 1580"/>
                <a:gd name="T79" fmla="*/ 1200 h 1833"/>
                <a:gd name="T80" fmla="*/ 304 w 1580"/>
                <a:gd name="T81" fmla="*/ 1351 h 1833"/>
                <a:gd name="T82" fmla="*/ 767 w 1580"/>
                <a:gd name="T83" fmla="*/ 1222 h 1833"/>
                <a:gd name="T84" fmla="*/ 919 w 1580"/>
                <a:gd name="T85" fmla="*/ 1711 h 1833"/>
                <a:gd name="T86" fmla="*/ 659 w 1580"/>
                <a:gd name="T87" fmla="*/ 1560 h 1833"/>
                <a:gd name="T88" fmla="*/ 919 w 1580"/>
                <a:gd name="T89" fmla="*/ 1711 h 1833"/>
                <a:gd name="T90" fmla="*/ 1064 w 1580"/>
                <a:gd name="T91" fmla="*/ 784 h 1833"/>
                <a:gd name="T92" fmla="*/ 1276 w 1580"/>
                <a:gd name="T93" fmla="*/ 1200 h 1833"/>
                <a:gd name="T94" fmla="*/ 1536 w 1580"/>
                <a:gd name="T95" fmla="*/ 1351 h 1833"/>
                <a:gd name="T96" fmla="*/ 1276 w 1580"/>
                <a:gd name="T97" fmla="*/ 1200 h 18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80" h="1833">
                  <a:moveTo>
                    <a:pt x="1108" y="758"/>
                  </a:moveTo>
                  <a:cubicBezTo>
                    <a:pt x="1254" y="672"/>
                    <a:pt x="1254" y="672"/>
                    <a:pt x="1254" y="672"/>
                  </a:cubicBezTo>
                  <a:cubicBezTo>
                    <a:pt x="1395" y="753"/>
                    <a:pt x="1395" y="753"/>
                    <a:pt x="1395" y="753"/>
                  </a:cubicBezTo>
                  <a:cubicBezTo>
                    <a:pt x="1399" y="755"/>
                    <a:pt x="1403" y="756"/>
                    <a:pt x="1406" y="756"/>
                  </a:cubicBezTo>
                  <a:cubicBezTo>
                    <a:pt x="1410" y="756"/>
                    <a:pt x="1414" y="755"/>
                    <a:pt x="1417" y="753"/>
                  </a:cubicBezTo>
                  <a:cubicBezTo>
                    <a:pt x="1569" y="665"/>
                    <a:pt x="1569" y="665"/>
                    <a:pt x="1569" y="665"/>
                  </a:cubicBezTo>
                  <a:cubicBezTo>
                    <a:pt x="1576" y="661"/>
                    <a:pt x="1580" y="654"/>
                    <a:pt x="1580" y="646"/>
                  </a:cubicBezTo>
                  <a:cubicBezTo>
                    <a:pt x="1580" y="471"/>
                    <a:pt x="1580" y="471"/>
                    <a:pt x="1580" y="471"/>
                  </a:cubicBezTo>
                  <a:cubicBezTo>
                    <a:pt x="1580" y="463"/>
                    <a:pt x="1576" y="456"/>
                    <a:pt x="1569" y="452"/>
                  </a:cubicBezTo>
                  <a:cubicBezTo>
                    <a:pt x="1417" y="364"/>
                    <a:pt x="1417" y="364"/>
                    <a:pt x="1417" y="364"/>
                  </a:cubicBezTo>
                  <a:cubicBezTo>
                    <a:pt x="1411" y="360"/>
                    <a:pt x="1402" y="360"/>
                    <a:pt x="1395" y="364"/>
                  </a:cubicBezTo>
                  <a:cubicBezTo>
                    <a:pt x="1243" y="452"/>
                    <a:pt x="1243" y="452"/>
                    <a:pt x="1243" y="452"/>
                  </a:cubicBezTo>
                  <a:cubicBezTo>
                    <a:pt x="1237" y="456"/>
                    <a:pt x="1232" y="463"/>
                    <a:pt x="1232" y="471"/>
                  </a:cubicBezTo>
                  <a:cubicBezTo>
                    <a:pt x="1232" y="634"/>
                    <a:pt x="1232" y="634"/>
                    <a:pt x="1232" y="634"/>
                  </a:cubicBezTo>
                  <a:cubicBezTo>
                    <a:pt x="1086" y="720"/>
                    <a:pt x="1086" y="720"/>
                    <a:pt x="1086" y="720"/>
                  </a:cubicBezTo>
                  <a:cubicBezTo>
                    <a:pt x="811" y="562"/>
                    <a:pt x="811" y="562"/>
                    <a:pt x="811" y="562"/>
                  </a:cubicBezTo>
                  <a:cubicBezTo>
                    <a:pt x="811" y="387"/>
                    <a:pt x="811" y="387"/>
                    <a:pt x="811" y="387"/>
                  </a:cubicBezTo>
                  <a:cubicBezTo>
                    <a:pt x="952" y="305"/>
                    <a:pt x="952" y="305"/>
                    <a:pt x="952" y="305"/>
                  </a:cubicBezTo>
                  <a:cubicBezTo>
                    <a:pt x="959" y="301"/>
                    <a:pt x="963" y="294"/>
                    <a:pt x="963" y="286"/>
                  </a:cubicBezTo>
                  <a:cubicBezTo>
                    <a:pt x="963" y="111"/>
                    <a:pt x="963" y="111"/>
                    <a:pt x="963" y="111"/>
                  </a:cubicBezTo>
                  <a:cubicBezTo>
                    <a:pt x="963" y="103"/>
                    <a:pt x="959" y="96"/>
                    <a:pt x="952" y="92"/>
                  </a:cubicBezTo>
                  <a:cubicBezTo>
                    <a:pt x="800" y="4"/>
                    <a:pt x="800" y="4"/>
                    <a:pt x="800" y="4"/>
                  </a:cubicBezTo>
                  <a:cubicBezTo>
                    <a:pt x="793" y="0"/>
                    <a:pt x="785" y="0"/>
                    <a:pt x="778" y="4"/>
                  </a:cubicBezTo>
                  <a:cubicBezTo>
                    <a:pt x="626" y="92"/>
                    <a:pt x="626" y="92"/>
                    <a:pt x="626" y="92"/>
                  </a:cubicBezTo>
                  <a:cubicBezTo>
                    <a:pt x="619" y="96"/>
                    <a:pt x="615" y="103"/>
                    <a:pt x="615" y="111"/>
                  </a:cubicBezTo>
                  <a:cubicBezTo>
                    <a:pt x="615" y="286"/>
                    <a:pt x="615" y="286"/>
                    <a:pt x="615" y="286"/>
                  </a:cubicBezTo>
                  <a:cubicBezTo>
                    <a:pt x="615" y="294"/>
                    <a:pt x="619" y="301"/>
                    <a:pt x="626" y="305"/>
                  </a:cubicBezTo>
                  <a:cubicBezTo>
                    <a:pt x="767" y="387"/>
                    <a:pt x="767" y="387"/>
                    <a:pt x="767" y="387"/>
                  </a:cubicBezTo>
                  <a:cubicBezTo>
                    <a:pt x="767" y="562"/>
                    <a:pt x="767" y="562"/>
                    <a:pt x="767" y="562"/>
                  </a:cubicBezTo>
                  <a:cubicBezTo>
                    <a:pt x="492" y="720"/>
                    <a:pt x="492" y="720"/>
                    <a:pt x="492" y="720"/>
                  </a:cubicBezTo>
                  <a:cubicBezTo>
                    <a:pt x="348" y="634"/>
                    <a:pt x="348" y="634"/>
                    <a:pt x="348" y="634"/>
                  </a:cubicBezTo>
                  <a:cubicBezTo>
                    <a:pt x="348" y="471"/>
                    <a:pt x="348" y="471"/>
                    <a:pt x="348" y="471"/>
                  </a:cubicBezTo>
                  <a:cubicBezTo>
                    <a:pt x="348" y="463"/>
                    <a:pt x="344" y="456"/>
                    <a:pt x="337" y="452"/>
                  </a:cubicBezTo>
                  <a:cubicBezTo>
                    <a:pt x="185" y="364"/>
                    <a:pt x="185" y="364"/>
                    <a:pt x="185" y="364"/>
                  </a:cubicBezTo>
                  <a:cubicBezTo>
                    <a:pt x="179" y="360"/>
                    <a:pt x="170" y="360"/>
                    <a:pt x="163" y="364"/>
                  </a:cubicBezTo>
                  <a:cubicBezTo>
                    <a:pt x="11" y="452"/>
                    <a:pt x="11" y="452"/>
                    <a:pt x="11" y="452"/>
                  </a:cubicBezTo>
                  <a:cubicBezTo>
                    <a:pt x="5" y="456"/>
                    <a:pt x="0" y="463"/>
                    <a:pt x="0" y="471"/>
                  </a:cubicBezTo>
                  <a:cubicBezTo>
                    <a:pt x="0" y="646"/>
                    <a:pt x="0" y="646"/>
                    <a:pt x="0" y="646"/>
                  </a:cubicBezTo>
                  <a:cubicBezTo>
                    <a:pt x="0" y="654"/>
                    <a:pt x="5" y="661"/>
                    <a:pt x="11" y="665"/>
                  </a:cubicBezTo>
                  <a:cubicBezTo>
                    <a:pt x="163" y="753"/>
                    <a:pt x="163" y="753"/>
                    <a:pt x="163" y="753"/>
                  </a:cubicBezTo>
                  <a:cubicBezTo>
                    <a:pt x="167" y="755"/>
                    <a:pt x="171" y="756"/>
                    <a:pt x="174" y="756"/>
                  </a:cubicBezTo>
                  <a:cubicBezTo>
                    <a:pt x="178" y="756"/>
                    <a:pt x="182" y="755"/>
                    <a:pt x="185" y="753"/>
                  </a:cubicBezTo>
                  <a:cubicBezTo>
                    <a:pt x="326" y="672"/>
                    <a:pt x="326" y="672"/>
                    <a:pt x="326" y="672"/>
                  </a:cubicBezTo>
                  <a:cubicBezTo>
                    <a:pt x="470" y="758"/>
                    <a:pt x="470" y="758"/>
                    <a:pt x="470" y="758"/>
                  </a:cubicBezTo>
                  <a:cubicBezTo>
                    <a:pt x="470" y="1076"/>
                    <a:pt x="470" y="1076"/>
                    <a:pt x="470" y="1076"/>
                  </a:cubicBezTo>
                  <a:cubicBezTo>
                    <a:pt x="326" y="1162"/>
                    <a:pt x="326" y="1162"/>
                    <a:pt x="326" y="1162"/>
                  </a:cubicBezTo>
                  <a:cubicBezTo>
                    <a:pt x="185" y="1081"/>
                    <a:pt x="185" y="1081"/>
                    <a:pt x="185" y="1081"/>
                  </a:cubicBezTo>
                  <a:cubicBezTo>
                    <a:pt x="179" y="1077"/>
                    <a:pt x="170" y="1077"/>
                    <a:pt x="163" y="1081"/>
                  </a:cubicBezTo>
                  <a:cubicBezTo>
                    <a:pt x="11" y="1169"/>
                    <a:pt x="11" y="1169"/>
                    <a:pt x="11" y="1169"/>
                  </a:cubicBezTo>
                  <a:cubicBezTo>
                    <a:pt x="5" y="1173"/>
                    <a:pt x="0" y="1180"/>
                    <a:pt x="0" y="1188"/>
                  </a:cubicBezTo>
                  <a:cubicBezTo>
                    <a:pt x="0" y="1363"/>
                    <a:pt x="0" y="1363"/>
                    <a:pt x="0" y="1363"/>
                  </a:cubicBezTo>
                  <a:cubicBezTo>
                    <a:pt x="0" y="1371"/>
                    <a:pt x="5" y="1378"/>
                    <a:pt x="11" y="1382"/>
                  </a:cubicBezTo>
                  <a:cubicBezTo>
                    <a:pt x="163" y="1470"/>
                    <a:pt x="163" y="1470"/>
                    <a:pt x="163" y="1470"/>
                  </a:cubicBezTo>
                  <a:cubicBezTo>
                    <a:pt x="167" y="1472"/>
                    <a:pt x="171" y="1473"/>
                    <a:pt x="174" y="1473"/>
                  </a:cubicBezTo>
                  <a:cubicBezTo>
                    <a:pt x="178" y="1473"/>
                    <a:pt x="182" y="1472"/>
                    <a:pt x="185" y="1470"/>
                  </a:cubicBezTo>
                  <a:cubicBezTo>
                    <a:pt x="337" y="1382"/>
                    <a:pt x="337" y="1382"/>
                    <a:pt x="337" y="1382"/>
                  </a:cubicBezTo>
                  <a:cubicBezTo>
                    <a:pt x="344" y="1378"/>
                    <a:pt x="348" y="1371"/>
                    <a:pt x="348" y="1363"/>
                  </a:cubicBezTo>
                  <a:cubicBezTo>
                    <a:pt x="348" y="1200"/>
                    <a:pt x="348" y="1200"/>
                    <a:pt x="348" y="1200"/>
                  </a:cubicBezTo>
                  <a:cubicBezTo>
                    <a:pt x="492" y="1114"/>
                    <a:pt x="492" y="1114"/>
                    <a:pt x="492" y="1114"/>
                  </a:cubicBezTo>
                  <a:cubicBezTo>
                    <a:pt x="767" y="1272"/>
                    <a:pt x="767" y="1272"/>
                    <a:pt x="767" y="1272"/>
                  </a:cubicBezTo>
                  <a:cubicBezTo>
                    <a:pt x="767" y="1447"/>
                    <a:pt x="767" y="1447"/>
                    <a:pt x="767" y="1447"/>
                  </a:cubicBezTo>
                  <a:cubicBezTo>
                    <a:pt x="626" y="1529"/>
                    <a:pt x="626" y="1529"/>
                    <a:pt x="626" y="1529"/>
                  </a:cubicBezTo>
                  <a:cubicBezTo>
                    <a:pt x="619" y="1533"/>
                    <a:pt x="615" y="1540"/>
                    <a:pt x="615" y="1548"/>
                  </a:cubicBezTo>
                  <a:cubicBezTo>
                    <a:pt x="615" y="1723"/>
                    <a:pt x="615" y="1723"/>
                    <a:pt x="615" y="1723"/>
                  </a:cubicBezTo>
                  <a:cubicBezTo>
                    <a:pt x="615" y="1731"/>
                    <a:pt x="619" y="1738"/>
                    <a:pt x="626" y="1742"/>
                  </a:cubicBezTo>
                  <a:cubicBezTo>
                    <a:pt x="778" y="1830"/>
                    <a:pt x="778" y="1830"/>
                    <a:pt x="778" y="1830"/>
                  </a:cubicBezTo>
                  <a:cubicBezTo>
                    <a:pt x="781" y="1832"/>
                    <a:pt x="785" y="1833"/>
                    <a:pt x="789" y="1833"/>
                  </a:cubicBezTo>
                  <a:cubicBezTo>
                    <a:pt x="793" y="1833"/>
                    <a:pt x="797" y="1832"/>
                    <a:pt x="800" y="1830"/>
                  </a:cubicBezTo>
                  <a:cubicBezTo>
                    <a:pt x="952" y="1742"/>
                    <a:pt x="952" y="1742"/>
                    <a:pt x="952" y="1742"/>
                  </a:cubicBezTo>
                  <a:cubicBezTo>
                    <a:pt x="959" y="1738"/>
                    <a:pt x="963" y="1731"/>
                    <a:pt x="963" y="1723"/>
                  </a:cubicBezTo>
                  <a:cubicBezTo>
                    <a:pt x="963" y="1548"/>
                    <a:pt x="963" y="1548"/>
                    <a:pt x="963" y="1548"/>
                  </a:cubicBezTo>
                  <a:cubicBezTo>
                    <a:pt x="963" y="1540"/>
                    <a:pt x="959" y="1533"/>
                    <a:pt x="952" y="1529"/>
                  </a:cubicBezTo>
                  <a:cubicBezTo>
                    <a:pt x="811" y="1447"/>
                    <a:pt x="811" y="1447"/>
                    <a:pt x="811" y="1447"/>
                  </a:cubicBezTo>
                  <a:cubicBezTo>
                    <a:pt x="811" y="1272"/>
                    <a:pt x="811" y="1272"/>
                    <a:pt x="811" y="1272"/>
                  </a:cubicBezTo>
                  <a:cubicBezTo>
                    <a:pt x="1086" y="1114"/>
                    <a:pt x="1086" y="1114"/>
                    <a:pt x="1086" y="1114"/>
                  </a:cubicBezTo>
                  <a:cubicBezTo>
                    <a:pt x="1232" y="1200"/>
                    <a:pt x="1232" y="1200"/>
                    <a:pt x="1232" y="1200"/>
                  </a:cubicBezTo>
                  <a:cubicBezTo>
                    <a:pt x="1232" y="1363"/>
                    <a:pt x="1232" y="1363"/>
                    <a:pt x="1232" y="1363"/>
                  </a:cubicBezTo>
                  <a:cubicBezTo>
                    <a:pt x="1232" y="1371"/>
                    <a:pt x="1237" y="1378"/>
                    <a:pt x="1243" y="1382"/>
                  </a:cubicBezTo>
                  <a:cubicBezTo>
                    <a:pt x="1395" y="1470"/>
                    <a:pt x="1395" y="1470"/>
                    <a:pt x="1395" y="1470"/>
                  </a:cubicBezTo>
                  <a:cubicBezTo>
                    <a:pt x="1399" y="1472"/>
                    <a:pt x="1403" y="1473"/>
                    <a:pt x="1406" y="1473"/>
                  </a:cubicBezTo>
                  <a:cubicBezTo>
                    <a:pt x="1410" y="1473"/>
                    <a:pt x="1414" y="1472"/>
                    <a:pt x="1417" y="1470"/>
                  </a:cubicBezTo>
                  <a:cubicBezTo>
                    <a:pt x="1569" y="1382"/>
                    <a:pt x="1569" y="1382"/>
                    <a:pt x="1569" y="1382"/>
                  </a:cubicBezTo>
                  <a:cubicBezTo>
                    <a:pt x="1576" y="1378"/>
                    <a:pt x="1580" y="1371"/>
                    <a:pt x="1580" y="1363"/>
                  </a:cubicBezTo>
                  <a:cubicBezTo>
                    <a:pt x="1580" y="1188"/>
                    <a:pt x="1580" y="1188"/>
                    <a:pt x="1580" y="1188"/>
                  </a:cubicBezTo>
                  <a:cubicBezTo>
                    <a:pt x="1580" y="1180"/>
                    <a:pt x="1576" y="1173"/>
                    <a:pt x="1569" y="1169"/>
                  </a:cubicBezTo>
                  <a:cubicBezTo>
                    <a:pt x="1417" y="1081"/>
                    <a:pt x="1417" y="1081"/>
                    <a:pt x="1417" y="1081"/>
                  </a:cubicBezTo>
                  <a:cubicBezTo>
                    <a:pt x="1411" y="1077"/>
                    <a:pt x="1402" y="1077"/>
                    <a:pt x="1395" y="1081"/>
                  </a:cubicBezTo>
                  <a:cubicBezTo>
                    <a:pt x="1254" y="1162"/>
                    <a:pt x="1254" y="1162"/>
                    <a:pt x="1254" y="1162"/>
                  </a:cubicBezTo>
                  <a:cubicBezTo>
                    <a:pt x="1108" y="1076"/>
                    <a:pt x="1108" y="1076"/>
                    <a:pt x="1108" y="1076"/>
                  </a:cubicBezTo>
                  <a:lnTo>
                    <a:pt x="1108" y="758"/>
                  </a:lnTo>
                  <a:close/>
                  <a:moveTo>
                    <a:pt x="789" y="892"/>
                  </a:moveTo>
                  <a:cubicBezTo>
                    <a:pt x="536" y="746"/>
                    <a:pt x="536" y="746"/>
                    <a:pt x="536" y="746"/>
                  </a:cubicBezTo>
                  <a:cubicBezTo>
                    <a:pt x="789" y="600"/>
                    <a:pt x="789" y="600"/>
                    <a:pt x="789" y="600"/>
                  </a:cubicBezTo>
                  <a:cubicBezTo>
                    <a:pt x="1042" y="746"/>
                    <a:pt x="1042" y="746"/>
                    <a:pt x="1042" y="746"/>
                  </a:cubicBezTo>
                  <a:lnTo>
                    <a:pt x="789" y="892"/>
                  </a:lnTo>
                  <a:close/>
                  <a:moveTo>
                    <a:pt x="1276" y="483"/>
                  </a:moveTo>
                  <a:cubicBezTo>
                    <a:pt x="1406" y="408"/>
                    <a:pt x="1406" y="408"/>
                    <a:pt x="1406" y="408"/>
                  </a:cubicBezTo>
                  <a:cubicBezTo>
                    <a:pt x="1536" y="483"/>
                    <a:pt x="1536" y="483"/>
                    <a:pt x="1536" y="483"/>
                  </a:cubicBezTo>
                  <a:cubicBezTo>
                    <a:pt x="1536" y="634"/>
                    <a:pt x="1536" y="634"/>
                    <a:pt x="1536" y="634"/>
                  </a:cubicBezTo>
                  <a:cubicBezTo>
                    <a:pt x="1406" y="709"/>
                    <a:pt x="1406" y="709"/>
                    <a:pt x="1406" y="709"/>
                  </a:cubicBezTo>
                  <a:cubicBezTo>
                    <a:pt x="1276" y="634"/>
                    <a:pt x="1276" y="634"/>
                    <a:pt x="1276" y="634"/>
                  </a:cubicBezTo>
                  <a:lnTo>
                    <a:pt x="1276" y="483"/>
                  </a:lnTo>
                  <a:close/>
                  <a:moveTo>
                    <a:pt x="659" y="123"/>
                  </a:moveTo>
                  <a:cubicBezTo>
                    <a:pt x="789" y="48"/>
                    <a:pt x="789" y="48"/>
                    <a:pt x="789" y="48"/>
                  </a:cubicBezTo>
                  <a:cubicBezTo>
                    <a:pt x="919" y="123"/>
                    <a:pt x="919" y="123"/>
                    <a:pt x="919" y="123"/>
                  </a:cubicBezTo>
                  <a:cubicBezTo>
                    <a:pt x="919" y="274"/>
                    <a:pt x="919" y="274"/>
                    <a:pt x="919" y="274"/>
                  </a:cubicBezTo>
                  <a:cubicBezTo>
                    <a:pt x="789" y="349"/>
                    <a:pt x="789" y="349"/>
                    <a:pt x="789" y="349"/>
                  </a:cubicBezTo>
                  <a:cubicBezTo>
                    <a:pt x="659" y="274"/>
                    <a:pt x="659" y="274"/>
                    <a:pt x="659" y="274"/>
                  </a:cubicBezTo>
                  <a:lnTo>
                    <a:pt x="659" y="123"/>
                  </a:lnTo>
                  <a:close/>
                  <a:moveTo>
                    <a:pt x="304" y="634"/>
                  </a:moveTo>
                  <a:cubicBezTo>
                    <a:pt x="174" y="709"/>
                    <a:pt x="174" y="709"/>
                    <a:pt x="174" y="709"/>
                  </a:cubicBezTo>
                  <a:cubicBezTo>
                    <a:pt x="44" y="634"/>
                    <a:pt x="44" y="634"/>
                    <a:pt x="44" y="634"/>
                  </a:cubicBezTo>
                  <a:cubicBezTo>
                    <a:pt x="44" y="483"/>
                    <a:pt x="44" y="483"/>
                    <a:pt x="44" y="483"/>
                  </a:cubicBezTo>
                  <a:cubicBezTo>
                    <a:pt x="174" y="408"/>
                    <a:pt x="174" y="408"/>
                    <a:pt x="174" y="408"/>
                  </a:cubicBezTo>
                  <a:cubicBezTo>
                    <a:pt x="304" y="483"/>
                    <a:pt x="304" y="483"/>
                    <a:pt x="304" y="483"/>
                  </a:cubicBezTo>
                  <a:lnTo>
                    <a:pt x="304" y="634"/>
                  </a:lnTo>
                  <a:close/>
                  <a:moveTo>
                    <a:pt x="304" y="1351"/>
                  </a:moveTo>
                  <a:cubicBezTo>
                    <a:pt x="174" y="1426"/>
                    <a:pt x="174" y="1426"/>
                    <a:pt x="174" y="1426"/>
                  </a:cubicBezTo>
                  <a:cubicBezTo>
                    <a:pt x="44" y="1351"/>
                    <a:pt x="44" y="1351"/>
                    <a:pt x="44" y="1351"/>
                  </a:cubicBezTo>
                  <a:cubicBezTo>
                    <a:pt x="44" y="1200"/>
                    <a:pt x="44" y="1200"/>
                    <a:pt x="44" y="1200"/>
                  </a:cubicBezTo>
                  <a:cubicBezTo>
                    <a:pt x="174" y="1125"/>
                    <a:pt x="174" y="1125"/>
                    <a:pt x="174" y="1125"/>
                  </a:cubicBezTo>
                  <a:cubicBezTo>
                    <a:pt x="304" y="1200"/>
                    <a:pt x="304" y="1200"/>
                    <a:pt x="304" y="1200"/>
                  </a:cubicBezTo>
                  <a:lnTo>
                    <a:pt x="304" y="1351"/>
                  </a:lnTo>
                  <a:close/>
                  <a:moveTo>
                    <a:pt x="514" y="784"/>
                  </a:moveTo>
                  <a:cubicBezTo>
                    <a:pt x="767" y="930"/>
                    <a:pt x="767" y="930"/>
                    <a:pt x="767" y="930"/>
                  </a:cubicBezTo>
                  <a:cubicBezTo>
                    <a:pt x="767" y="1222"/>
                    <a:pt x="767" y="1222"/>
                    <a:pt x="767" y="1222"/>
                  </a:cubicBezTo>
                  <a:cubicBezTo>
                    <a:pt x="514" y="1076"/>
                    <a:pt x="514" y="1076"/>
                    <a:pt x="514" y="1076"/>
                  </a:cubicBezTo>
                  <a:lnTo>
                    <a:pt x="514" y="784"/>
                  </a:lnTo>
                  <a:close/>
                  <a:moveTo>
                    <a:pt x="919" y="1711"/>
                  </a:moveTo>
                  <a:cubicBezTo>
                    <a:pt x="789" y="1786"/>
                    <a:pt x="789" y="1786"/>
                    <a:pt x="789" y="1786"/>
                  </a:cubicBezTo>
                  <a:cubicBezTo>
                    <a:pt x="659" y="1711"/>
                    <a:pt x="659" y="1711"/>
                    <a:pt x="659" y="1711"/>
                  </a:cubicBezTo>
                  <a:cubicBezTo>
                    <a:pt x="659" y="1560"/>
                    <a:pt x="659" y="1560"/>
                    <a:pt x="659" y="1560"/>
                  </a:cubicBezTo>
                  <a:cubicBezTo>
                    <a:pt x="789" y="1485"/>
                    <a:pt x="789" y="1485"/>
                    <a:pt x="789" y="1485"/>
                  </a:cubicBezTo>
                  <a:cubicBezTo>
                    <a:pt x="919" y="1560"/>
                    <a:pt x="919" y="1560"/>
                    <a:pt x="919" y="1560"/>
                  </a:cubicBezTo>
                  <a:lnTo>
                    <a:pt x="919" y="1711"/>
                  </a:lnTo>
                  <a:close/>
                  <a:moveTo>
                    <a:pt x="811" y="1222"/>
                  </a:moveTo>
                  <a:cubicBezTo>
                    <a:pt x="811" y="930"/>
                    <a:pt x="811" y="930"/>
                    <a:pt x="811" y="930"/>
                  </a:cubicBezTo>
                  <a:cubicBezTo>
                    <a:pt x="1064" y="784"/>
                    <a:pt x="1064" y="784"/>
                    <a:pt x="1064" y="784"/>
                  </a:cubicBezTo>
                  <a:cubicBezTo>
                    <a:pt x="1064" y="1076"/>
                    <a:pt x="1064" y="1076"/>
                    <a:pt x="1064" y="1076"/>
                  </a:cubicBezTo>
                  <a:lnTo>
                    <a:pt x="811" y="1222"/>
                  </a:lnTo>
                  <a:close/>
                  <a:moveTo>
                    <a:pt x="1276" y="1200"/>
                  </a:moveTo>
                  <a:cubicBezTo>
                    <a:pt x="1406" y="1125"/>
                    <a:pt x="1406" y="1125"/>
                    <a:pt x="1406" y="1125"/>
                  </a:cubicBezTo>
                  <a:cubicBezTo>
                    <a:pt x="1536" y="1200"/>
                    <a:pt x="1536" y="1200"/>
                    <a:pt x="1536" y="1200"/>
                  </a:cubicBezTo>
                  <a:cubicBezTo>
                    <a:pt x="1536" y="1351"/>
                    <a:pt x="1536" y="1351"/>
                    <a:pt x="1536" y="1351"/>
                  </a:cubicBezTo>
                  <a:cubicBezTo>
                    <a:pt x="1406" y="1426"/>
                    <a:pt x="1406" y="1426"/>
                    <a:pt x="1406" y="1426"/>
                  </a:cubicBezTo>
                  <a:cubicBezTo>
                    <a:pt x="1276" y="1351"/>
                    <a:pt x="1276" y="1351"/>
                    <a:pt x="1276" y="1351"/>
                  </a:cubicBezTo>
                  <a:lnTo>
                    <a:pt x="1276" y="120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200" tIns="38100" rIns="76200" bIns="38100" numCol="1" anchor="t" anchorCtr="0" compatLnSpc="1">
              <a:prstTxWarp prst="textNoShape">
                <a:avLst/>
              </a:prstTxWarp>
            </a:bodyPr>
            <a:lstStyle/>
            <a:p>
              <a:endParaRPr lang="en-US" sz="1500" dirty="0"/>
            </a:p>
          </p:txBody>
        </p:sp>
      </p:grpSp>
      <p:grpSp>
        <p:nvGrpSpPr>
          <p:cNvPr id="35" name="bcgIcons_Megaphone">
            <a:extLst>
              <a:ext uri="{FF2B5EF4-FFF2-40B4-BE49-F238E27FC236}">
                <a16:creationId xmlns="" xmlns:a16="http://schemas.microsoft.com/office/drawing/2014/main" id="{EB1B8F57-AE1F-4853-BE17-FE08355A3E2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630291" y="2011516"/>
            <a:ext cx="1141208" cy="1142266"/>
            <a:chOff x="1682" y="0"/>
            <a:chExt cx="4316" cy="4320"/>
          </a:xfrm>
        </p:grpSpPr>
        <p:sp>
          <p:nvSpPr>
            <p:cNvPr id="36" name="AutoShape 18">
              <a:extLst>
                <a:ext uri="{FF2B5EF4-FFF2-40B4-BE49-F238E27FC236}">
                  <a16:creationId xmlns="" xmlns:a16="http://schemas.microsoft.com/office/drawing/2014/main" id="{BAD2C0D2-D44E-48E5-ACED-CB948066CC9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200" tIns="38100" rIns="76200" bIns="38100" numCol="1" anchor="t" anchorCtr="0" compatLnSpc="1">
              <a:prstTxWarp prst="textNoShape">
                <a:avLst/>
              </a:prstTxWarp>
            </a:bodyPr>
            <a:lstStyle/>
            <a:p>
              <a:endParaRPr lang="en-US" sz="1500" dirty="0"/>
            </a:p>
          </p:txBody>
        </p:sp>
        <p:sp>
          <p:nvSpPr>
            <p:cNvPr id="37" name="Freeform 20">
              <a:extLst>
                <a:ext uri="{FF2B5EF4-FFF2-40B4-BE49-F238E27FC236}">
                  <a16:creationId xmlns="" xmlns:a16="http://schemas.microsoft.com/office/drawing/2014/main" id="{D0DEED23-E775-4E3C-8A0A-7C985BAF09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15" y="741"/>
              <a:ext cx="3130" cy="2949"/>
            </a:xfrm>
            <a:custGeom>
              <a:avLst/>
              <a:gdLst>
                <a:gd name="T0" fmla="*/ 234 w 1671"/>
                <a:gd name="T1" fmla="*/ 835 h 1573"/>
                <a:gd name="T2" fmla="*/ 0 w 1671"/>
                <a:gd name="T3" fmla="*/ 585 h 1573"/>
                <a:gd name="T4" fmla="*/ 234 w 1671"/>
                <a:gd name="T5" fmla="*/ 335 h 1573"/>
                <a:gd name="T6" fmla="*/ 234 w 1671"/>
                <a:gd name="T7" fmla="*/ 379 h 1573"/>
                <a:gd name="T8" fmla="*/ 44 w 1671"/>
                <a:gd name="T9" fmla="*/ 585 h 1573"/>
                <a:gd name="T10" fmla="*/ 234 w 1671"/>
                <a:gd name="T11" fmla="*/ 791 h 1573"/>
                <a:gd name="T12" fmla="*/ 234 w 1671"/>
                <a:gd name="T13" fmla="*/ 835 h 1573"/>
                <a:gd name="T14" fmla="*/ 1569 w 1671"/>
                <a:gd name="T15" fmla="*/ 0 h 1573"/>
                <a:gd name="T16" fmla="*/ 1524 w 1671"/>
                <a:gd name="T17" fmla="*/ 10 h 1573"/>
                <a:gd name="T18" fmla="*/ 1196 w 1671"/>
                <a:gd name="T19" fmla="*/ 169 h 1573"/>
                <a:gd name="T20" fmla="*/ 1202 w 1671"/>
                <a:gd name="T21" fmla="*/ 197 h 1573"/>
                <a:gd name="T22" fmla="*/ 1202 w 1671"/>
                <a:gd name="T23" fmla="*/ 215 h 1573"/>
                <a:gd name="T24" fmla="*/ 1544 w 1671"/>
                <a:gd name="T25" fmla="*/ 49 h 1573"/>
                <a:gd name="T26" fmla="*/ 1569 w 1671"/>
                <a:gd name="T27" fmla="*/ 44 h 1573"/>
                <a:gd name="T28" fmla="*/ 1627 w 1671"/>
                <a:gd name="T29" fmla="*/ 102 h 1573"/>
                <a:gd name="T30" fmla="*/ 1627 w 1671"/>
                <a:gd name="T31" fmla="*/ 1104 h 1573"/>
                <a:gd name="T32" fmla="*/ 1609 w 1671"/>
                <a:gd name="T33" fmla="*/ 1146 h 1573"/>
                <a:gd name="T34" fmla="*/ 1569 w 1671"/>
                <a:gd name="T35" fmla="*/ 1163 h 1573"/>
                <a:gd name="T36" fmla="*/ 1569 w 1671"/>
                <a:gd name="T37" fmla="*/ 1163 h 1573"/>
                <a:gd name="T38" fmla="*/ 1544 w 1671"/>
                <a:gd name="T39" fmla="*/ 1157 h 1573"/>
                <a:gd name="T40" fmla="*/ 1200 w 1671"/>
                <a:gd name="T41" fmla="*/ 990 h 1573"/>
                <a:gd name="T42" fmla="*/ 1173 w 1671"/>
                <a:gd name="T43" fmla="*/ 1026 h 1573"/>
                <a:gd name="T44" fmla="*/ 1524 w 1671"/>
                <a:gd name="T45" fmla="*/ 1196 h 1573"/>
                <a:gd name="T46" fmla="*/ 1569 w 1671"/>
                <a:gd name="T47" fmla="*/ 1207 h 1573"/>
                <a:gd name="T48" fmla="*/ 1569 w 1671"/>
                <a:gd name="T49" fmla="*/ 1207 h 1573"/>
                <a:gd name="T50" fmla="*/ 1640 w 1671"/>
                <a:gd name="T51" fmla="*/ 1178 h 1573"/>
                <a:gd name="T52" fmla="*/ 1671 w 1671"/>
                <a:gd name="T53" fmla="*/ 1104 h 1573"/>
                <a:gd name="T54" fmla="*/ 1671 w 1671"/>
                <a:gd name="T55" fmla="*/ 102 h 1573"/>
                <a:gd name="T56" fmla="*/ 1569 w 1671"/>
                <a:gd name="T57" fmla="*/ 0 h 1573"/>
                <a:gd name="T58" fmla="*/ 623 w 1671"/>
                <a:gd name="T59" fmla="*/ 960 h 1573"/>
                <a:gd name="T60" fmla="*/ 572 w 1671"/>
                <a:gd name="T61" fmla="*/ 953 h 1573"/>
                <a:gd name="T62" fmla="*/ 812 w 1671"/>
                <a:gd name="T63" fmla="*/ 1529 h 1573"/>
                <a:gd name="T64" fmla="*/ 600 w 1671"/>
                <a:gd name="T65" fmla="*/ 1529 h 1573"/>
                <a:gd name="T66" fmla="*/ 347 w 1671"/>
                <a:gd name="T67" fmla="*/ 919 h 1573"/>
                <a:gd name="T68" fmla="*/ 296 w 1671"/>
                <a:gd name="T69" fmla="*/ 912 h 1573"/>
                <a:gd name="T70" fmla="*/ 565 w 1671"/>
                <a:gd name="T71" fmla="*/ 1560 h 1573"/>
                <a:gd name="T72" fmla="*/ 586 w 1671"/>
                <a:gd name="T73" fmla="*/ 1573 h 1573"/>
                <a:gd name="T74" fmla="*/ 845 w 1671"/>
                <a:gd name="T75" fmla="*/ 1573 h 1573"/>
                <a:gd name="T76" fmla="*/ 863 w 1671"/>
                <a:gd name="T77" fmla="*/ 1563 h 1573"/>
                <a:gd name="T78" fmla="*/ 865 w 1671"/>
                <a:gd name="T79" fmla="*/ 1543 h 1573"/>
                <a:gd name="T80" fmla="*/ 623 w 1671"/>
                <a:gd name="T81" fmla="*/ 960 h 1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71" h="1573">
                  <a:moveTo>
                    <a:pt x="234" y="835"/>
                  </a:moveTo>
                  <a:cubicBezTo>
                    <a:pt x="101" y="815"/>
                    <a:pt x="0" y="710"/>
                    <a:pt x="0" y="585"/>
                  </a:cubicBezTo>
                  <a:cubicBezTo>
                    <a:pt x="0" y="459"/>
                    <a:pt x="101" y="355"/>
                    <a:pt x="234" y="335"/>
                  </a:cubicBezTo>
                  <a:cubicBezTo>
                    <a:pt x="234" y="379"/>
                    <a:pt x="234" y="379"/>
                    <a:pt x="234" y="379"/>
                  </a:cubicBezTo>
                  <a:cubicBezTo>
                    <a:pt x="126" y="399"/>
                    <a:pt x="44" y="483"/>
                    <a:pt x="44" y="585"/>
                  </a:cubicBezTo>
                  <a:cubicBezTo>
                    <a:pt x="44" y="686"/>
                    <a:pt x="126" y="771"/>
                    <a:pt x="234" y="791"/>
                  </a:cubicBezTo>
                  <a:lnTo>
                    <a:pt x="234" y="835"/>
                  </a:lnTo>
                  <a:close/>
                  <a:moveTo>
                    <a:pt x="1569" y="0"/>
                  </a:moveTo>
                  <a:cubicBezTo>
                    <a:pt x="1553" y="0"/>
                    <a:pt x="1539" y="3"/>
                    <a:pt x="1524" y="10"/>
                  </a:cubicBezTo>
                  <a:cubicBezTo>
                    <a:pt x="1196" y="169"/>
                    <a:pt x="1196" y="169"/>
                    <a:pt x="1196" y="169"/>
                  </a:cubicBezTo>
                  <a:cubicBezTo>
                    <a:pt x="1200" y="177"/>
                    <a:pt x="1202" y="187"/>
                    <a:pt x="1202" y="197"/>
                  </a:cubicBezTo>
                  <a:cubicBezTo>
                    <a:pt x="1202" y="215"/>
                    <a:pt x="1202" y="215"/>
                    <a:pt x="1202" y="215"/>
                  </a:cubicBezTo>
                  <a:cubicBezTo>
                    <a:pt x="1544" y="49"/>
                    <a:pt x="1544" y="49"/>
                    <a:pt x="1544" y="49"/>
                  </a:cubicBezTo>
                  <a:cubicBezTo>
                    <a:pt x="1552" y="46"/>
                    <a:pt x="1560" y="44"/>
                    <a:pt x="1569" y="44"/>
                  </a:cubicBezTo>
                  <a:cubicBezTo>
                    <a:pt x="1597" y="44"/>
                    <a:pt x="1627" y="66"/>
                    <a:pt x="1627" y="102"/>
                  </a:cubicBezTo>
                  <a:cubicBezTo>
                    <a:pt x="1627" y="1104"/>
                    <a:pt x="1627" y="1104"/>
                    <a:pt x="1627" y="1104"/>
                  </a:cubicBezTo>
                  <a:cubicBezTo>
                    <a:pt x="1627" y="1120"/>
                    <a:pt x="1621" y="1135"/>
                    <a:pt x="1609" y="1146"/>
                  </a:cubicBezTo>
                  <a:cubicBezTo>
                    <a:pt x="1598" y="1157"/>
                    <a:pt x="1584" y="1163"/>
                    <a:pt x="1569" y="1163"/>
                  </a:cubicBezTo>
                  <a:cubicBezTo>
                    <a:pt x="1569" y="1163"/>
                    <a:pt x="1569" y="1163"/>
                    <a:pt x="1569" y="1163"/>
                  </a:cubicBezTo>
                  <a:cubicBezTo>
                    <a:pt x="1560" y="1163"/>
                    <a:pt x="1552" y="1161"/>
                    <a:pt x="1544" y="1157"/>
                  </a:cubicBezTo>
                  <a:cubicBezTo>
                    <a:pt x="1200" y="990"/>
                    <a:pt x="1200" y="990"/>
                    <a:pt x="1200" y="990"/>
                  </a:cubicBezTo>
                  <a:cubicBezTo>
                    <a:pt x="1196" y="1006"/>
                    <a:pt x="1186" y="1018"/>
                    <a:pt x="1173" y="1026"/>
                  </a:cubicBezTo>
                  <a:cubicBezTo>
                    <a:pt x="1524" y="1196"/>
                    <a:pt x="1524" y="1196"/>
                    <a:pt x="1524" y="1196"/>
                  </a:cubicBezTo>
                  <a:cubicBezTo>
                    <a:pt x="1539" y="1203"/>
                    <a:pt x="1553" y="1207"/>
                    <a:pt x="1569" y="1207"/>
                  </a:cubicBezTo>
                  <a:cubicBezTo>
                    <a:pt x="1569" y="1207"/>
                    <a:pt x="1569" y="1207"/>
                    <a:pt x="1569" y="1207"/>
                  </a:cubicBezTo>
                  <a:cubicBezTo>
                    <a:pt x="1595" y="1207"/>
                    <a:pt x="1621" y="1196"/>
                    <a:pt x="1640" y="1178"/>
                  </a:cubicBezTo>
                  <a:cubicBezTo>
                    <a:pt x="1660" y="1158"/>
                    <a:pt x="1671" y="1132"/>
                    <a:pt x="1671" y="1104"/>
                  </a:cubicBezTo>
                  <a:cubicBezTo>
                    <a:pt x="1671" y="102"/>
                    <a:pt x="1671" y="102"/>
                    <a:pt x="1671" y="102"/>
                  </a:cubicBezTo>
                  <a:cubicBezTo>
                    <a:pt x="1671" y="45"/>
                    <a:pt x="1625" y="0"/>
                    <a:pt x="1569" y="0"/>
                  </a:cubicBezTo>
                  <a:close/>
                  <a:moveTo>
                    <a:pt x="623" y="960"/>
                  </a:moveTo>
                  <a:cubicBezTo>
                    <a:pt x="572" y="953"/>
                    <a:pt x="572" y="953"/>
                    <a:pt x="572" y="953"/>
                  </a:cubicBezTo>
                  <a:cubicBezTo>
                    <a:pt x="812" y="1529"/>
                    <a:pt x="812" y="1529"/>
                    <a:pt x="812" y="1529"/>
                  </a:cubicBezTo>
                  <a:cubicBezTo>
                    <a:pt x="600" y="1529"/>
                    <a:pt x="600" y="1529"/>
                    <a:pt x="600" y="1529"/>
                  </a:cubicBezTo>
                  <a:cubicBezTo>
                    <a:pt x="347" y="919"/>
                    <a:pt x="347" y="919"/>
                    <a:pt x="347" y="919"/>
                  </a:cubicBezTo>
                  <a:cubicBezTo>
                    <a:pt x="296" y="912"/>
                    <a:pt x="296" y="912"/>
                    <a:pt x="296" y="912"/>
                  </a:cubicBezTo>
                  <a:cubicBezTo>
                    <a:pt x="565" y="1560"/>
                    <a:pt x="565" y="1560"/>
                    <a:pt x="565" y="1560"/>
                  </a:cubicBezTo>
                  <a:cubicBezTo>
                    <a:pt x="569" y="1568"/>
                    <a:pt x="577" y="1573"/>
                    <a:pt x="586" y="1573"/>
                  </a:cubicBezTo>
                  <a:cubicBezTo>
                    <a:pt x="845" y="1573"/>
                    <a:pt x="845" y="1573"/>
                    <a:pt x="845" y="1573"/>
                  </a:cubicBezTo>
                  <a:cubicBezTo>
                    <a:pt x="852" y="1573"/>
                    <a:pt x="859" y="1569"/>
                    <a:pt x="863" y="1563"/>
                  </a:cubicBezTo>
                  <a:cubicBezTo>
                    <a:pt x="867" y="1557"/>
                    <a:pt x="868" y="1550"/>
                    <a:pt x="865" y="1543"/>
                  </a:cubicBezTo>
                  <a:lnTo>
                    <a:pt x="623" y="96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200" tIns="38100" rIns="76200" bIns="38100" numCol="1" anchor="t" anchorCtr="0" compatLnSpc="1">
              <a:prstTxWarp prst="textNoShape">
                <a:avLst/>
              </a:prstTxWarp>
            </a:bodyPr>
            <a:lstStyle/>
            <a:p>
              <a:endParaRPr lang="en-US" sz="1500" dirty="0"/>
            </a:p>
          </p:txBody>
        </p:sp>
        <p:sp>
          <p:nvSpPr>
            <p:cNvPr id="38" name="Freeform 21">
              <a:extLst>
                <a:ext uri="{FF2B5EF4-FFF2-40B4-BE49-F238E27FC236}">
                  <a16:creationId xmlns="" xmlns:a16="http://schemas.microsoft.com/office/drawing/2014/main" id="{C04817F1-F65C-455D-845B-0E718BDAE5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36" y="1074"/>
              <a:ext cx="2916" cy="1525"/>
            </a:xfrm>
            <a:custGeom>
              <a:avLst/>
              <a:gdLst>
                <a:gd name="T0" fmla="*/ 1557 w 1557"/>
                <a:gd name="T1" fmla="*/ 412 h 813"/>
                <a:gd name="T2" fmla="*/ 1437 w 1557"/>
                <a:gd name="T3" fmla="*/ 575 h 813"/>
                <a:gd name="T4" fmla="*/ 1437 w 1557"/>
                <a:gd name="T5" fmla="*/ 246 h 813"/>
                <a:gd name="T6" fmla="*/ 1557 w 1557"/>
                <a:gd name="T7" fmla="*/ 412 h 813"/>
                <a:gd name="T8" fmla="*/ 880 w 1557"/>
                <a:gd name="T9" fmla="*/ 797 h 813"/>
                <a:gd name="T10" fmla="*/ 880 w 1557"/>
                <a:gd name="T11" fmla="*/ 797 h 813"/>
                <a:gd name="T12" fmla="*/ 880 w 1557"/>
                <a:gd name="T13" fmla="*/ 19 h 813"/>
                <a:gd name="T14" fmla="*/ 861 w 1557"/>
                <a:gd name="T15" fmla="*/ 0 h 813"/>
                <a:gd name="T16" fmla="*/ 19 w 1557"/>
                <a:gd name="T17" fmla="*/ 108 h 813"/>
                <a:gd name="T18" fmla="*/ 0 w 1557"/>
                <a:gd name="T19" fmla="*/ 127 h 813"/>
                <a:gd name="T20" fmla="*/ 0 w 1557"/>
                <a:gd name="T21" fmla="*/ 671 h 813"/>
                <a:gd name="T22" fmla="*/ 19 w 1557"/>
                <a:gd name="T23" fmla="*/ 690 h 813"/>
                <a:gd name="T24" fmla="*/ 861 w 1557"/>
                <a:gd name="T25" fmla="*/ 813 h 813"/>
                <a:gd name="T26" fmla="*/ 880 w 1557"/>
                <a:gd name="T27" fmla="*/ 797 h 8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7" h="813">
                  <a:moveTo>
                    <a:pt x="1557" y="412"/>
                  </a:moveTo>
                  <a:cubicBezTo>
                    <a:pt x="1557" y="486"/>
                    <a:pt x="1506" y="550"/>
                    <a:pt x="1437" y="575"/>
                  </a:cubicBezTo>
                  <a:cubicBezTo>
                    <a:pt x="1437" y="246"/>
                    <a:pt x="1437" y="246"/>
                    <a:pt x="1437" y="246"/>
                  </a:cubicBezTo>
                  <a:cubicBezTo>
                    <a:pt x="1506" y="271"/>
                    <a:pt x="1557" y="335"/>
                    <a:pt x="1557" y="412"/>
                  </a:cubicBezTo>
                  <a:close/>
                  <a:moveTo>
                    <a:pt x="880" y="797"/>
                  </a:moveTo>
                  <a:cubicBezTo>
                    <a:pt x="880" y="797"/>
                    <a:pt x="880" y="797"/>
                    <a:pt x="880" y="797"/>
                  </a:cubicBezTo>
                  <a:cubicBezTo>
                    <a:pt x="880" y="19"/>
                    <a:pt x="880" y="19"/>
                    <a:pt x="880" y="19"/>
                  </a:cubicBezTo>
                  <a:cubicBezTo>
                    <a:pt x="880" y="7"/>
                    <a:pt x="873" y="0"/>
                    <a:pt x="861" y="0"/>
                  </a:cubicBezTo>
                  <a:cubicBezTo>
                    <a:pt x="861" y="0"/>
                    <a:pt x="861" y="0"/>
                    <a:pt x="19" y="108"/>
                  </a:cubicBezTo>
                  <a:cubicBezTo>
                    <a:pt x="9" y="108"/>
                    <a:pt x="0" y="117"/>
                    <a:pt x="0" y="127"/>
                  </a:cubicBezTo>
                  <a:cubicBezTo>
                    <a:pt x="0" y="127"/>
                    <a:pt x="0" y="127"/>
                    <a:pt x="0" y="671"/>
                  </a:cubicBezTo>
                  <a:cubicBezTo>
                    <a:pt x="0" y="683"/>
                    <a:pt x="9" y="690"/>
                    <a:pt x="19" y="690"/>
                  </a:cubicBezTo>
                  <a:cubicBezTo>
                    <a:pt x="19" y="690"/>
                    <a:pt x="19" y="690"/>
                    <a:pt x="861" y="813"/>
                  </a:cubicBezTo>
                  <a:cubicBezTo>
                    <a:pt x="873" y="813"/>
                    <a:pt x="880" y="806"/>
                    <a:pt x="880" y="79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200" tIns="38100" rIns="76200" bIns="38100" numCol="1" anchor="t" anchorCtr="0" compatLnSpc="1">
              <a:prstTxWarp prst="textNoShape">
                <a:avLst/>
              </a:prstTxWarp>
            </a:bodyPr>
            <a:lstStyle/>
            <a:p>
              <a:endParaRPr lang="en-US" sz="1500" dirty="0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E0FB8B8A-3AAA-4D2B-8942-F632B4D40DA0}"/>
              </a:ext>
            </a:extLst>
          </p:cNvPr>
          <p:cNvSpPr/>
          <p:nvPr/>
        </p:nvSpPr>
        <p:spPr>
          <a:xfrm>
            <a:off x="1347001" y="4502815"/>
            <a:ext cx="2788920" cy="708157"/>
          </a:xfrm>
          <a:prstGeom prst="rect">
            <a:avLst/>
          </a:prstGeom>
        </p:spPr>
        <p:txBody>
          <a:bodyPr wrap="square" lIns="0" tIns="0" rIns="91440" bIns="0">
            <a:noAutofit/>
          </a:bodyPr>
          <a:lstStyle/>
          <a:p>
            <a:pPr defTabSz="914363">
              <a:buSzPct val="100000"/>
              <a:buFont typeface="Trebuchet MS" panose="020B0603020202020204" pitchFamily="34" charset="0"/>
              <a:buChar char="​"/>
            </a:pPr>
            <a:r>
              <a:rPr lang="en-US" sz="1400" b="1" dirty="0">
                <a:solidFill>
                  <a:srgbClr val="1F4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ow the city's tech economy… </a:t>
            </a:r>
          </a:p>
          <a:p>
            <a:pPr defTabSz="914363">
              <a:buSzPct val="100000"/>
              <a:buFont typeface="Trebuchet MS" panose="020B0603020202020204" pitchFamily="34" charset="0"/>
              <a:buChar char="​"/>
            </a:pPr>
            <a:r>
              <a:rPr lang="en-US" sz="1400" dirty="0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y connecting traditionally siloed stakeholders in the tech ecosystem to foster meaningful collaboration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114" y="4502815"/>
            <a:ext cx="428107" cy="378574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="" xmlns:a16="http://schemas.microsoft.com/office/drawing/2014/main" id="{45C4ADA4-935A-4E33-8A93-7FE1DB87EF93}"/>
              </a:ext>
            </a:extLst>
          </p:cNvPr>
          <p:cNvSpPr/>
          <p:nvPr/>
        </p:nvSpPr>
        <p:spPr>
          <a:xfrm>
            <a:off x="5060715" y="4568156"/>
            <a:ext cx="2816352" cy="70815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US" sz="1400" b="1" dirty="0">
                <a:solidFill>
                  <a:srgbClr val="1F4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ild an inclusive talent base…</a:t>
            </a:r>
            <a:endParaRPr lang="en-US" sz="1400" b="1" dirty="0">
              <a:solidFill>
                <a:schemeClr val="tx2"/>
              </a:solidFill>
            </a:endParaRPr>
          </a:p>
          <a:p>
            <a:pPr defTabSz="914363">
              <a:buSzPct val="100000"/>
              <a:buFont typeface="Trebuchet MS" panose="020B0603020202020204" pitchFamily="34" charset="0"/>
              <a:buChar char="​"/>
            </a:pPr>
            <a:r>
              <a:rPr lang="en-US" sz="1400" dirty="0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y retaining more top tech graduates &amp; targeting growth efforts to be inclusive of all populations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9309" y="4502815"/>
            <a:ext cx="451891" cy="380714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="" xmlns:a16="http://schemas.microsoft.com/office/drawing/2014/main" id="{45C4ADA4-935A-4E33-8A93-7FE1DB87EF93}"/>
              </a:ext>
            </a:extLst>
          </p:cNvPr>
          <p:cNvSpPr/>
          <p:nvPr/>
        </p:nvSpPr>
        <p:spPr>
          <a:xfrm>
            <a:off x="8774430" y="4568157"/>
            <a:ext cx="2852928" cy="70815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defTabSz="914363">
              <a:buSzPct val="100000"/>
              <a:buFont typeface="Trebuchet MS" panose="020B0603020202020204" pitchFamily="34" charset="0"/>
              <a:buChar char="​"/>
            </a:pPr>
            <a:r>
              <a:rPr lang="en-US" sz="1400" b="1" dirty="0">
                <a:solidFill>
                  <a:srgbClr val="1F4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come the envy of other cities…</a:t>
            </a:r>
          </a:p>
          <a:p>
            <a:pPr defTabSz="914363">
              <a:buSzPct val="100000"/>
              <a:buFont typeface="Trebuchet MS" panose="020B0603020202020204" pitchFamily="34" charset="0"/>
              <a:buChar char="​"/>
            </a:pPr>
            <a:r>
              <a:rPr lang="en-US" sz="1400" dirty="0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y communicating a bold and inclusive vision for Chicago and celebrating our successes 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5733" y="4502816"/>
            <a:ext cx="380540" cy="358445"/>
          </a:xfrm>
          <a:prstGeom prst="rect">
            <a:avLst/>
          </a:prstGeom>
        </p:spPr>
      </p:pic>
      <p:grpSp>
        <p:nvGrpSpPr>
          <p:cNvPr id="2" name="Group 1"/>
          <p:cNvGrpSpPr/>
          <p:nvPr/>
        </p:nvGrpSpPr>
        <p:grpSpPr>
          <a:xfrm>
            <a:off x="1347001" y="4058360"/>
            <a:ext cx="2788920" cy="306171"/>
            <a:chOff x="5575220" y="3967668"/>
            <a:chExt cx="2560320" cy="306171"/>
          </a:xfrm>
        </p:grpSpPr>
        <p:cxnSp>
          <p:nvCxnSpPr>
            <p:cNvPr id="40" name="Straight Connector 39"/>
            <p:cNvCxnSpPr/>
            <p:nvPr/>
          </p:nvCxnSpPr>
          <p:spPr>
            <a:xfrm rot="5400000">
              <a:off x="6855380" y="2840594"/>
              <a:ext cx="0" cy="2560320"/>
            </a:xfrm>
            <a:prstGeom prst="line">
              <a:avLst/>
            </a:prstGeom>
            <a:ln w="9525" cap="rnd">
              <a:solidFill>
                <a:srgbClr val="9A9A9A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1" name="Group 40"/>
            <p:cNvGrpSpPr/>
            <p:nvPr/>
          </p:nvGrpSpPr>
          <p:grpSpPr>
            <a:xfrm rot="5400000">
              <a:off x="6702295" y="3967299"/>
              <a:ext cx="306171" cy="306910"/>
              <a:chOff x="5937564" y="3833745"/>
              <a:chExt cx="306171" cy="306910"/>
            </a:xfrm>
          </p:grpSpPr>
          <p:sp>
            <p:nvSpPr>
              <p:cNvPr id="42" name="Freeform 94"/>
              <p:cNvSpPr>
                <a:spLocks/>
              </p:cNvSpPr>
              <p:nvPr/>
            </p:nvSpPr>
            <p:spPr bwMode="gray">
              <a:xfrm>
                <a:off x="593756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solidFill>
                  <a:schemeClr val="tx2"/>
                </a:solidFill>
              </a:ln>
              <a:extLst/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6E6F73"/>
                  </a:solidFill>
                </a:endParaRPr>
              </a:p>
            </p:txBody>
          </p:sp>
          <p:sp>
            <p:nvSpPr>
              <p:cNvPr id="43" name="Freeform 95"/>
              <p:cNvSpPr>
                <a:spLocks/>
              </p:cNvSpPr>
              <p:nvPr/>
            </p:nvSpPr>
            <p:spPr bwMode="gray">
              <a:xfrm>
                <a:off x="605399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6E6F73"/>
                  </a:solidFill>
                </a:endParaRPr>
              </a:p>
            </p:txBody>
          </p:sp>
        </p:grpSp>
      </p:grpSp>
      <p:grpSp>
        <p:nvGrpSpPr>
          <p:cNvPr id="44" name="Group 43"/>
          <p:cNvGrpSpPr/>
          <p:nvPr/>
        </p:nvGrpSpPr>
        <p:grpSpPr>
          <a:xfrm>
            <a:off x="5074431" y="4057782"/>
            <a:ext cx="2788920" cy="306171"/>
            <a:chOff x="5575220" y="3967668"/>
            <a:chExt cx="2560320" cy="306171"/>
          </a:xfrm>
        </p:grpSpPr>
        <p:cxnSp>
          <p:nvCxnSpPr>
            <p:cNvPr id="45" name="Straight Connector 44"/>
            <p:cNvCxnSpPr/>
            <p:nvPr/>
          </p:nvCxnSpPr>
          <p:spPr>
            <a:xfrm rot="5400000">
              <a:off x="6855380" y="2840594"/>
              <a:ext cx="0" cy="2560320"/>
            </a:xfrm>
            <a:prstGeom prst="line">
              <a:avLst/>
            </a:prstGeom>
            <a:ln w="9525" cap="rnd">
              <a:solidFill>
                <a:srgbClr val="9A9A9A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6" name="Group 45"/>
            <p:cNvGrpSpPr/>
            <p:nvPr/>
          </p:nvGrpSpPr>
          <p:grpSpPr>
            <a:xfrm rot="5400000">
              <a:off x="6702295" y="3967299"/>
              <a:ext cx="306171" cy="306910"/>
              <a:chOff x="5937564" y="3833745"/>
              <a:chExt cx="306171" cy="306910"/>
            </a:xfrm>
          </p:grpSpPr>
          <p:sp>
            <p:nvSpPr>
              <p:cNvPr id="47" name="Freeform 94"/>
              <p:cNvSpPr>
                <a:spLocks/>
              </p:cNvSpPr>
              <p:nvPr/>
            </p:nvSpPr>
            <p:spPr bwMode="gray">
              <a:xfrm>
                <a:off x="593756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solidFill>
                  <a:schemeClr val="tx2"/>
                </a:solidFill>
              </a:ln>
              <a:extLst/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6E6F73"/>
                  </a:solidFill>
                </a:endParaRPr>
              </a:p>
            </p:txBody>
          </p:sp>
          <p:sp>
            <p:nvSpPr>
              <p:cNvPr id="48" name="Freeform 95"/>
              <p:cNvSpPr>
                <a:spLocks/>
              </p:cNvSpPr>
              <p:nvPr/>
            </p:nvSpPr>
            <p:spPr bwMode="gray">
              <a:xfrm>
                <a:off x="605399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6E6F73"/>
                  </a:solidFill>
                </a:endParaRPr>
              </a:p>
            </p:txBody>
          </p:sp>
        </p:grpSp>
      </p:grpSp>
      <p:grpSp>
        <p:nvGrpSpPr>
          <p:cNvPr id="49" name="Group 48"/>
          <p:cNvGrpSpPr/>
          <p:nvPr/>
        </p:nvGrpSpPr>
        <p:grpSpPr>
          <a:xfrm>
            <a:off x="8806435" y="4053057"/>
            <a:ext cx="2788920" cy="306171"/>
            <a:chOff x="5575220" y="3967668"/>
            <a:chExt cx="2560320" cy="306171"/>
          </a:xfrm>
        </p:grpSpPr>
        <p:cxnSp>
          <p:nvCxnSpPr>
            <p:cNvPr id="50" name="Straight Connector 49"/>
            <p:cNvCxnSpPr/>
            <p:nvPr/>
          </p:nvCxnSpPr>
          <p:spPr>
            <a:xfrm rot="5400000">
              <a:off x="6855380" y="2840594"/>
              <a:ext cx="0" cy="2560320"/>
            </a:xfrm>
            <a:prstGeom prst="line">
              <a:avLst/>
            </a:prstGeom>
            <a:ln w="9525" cap="rnd">
              <a:solidFill>
                <a:srgbClr val="9A9A9A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1" name="Group 50"/>
            <p:cNvGrpSpPr/>
            <p:nvPr/>
          </p:nvGrpSpPr>
          <p:grpSpPr>
            <a:xfrm rot="5400000">
              <a:off x="6702295" y="3967299"/>
              <a:ext cx="306171" cy="306910"/>
              <a:chOff x="5937564" y="3833745"/>
              <a:chExt cx="306171" cy="306910"/>
            </a:xfrm>
          </p:grpSpPr>
          <p:sp>
            <p:nvSpPr>
              <p:cNvPr id="52" name="Freeform 94"/>
              <p:cNvSpPr>
                <a:spLocks/>
              </p:cNvSpPr>
              <p:nvPr/>
            </p:nvSpPr>
            <p:spPr bwMode="gray">
              <a:xfrm>
                <a:off x="593756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solidFill>
                  <a:schemeClr val="tx2"/>
                </a:solidFill>
              </a:ln>
              <a:extLst/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6E6F73"/>
                  </a:solidFill>
                </a:endParaRPr>
              </a:p>
            </p:txBody>
          </p:sp>
          <p:sp>
            <p:nvSpPr>
              <p:cNvPr id="53" name="Freeform 95"/>
              <p:cNvSpPr>
                <a:spLocks/>
              </p:cNvSpPr>
              <p:nvPr/>
            </p:nvSpPr>
            <p:spPr bwMode="gray">
              <a:xfrm>
                <a:off x="605399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6E6F73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35183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53" name="think-cell Slide" r:id="rId5" imgW="471" imgH="472" progId="TCLayout.ActiveDocument.1">
                  <p:embed/>
                </p:oleObj>
              </mc:Choice>
              <mc:Fallback>
                <p:oleObj name="think-cell Slide" r:id="rId5" imgW="471" imgH="47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 smtClean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4553633" y="2530724"/>
            <a:ext cx="7672209" cy="1028700"/>
          </a:xfrm>
          <a:prstGeom prst="rect">
            <a:avLst/>
          </a:prstGeom>
          <a:solidFill>
            <a:srgbClr val="FFFFFF">
              <a:alpha val="75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0" name="Rectangle 109"/>
          <p:cNvSpPr/>
          <p:nvPr/>
        </p:nvSpPr>
        <p:spPr>
          <a:xfrm>
            <a:off x="4553633" y="3735209"/>
            <a:ext cx="7672209" cy="1028700"/>
          </a:xfrm>
          <a:prstGeom prst="rect">
            <a:avLst/>
          </a:prstGeom>
          <a:solidFill>
            <a:srgbClr val="FFFFFF">
              <a:alpha val="75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Rectangle 110"/>
          <p:cNvSpPr/>
          <p:nvPr/>
        </p:nvSpPr>
        <p:spPr>
          <a:xfrm>
            <a:off x="4553633" y="4927082"/>
            <a:ext cx="7672209" cy="1028700"/>
          </a:xfrm>
          <a:prstGeom prst="rect">
            <a:avLst/>
          </a:prstGeom>
          <a:solidFill>
            <a:srgbClr val="FFFFFF">
              <a:alpha val="75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775597"/>
          </a:xfrm>
        </p:spPr>
        <p:txBody>
          <a:bodyPr>
            <a:spAutoFit/>
          </a:bodyPr>
          <a:lstStyle/>
          <a:p>
            <a:pPr>
              <a:buSzPts val="2400"/>
            </a:pPr>
            <a:r>
              <a:rPr lang="en-US" sz="2800" dirty="0" smtClean="0"/>
              <a:t>Over the last year, P33 brought together many city leaders to develop our strategy</a:t>
            </a:r>
            <a:endParaRPr lang="en-US" sz="2800" b="0" dirty="0">
              <a:latin typeface="+mn-lt"/>
            </a:endParaRPr>
          </a:p>
        </p:txBody>
      </p:sp>
      <p:sp>
        <p:nvSpPr>
          <p:cNvPr id="5" name="ee4pHeader1"/>
          <p:cNvSpPr txBox="1"/>
          <p:nvPr/>
        </p:nvSpPr>
        <p:spPr>
          <a:xfrm>
            <a:off x="629398" y="1499903"/>
            <a:ext cx="3252552" cy="75960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>
            <a:noAutofit/>
          </a:bodyPr>
          <a:lstStyle/>
          <a:p>
            <a:pPr marL="0" lvl="3"/>
            <a:r>
              <a:rPr lang="en-US" dirty="0" smtClean="0">
                <a:solidFill>
                  <a:schemeClr val="tx2"/>
                </a:solidFill>
                <a:latin typeface="+mj-lt"/>
              </a:rPr>
              <a:t>Chaired by respected Chicago leaders…</a:t>
            </a:r>
            <a:endParaRPr lang="en-US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9" name="ee4pHeader1"/>
          <p:cNvSpPr txBox="1"/>
          <p:nvPr/>
        </p:nvSpPr>
        <p:spPr>
          <a:xfrm>
            <a:off x="4553633" y="1499903"/>
            <a:ext cx="7180543" cy="75960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>
            <a:noAutofit/>
          </a:bodyPr>
          <a:lstStyle/>
          <a:p>
            <a:pPr marL="0" lvl="3"/>
            <a:r>
              <a:rPr lang="en-US" dirty="0" smtClean="0">
                <a:solidFill>
                  <a:schemeClr val="tx2"/>
                </a:solidFill>
                <a:latin typeface="+mj-lt"/>
              </a:rPr>
              <a:t>…P33 has engaged 200+ stakeholders across industry, tech and academia landscape over past 18 months</a:t>
            </a:r>
            <a:endParaRPr lang="en-US" dirty="0">
              <a:solidFill>
                <a:schemeClr val="tx2"/>
              </a:solidFill>
              <a:latin typeface="+mj-lt"/>
            </a:endParaRPr>
          </a:p>
        </p:txBody>
      </p:sp>
      <p:pic>
        <p:nvPicPr>
          <p:cNvPr id="212996" name="Picture 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72720" y="4052424"/>
            <a:ext cx="1512946" cy="346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8373" name="Picture 2" descr="image001"/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9824" y="4927980"/>
            <a:ext cx="1178739" cy="821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" name="TextBox 40"/>
          <p:cNvSpPr txBox="1"/>
          <p:nvPr/>
        </p:nvSpPr>
        <p:spPr>
          <a:xfrm>
            <a:off x="4553633" y="3870234"/>
            <a:ext cx="1207087" cy="73866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sz="1600" dirty="0" smtClean="0">
                <a:solidFill>
                  <a:srgbClr val="1F4174"/>
                </a:solidFill>
                <a:cs typeface="Arial" panose="020B0604020202020204" pitchFamily="34" charset="0"/>
              </a:rPr>
              <a:t>Universities, research &amp; talent</a:t>
            </a:r>
            <a:endParaRPr lang="en-US" sz="1600" dirty="0">
              <a:solidFill>
                <a:srgbClr val="1F4174"/>
              </a:solidFill>
              <a:cs typeface="Arial" panose="020B0604020202020204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4553633" y="2798852"/>
            <a:ext cx="1169892" cy="49244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hangingPunct="1">
              <a:defRPr/>
            </a:pPr>
            <a:r>
              <a:rPr lang="en-US" sz="1600" dirty="0" smtClean="0">
                <a:solidFill>
                  <a:srgbClr val="1F4174"/>
                </a:solidFill>
                <a:cs typeface="Arial" panose="020B0604020202020204" pitchFamily="34" charset="0"/>
              </a:rPr>
              <a:t>Industry &amp; corporates</a:t>
            </a:r>
            <a:endParaRPr lang="en-US" sz="1600" dirty="0">
              <a:solidFill>
                <a:srgbClr val="1F4174"/>
              </a:solidFill>
              <a:cs typeface="Arial" panose="020B0604020202020204" pitchFamily="34" charset="0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4553633" y="4941616"/>
            <a:ext cx="1207087" cy="9848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sz="1600" dirty="0" smtClean="0">
                <a:solidFill>
                  <a:srgbClr val="1F4174"/>
                </a:solidFill>
                <a:cs typeface="Arial" panose="020B0604020202020204" pitchFamily="34" charset="0"/>
              </a:rPr>
              <a:t>Developers, incubators / accelerators &amp; capital </a:t>
            </a:r>
            <a:endParaRPr lang="en-US" sz="1600" dirty="0">
              <a:solidFill>
                <a:srgbClr val="1F4174"/>
              </a:solidFill>
              <a:cs typeface="Arial" panose="020B0604020202020204" pitchFamily="34" charset="0"/>
            </a:endParaRPr>
          </a:p>
        </p:txBody>
      </p:sp>
      <p:pic>
        <p:nvPicPr>
          <p:cNvPr id="212998" name="Picture 6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20101" y="4963123"/>
            <a:ext cx="749974" cy="3200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480" y="2846525"/>
            <a:ext cx="1871138" cy="397097"/>
          </a:xfrm>
          <a:prstGeom prst="rect">
            <a:avLst/>
          </a:prstGeom>
        </p:spPr>
      </p:pic>
      <p:pic>
        <p:nvPicPr>
          <p:cNvPr id="213003" name="Picture 11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20388" y="5562014"/>
            <a:ext cx="1190626" cy="3636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" name="Picture 37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16979" y="5303828"/>
            <a:ext cx="910163" cy="231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ee4pHeader1"/>
          <p:cNvSpPr txBox="1"/>
          <p:nvPr/>
        </p:nvSpPr>
        <p:spPr>
          <a:xfrm>
            <a:off x="629399" y="2798852"/>
            <a:ext cx="879362" cy="492443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0" lvl="3"/>
            <a:r>
              <a:rPr lang="en-US" sz="1600" b="1" dirty="0" smtClean="0">
                <a:solidFill>
                  <a:schemeClr val="tx2"/>
                </a:solidFill>
              </a:rPr>
              <a:t>Penny Pritzker</a:t>
            </a:r>
            <a:endParaRPr lang="en-US" sz="1600" b="1" dirty="0">
              <a:solidFill>
                <a:schemeClr val="tx2"/>
              </a:solidFill>
            </a:endParaRPr>
          </a:p>
        </p:txBody>
      </p:sp>
      <p:sp>
        <p:nvSpPr>
          <p:cNvPr id="91" name="ee4pHeader1"/>
          <p:cNvSpPr txBox="1"/>
          <p:nvPr/>
        </p:nvSpPr>
        <p:spPr>
          <a:xfrm>
            <a:off x="629399" y="3979697"/>
            <a:ext cx="879362" cy="492443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0" lvl="3"/>
            <a:r>
              <a:rPr lang="en-US" sz="1600" b="1" dirty="0" smtClean="0">
                <a:solidFill>
                  <a:schemeClr val="tx2"/>
                </a:solidFill>
              </a:rPr>
              <a:t>Chris Gladwin</a:t>
            </a:r>
            <a:endParaRPr lang="en-US" sz="1600" b="1" dirty="0">
              <a:solidFill>
                <a:schemeClr val="tx2"/>
              </a:solidFill>
            </a:endParaRPr>
          </a:p>
        </p:txBody>
      </p:sp>
      <p:sp>
        <p:nvSpPr>
          <p:cNvPr id="92" name="ee4pHeader1"/>
          <p:cNvSpPr txBox="1"/>
          <p:nvPr/>
        </p:nvSpPr>
        <p:spPr>
          <a:xfrm>
            <a:off x="629399" y="5160542"/>
            <a:ext cx="879362" cy="492443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ctr" anchorCtr="0">
            <a:spAutoFit/>
          </a:bodyPr>
          <a:lstStyle/>
          <a:p>
            <a:pPr marL="0" lvl="3"/>
            <a:r>
              <a:rPr lang="en-US" sz="1600" b="1" dirty="0" smtClean="0">
                <a:solidFill>
                  <a:schemeClr val="tx2"/>
                </a:solidFill>
              </a:rPr>
              <a:t>Kelly Welsh</a:t>
            </a:r>
            <a:endParaRPr lang="en-US" sz="1600" b="1" dirty="0">
              <a:solidFill>
                <a:schemeClr val="tx2"/>
              </a:solidFill>
            </a:endParaRPr>
          </a:p>
        </p:txBody>
      </p:sp>
      <p:pic>
        <p:nvPicPr>
          <p:cNvPr id="94" name="Picture 31"/>
          <p:cNvPicPr>
            <a:picLocks noChangeAspect="1" noChangeArrowheads="1"/>
          </p:cNvPicPr>
          <p:nvPr/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66626" y="5104584"/>
            <a:ext cx="805144" cy="314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49"/>
          <p:cNvPicPr>
            <a:picLocks noChangeAspect="1" noChangeArrowheads="1"/>
          </p:cNvPicPr>
          <p:nvPr/>
        </p:nvPicPr>
        <p:blipFill rotWithShape="1">
          <a:blip r:embed="rId14" cstate="print">
            <a:clrChange>
              <a:clrFrom>
                <a:srgbClr val="090909">
                  <a:alpha val="3529"/>
                </a:srgbClr>
              </a:clrFrom>
              <a:clrTo>
                <a:srgbClr val="090909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794237" y="2993621"/>
            <a:ext cx="965227" cy="2359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64"/>
          <p:cNvPicPr>
            <a:picLocks noChangeAspect="1"/>
          </p:cNvPicPr>
          <p:nvPr/>
        </p:nvPicPr>
        <p:blipFill rotWithShape="1"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04165" y="3294721"/>
            <a:ext cx="1069870" cy="267283"/>
          </a:xfrm>
          <a:prstGeom prst="rect">
            <a:avLst/>
          </a:prstGeom>
        </p:spPr>
      </p:pic>
      <p:pic>
        <p:nvPicPr>
          <p:cNvPr id="66" name="Picture 131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69651" y="3792268"/>
            <a:ext cx="977793" cy="208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Picture 6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14756" y="4093467"/>
            <a:ext cx="518904" cy="326111"/>
          </a:xfrm>
          <a:prstGeom prst="rect">
            <a:avLst/>
          </a:prstGeom>
        </p:spPr>
      </p:pic>
      <p:pic>
        <p:nvPicPr>
          <p:cNvPr id="68" name="Picture 68"/>
          <p:cNvPicPr>
            <a:picLocks noChangeAspect="1" noChangeArrowheads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100" t="66307" r="34996" b="14478"/>
          <a:stretch/>
        </p:blipFill>
        <p:spPr bwMode="auto">
          <a:xfrm>
            <a:off x="8082578" y="4164706"/>
            <a:ext cx="927632" cy="163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32"/>
          <p:cNvPicPr>
            <a:picLocks noChangeAspect="1" noChangeArrowheads="1"/>
          </p:cNvPicPr>
          <p:nvPr/>
        </p:nvPicPr>
        <p:blipFill>
          <a:blip r:embed="rId1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86127" y="3746676"/>
            <a:ext cx="1247048" cy="3516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34"/>
          <p:cNvPicPr>
            <a:picLocks noChangeAspect="1" noChangeArrowheads="1"/>
          </p:cNvPicPr>
          <p:nvPr/>
        </p:nvPicPr>
        <p:blipFill>
          <a:blip r:embed="rId2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64575" y="4384327"/>
            <a:ext cx="957434" cy="3797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114"/>
          <p:cNvPicPr>
            <a:picLocks noChangeAspect="1" noChangeArrowheads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283835" y="4972899"/>
            <a:ext cx="643173" cy="1403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Picture 56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39460" y="5279473"/>
            <a:ext cx="364711" cy="2126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" name="Picture 5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08418" y="5294265"/>
            <a:ext cx="545693" cy="304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Picture 73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94237" y="4996196"/>
            <a:ext cx="636560" cy="162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Picture 93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62300" y="4467590"/>
            <a:ext cx="916753" cy="249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3005" name="Picture 13"/>
          <p:cNvPicPr>
            <a:picLocks noChangeAspect="1" noChangeArrowheads="1"/>
          </p:cNvPicPr>
          <p:nvPr/>
        </p:nvPicPr>
        <p:blipFill>
          <a:blip r:embed="rId2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65313" y="2577270"/>
            <a:ext cx="890715" cy="366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3009" name="Picture 17"/>
          <p:cNvPicPr>
            <a:picLocks noChangeAspect="1" noChangeArrowheads="1"/>
          </p:cNvPicPr>
          <p:nvPr/>
        </p:nvPicPr>
        <p:blipFill>
          <a:blip r:embed="rId2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26640" y="3228877"/>
            <a:ext cx="864353" cy="298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3011" name="Picture 19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78851" y="2559915"/>
            <a:ext cx="899370" cy="2464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3013" name="Picture 21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46432" y="3745985"/>
            <a:ext cx="839895" cy="4469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77"/>
          <p:cNvPicPr>
            <a:picLocks noChangeAspect="1" noChangeArrowheads="1"/>
          </p:cNvPicPr>
          <p:nvPr/>
        </p:nvPicPr>
        <p:blipFill rotWithShape="1">
          <a:blip r:embed="rId3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041912" y="3096071"/>
            <a:ext cx="489782" cy="414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3017" name="Picture 25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45399" y="2575523"/>
            <a:ext cx="717807" cy="2921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57"/>
          <p:cNvPicPr>
            <a:picLocks noChangeAspect="1" noChangeArrowheads="1"/>
          </p:cNvPicPr>
          <p:nvPr/>
        </p:nvPicPr>
        <p:blipFill rotWithShape="1">
          <a:blip r:embed="rId32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615" t="6476" r="10795" b="7428"/>
          <a:stretch/>
        </p:blipFill>
        <p:spPr bwMode="auto">
          <a:xfrm>
            <a:off x="8435173" y="2970035"/>
            <a:ext cx="424542" cy="247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3019" name="Picture 27"/>
          <p:cNvPicPr>
            <a:picLocks noChangeAspect="1" noChangeArrowheads="1"/>
          </p:cNvPicPr>
          <p:nvPr/>
        </p:nvPicPr>
        <p:blipFill rotWithShape="1">
          <a:blip r:embed="rId3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448975" y="3355739"/>
            <a:ext cx="852158" cy="1738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101"/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10622" y="5789568"/>
            <a:ext cx="930049" cy="117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" name="Picture 2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65815" y="5321343"/>
            <a:ext cx="1065743" cy="3385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Picture 37"/>
          <p:cNvPicPr>
            <a:picLocks noChangeAspect="1" noChangeArrowheads="1"/>
          </p:cNvPicPr>
          <p:nvPr/>
        </p:nvPicPr>
        <p:blipFill>
          <a:blip r:embed="rId3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84062" y="5183686"/>
            <a:ext cx="888476" cy="4276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133"/>
          <p:cNvPicPr>
            <a:picLocks noChangeAspect="1" noChangeArrowheads="1"/>
          </p:cNvPicPr>
          <p:nvPr/>
        </p:nvPicPr>
        <p:blipFill rotWithShape="1">
          <a:blip r:embed="rId3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835048" y="4443738"/>
            <a:ext cx="1258842" cy="233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3021" name="Picture 29"/>
          <p:cNvPicPr>
            <a:picLocks noChangeAspect="1" noChangeArrowheads="1"/>
          </p:cNvPicPr>
          <p:nvPr/>
        </p:nvPicPr>
        <p:blipFill>
          <a:blip r:embed="rId3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91226" y="2568088"/>
            <a:ext cx="680799" cy="3787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Picture 46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14551" y="2582878"/>
            <a:ext cx="716351" cy="269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5" name="Picture 63"/>
          <p:cNvPicPr>
            <a:picLocks noChangeAspect="1" noChangeArrowheads="1"/>
          </p:cNvPicPr>
          <p:nvPr/>
        </p:nvPicPr>
        <p:blipFill rotWithShape="1">
          <a:blip r:embed="rId4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706830" y="3000545"/>
            <a:ext cx="758994" cy="234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3024" name="Picture 32"/>
          <p:cNvPicPr>
            <a:picLocks noChangeAspect="1" noChangeArrowheads="1"/>
          </p:cNvPicPr>
          <p:nvPr/>
        </p:nvPicPr>
        <p:blipFill>
          <a:blip r:embed="rId4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98186" y="2579961"/>
            <a:ext cx="445466" cy="3340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6" name="Picture 43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87332" y="4980153"/>
            <a:ext cx="776629" cy="2828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7" name="Picture 78"/>
          <p:cNvPicPr>
            <a:picLocks noChangeAspect="1" noChangeArrowheads="1"/>
          </p:cNvPicPr>
          <p:nvPr/>
        </p:nvPicPr>
        <p:blipFill rotWithShape="1">
          <a:blip r:embed="rId4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762108" y="5649434"/>
            <a:ext cx="840231" cy="2575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" name="Picture 140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54664" y="4975589"/>
            <a:ext cx="1012062" cy="202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9" name="Picture 45"/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63100" y="4443844"/>
            <a:ext cx="1211536" cy="249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3" name="Picture 46"/>
          <p:cNvPicPr>
            <a:picLocks noChangeAspect="1" noChangeArrowheads="1"/>
          </p:cNvPicPr>
          <p:nvPr/>
        </p:nvPicPr>
        <p:blipFill rotWithShape="1">
          <a:blip r:embed="rId4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188623" y="5507103"/>
            <a:ext cx="766159" cy="4887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5" name="Picture 4"/>
          <p:cNvPicPr>
            <a:picLocks noChangeAspect="1" noChangeArrowheads="1"/>
          </p:cNvPicPr>
          <p:nvPr/>
        </p:nvPicPr>
        <p:blipFill rotWithShape="1">
          <a:blip r:embed="rId4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3834" b="34416"/>
          <a:stretch/>
        </p:blipFill>
        <p:spPr bwMode="auto">
          <a:xfrm>
            <a:off x="6874035" y="5602639"/>
            <a:ext cx="994806" cy="315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3" name="Group 62"/>
          <p:cNvGrpSpPr/>
          <p:nvPr/>
        </p:nvGrpSpPr>
        <p:grpSpPr>
          <a:xfrm>
            <a:off x="3896447" y="1500526"/>
            <a:ext cx="306171" cy="5042848"/>
            <a:chOff x="5942914" y="1321194"/>
            <a:chExt cx="306171" cy="5042848"/>
          </a:xfrm>
        </p:grpSpPr>
        <p:cxnSp>
          <p:nvCxnSpPr>
            <p:cNvPr id="98" name="Straight Connector 97"/>
            <p:cNvCxnSpPr/>
            <p:nvPr/>
          </p:nvCxnSpPr>
          <p:spPr>
            <a:xfrm>
              <a:off x="6095999" y="1321194"/>
              <a:ext cx="0" cy="5042848"/>
            </a:xfrm>
            <a:prstGeom prst="line">
              <a:avLst/>
            </a:prstGeom>
            <a:ln w="19050" cap="sq">
              <a:solidFill>
                <a:schemeClr val="tx2"/>
              </a:solidFill>
              <a:prstDash val="solid"/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9" name="Group 98"/>
            <p:cNvGrpSpPr/>
            <p:nvPr/>
          </p:nvGrpSpPr>
          <p:grpSpPr>
            <a:xfrm>
              <a:off x="5942914" y="3689163"/>
              <a:ext cx="306171" cy="306910"/>
              <a:chOff x="5937564" y="3555609"/>
              <a:chExt cx="306171" cy="306910"/>
            </a:xfrm>
          </p:grpSpPr>
          <p:sp>
            <p:nvSpPr>
              <p:cNvPr id="100" name="Freeform 94"/>
              <p:cNvSpPr>
                <a:spLocks/>
              </p:cNvSpPr>
              <p:nvPr/>
            </p:nvSpPr>
            <p:spPr bwMode="gray">
              <a:xfrm>
                <a:off x="5937564" y="3555609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solidFill>
                  <a:schemeClr val="tx2"/>
                </a:solidFill>
              </a:ln>
              <a:extLst/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6E6F73"/>
                  </a:solidFill>
                </a:endParaRPr>
              </a:p>
            </p:txBody>
          </p:sp>
          <p:sp>
            <p:nvSpPr>
              <p:cNvPr id="101" name="Freeform 95"/>
              <p:cNvSpPr>
                <a:spLocks/>
              </p:cNvSpPr>
              <p:nvPr/>
            </p:nvSpPr>
            <p:spPr bwMode="gray">
              <a:xfrm>
                <a:off x="6053995" y="3596699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6E6F73"/>
                  </a:solidFill>
                </a:endParaRPr>
              </a:p>
            </p:txBody>
          </p:sp>
        </p:grpSp>
      </p:grpSp>
      <p:grpSp>
        <p:nvGrpSpPr>
          <p:cNvPr id="7" name="Group 6"/>
          <p:cNvGrpSpPr/>
          <p:nvPr/>
        </p:nvGrpSpPr>
        <p:grpSpPr>
          <a:xfrm>
            <a:off x="4553633" y="2530724"/>
            <a:ext cx="7672209" cy="1028700"/>
            <a:chOff x="5165637" y="2526821"/>
            <a:chExt cx="7060205" cy="1028700"/>
          </a:xfrm>
        </p:grpSpPr>
        <p:cxnSp>
          <p:nvCxnSpPr>
            <p:cNvPr id="4" name="Straight Connector 3"/>
            <p:cNvCxnSpPr/>
            <p:nvPr/>
          </p:nvCxnSpPr>
          <p:spPr>
            <a:xfrm>
              <a:off x="5165637" y="3555521"/>
              <a:ext cx="7060205" cy="0"/>
            </a:xfrm>
            <a:prstGeom prst="line">
              <a:avLst/>
            </a:prstGeom>
            <a:ln w="9525" cap="rnd">
              <a:solidFill>
                <a:schemeClr val="bg2">
                  <a:lumMod val="90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/>
            <p:cNvCxnSpPr/>
            <p:nvPr/>
          </p:nvCxnSpPr>
          <p:spPr>
            <a:xfrm>
              <a:off x="5165637" y="2526821"/>
              <a:ext cx="7060205" cy="0"/>
            </a:xfrm>
            <a:prstGeom prst="line">
              <a:avLst/>
            </a:prstGeom>
            <a:ln w="9525" cap="rnd">
              <a:solidFill>
                <a:schemeClr val="bg2">
                  <a:lumMod val="90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4" name="Group 103"/>
          <p:cNvGrpSpPr/>
          <p:nvPr/>
        </p:nvGrpSpPr>
        <p:grpSpPr>
          <a:xfrm>
            <a:off x="4553633" y="3725216"/>
            <a:ext cx="7672209" cy="1028700"/>
            <a:chOff x="5165637" y="2526821"/>
            <a:chExt cx="7060205" cy="1028700"/>
          </a:xfrm>
        </p:grpSpPr>
        <p:cxnSp>
          <p:nvCxnSpPr>
            <p:cNvPr id="105" name="Straight Connector 104"/>
            <p:cNvCxnSpPr/>
            <p:nvPr/>
          </p:nvCxnSpPr>
          <p:spPr>
            <a:xfrm>
              <a:off x="5165637" y="3555521"/>
              <a:ext cx="7060205" cy="0"/>
            </a:xfrm>
            <a:prstGeom prst="line">
              <a:avLst/>
            </a:prstGeom>
            <a:ln w="9525" cap="rnd">
              <a:solidFill>
                <a:schemeClr val="bg2">
                  <a:lumMod val="90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/>
            <p:cNvCxnSpPr/>
            <p:nvPr/>
          </p:nvCxnSpPr>
          <p:spPr>
            <a:xfrm>
              <a:off x="5165637" y="2526821"/>
              <a:ext cx="7060205" cy="0"/>
            </a:xfrm>
            <a:prstGeom prst="line">
              <a:avLst/>
            </a:prstGeom>
            <a:ln w="9525" cap="rnd">
              <a:solidFill>
                <a:schemeClr val="bg2">
                  <a:lumMod val="90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7" name="Group 106"/>
          <p:cNvGrpSpPr/>
          <p:nvPr/>
        </p:nvGrpSpPr>
        <p:grpSpPr>
          <a:xfrm>
            <a:off x="4553633" y="4919709"/>
            <a:ext cx="7672209" cy="1028700"/>
            <a:chOff x="5165637" y="2526821"/>
            <a:chExt cx="7060205" cy="1028700"/>
          </a:xfrm>
        </p:grpSpPr>
        <p:cxnSp>
          <p:nvCxnSpPr>
            <p:cNvPr id="108" name="Straight Connector 107"/>
            <p:cNvCxnSpPr/>
            <p:nvPr/>
          </p:nvCxnSpPr>
          <p:spPr>
            <a:xfrm>
              <a:off x="5165637" y="3555521"/>
              <a:ext cx="7060205" cy="0"/>
            </a:xfrm>
            <a:prstGeom prst="line">
              <a:avLst/>
            </a:prstGeom>
            <a:ln w="9525" cap="rnd">
              <a:solidFill>
                <a:schemeClr val="bg2">
                  <a:lumMod val="90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/>
            <p:cNvCxnSpPr/>
            <p:nvPr/>
          </p:nvCxnSpPr>
          <p:spPr>
            <a:xfrm>
              <a:off x="5165637" y="2526821"/>
              <a:ext cx="7060205" cy="0"/>
            </a:xfrm>
            <a:prstGeom prst="line">
              <a:avLst/>
            </a:prstGeom>
            <a:ln w="9525" cap="rnd">
              <a:solidFill>
                <a:schemeClr val="bg2">
                  <a:lumMod val="90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28393" name="Picture 41" descr="Image result for year up logo"/>
          <p:cNvPicPr>
            <a:picLocks noChangeAspect="1" noChangeArrowheads="1"/>
          </p:cNvPicPr>
          <p:nvPr/>
        </p:nvPicPr>
        <p:blipFill rotWithShape="1">
          <a:blip r:embed="rId4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805" b="30064"/>
          <a:stretch/>
        </p:blipFill>
        <p:spPr bwMode="auto">
          <a:xfrm>
            <a:off x="11192948" y="3736194"/>
            <a:ext cx="952500" cy="4108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8395" name="Picture 43" descr="Image result for black tech mecca logo"/>
          <p:cNvPicPr>
            <a:picLocks noChangeAspect="1" noChangeArrowheads="1"/>
          </p:cNvPicPr>
          <p:nvPr/>
        </p:nvPicPr>
        <p:blipFill>
          <a:blip r:embed="rId4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32263" y="3912470"/>
            <a:ext cx="771525" cy="382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15"/>
          <p:cNvPicPr>
            <a:picLocks noChangeAspect="1" noChangeArrowheads="1"/>
          </p:cNvPicPr>
          <p:nvPr/>
        </p:nvPicPr>
        <p:blipFill rotWithShape="1">
          <a:blip r:embed="rId5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93" t="27995" r="20193" b="27995"/>
          <a:stretch/>
        </p:blipFill>
        <p:spPr bwMode="auto">
          <a:xfrm>
            <a:off x="7563783" y="3068067"/>
            <a:ext cx="720052" cy="356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51"/>
          <a:stretch>
            <a:fillRect/>
          </a:stretch>
        </p:blipFill>
        <p:spPr>
          <a:xfrm>
            <a:off x="11442530" y="2729731"/>
            <a:ext cx="866062" cy="346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6556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95207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7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dirty="0">
              <a:solidFill>
                <a:srgbClr val="FFFFFF"/>
              </a:solidFill>
              <a:latin typeface="Arial Black" panose="020B0A04020102020204" pitchFamily="34" charset="0"/>
              <a:ea typeface="Roboto Black" pitchFamily="2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55742" y="561762"/>
            <a:ext cx="11474881" cy="360099"/>
          </a:xfrm>
        </p:spPr>
        <p:txBody>
          <a:bodyPr/>
          <a:lstStyle/>
          <a:p>
            <a:r>
              <a:rPr lang="en-US" sz="2600" dirty="0" smtClean="0"/>
              <a:t>TO succeed, we must fit the puzzle pieces together…</a:t>
            </a:r>
            <a:endParaRPr lang="en-US" sz="2600" dirty="0"/>
          </a:p>
        </p:txBody>
      </p:sp>
      <p:sp>
        <p:nvSpPr>
          <p:cNvPr id="80" name="ee4pFootnotes"/>
          <p:cNvSpPr>
            <a:spLocks noChangeArrowheads="1"/>
          </p:cNvSpPr>
          <p:nvPr/>
        </p:nvSpPr>
        <p:spPr bwMode="auto">
          <a:xfrm>
            <a:off x="630000" y="6421441"/>
            <a:ext cx="9030914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6F6F6F">
                    <a:lumMod val="100000"/>
                  </a:srgbClr>
                </a:solidFill>
                <a:latin typeface="Calibri" panose="020F0502020204030204" pitchFamily="34" charset="0"/>
                <a:cs typeface="Arial" panose="020B0604020202020204" pitchFamily="34" charset="0"/>
                <a:sym typeface="+mn-lt"/>
              </a:rPr>
              <a:t>Source: Secondary research</a:t>
            </a:r>
          </a:p>
        </p:txBody>
      </p:sp>
      <p:sp>
        <p:nvSpPr>
          <p:cNvPr id="81" name="Copyright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7078239" y="5318975"/>
            <a:ext cx="3482529" cy="276999"/>
          </a:xfrm>
          <a:prstGeom prst="rect">
            <a:avLst/>
          </a:prstGeom>
          <a:noFill/>
        </p:spPr>
        <p:txBody>
          <a:bodyPr wrap="square" lIns="97200" tIns="0" rIns="0" bIns="0" rtlCol="0" anchor="ctr" anchorCtr="0">
            <a:spAutoFit/>
          </a:bodyPr>
          <a:lstStyle/>
          <a:p>
            <a:pPr hangingPunct="1">
              <a:defRPr/>
            </a:pPr>
            <a:r>
              <a:rPr lang="en-US" b="1" dirty="0">
                <a:solidFill>
                  <a:srgbClr val="1F4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ology </a:t>
            </a:r>
            <a:r>
              <a:rPr lang="en-US" b="1" dirty="0" smtClean="0">
                <a:solidFill>
                  <a:srgbClr val="1F4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ers</a:t>
            </a:r>
            <a:endParaRPr lang="en-US" b="1" dirty="0">
              <a:solidFill>
                <a:srgbClr val="1F417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5960678" y="1880903"/>
            <a:ext cx="1008655" cy="276999"/>
          </a:xfrm>
          <a:prstGeom prst="rect">
            <a:avLst/>
          </a:prstGeom>
          <a:noFill/>
        </p:spPr>
        <p:txBody>
          <a:bodyPr wrap="none" lIns="97200" tIns="0" rIns="0" bIns="0" rtlCol="0" anchor="ctr" anchorCtr="0">
            <a:noAutofit/>
          </a:bodyPr>
          <a:lstStyle/>
          <a:p>
            <a:pPr hangingPunct="1">
              <a:defRPr/>
            </a:pPr>
            <a:r>
              <a:rPr lang="en-US" b="1" dirty="0">
                <a:solidFill>
                  <a:srgbClr val="1F4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ustry</a:t>
            </a:r>
          </a:p>
        </p:txBody>
      </p:sp>
      <p:sp>
        <p:nvSpPr>
          <p:cNvPr id="12" name="Rectangle 11"/>
          <p:cNvSpPr/>
          <p:nvPr/>
        </p:nvSpPr>
        <p:spPr>
          <a:xfrm>
            <a:off x="7123959" y="1775627"/>
            <a:ext cx="3651861" cy="70414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sz="1400" dirty="0">
                <a:solidFill>
                  <a:srgbClr val="1F4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 Incentives to attract anchor employers and retain top talent 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2424139" y="2424408"/>
            <a:ext cx="1694459" cy="276999"/>
          </a:xfrm>
          <a:prstGeom prst="rect">
            <a:avLst/>
          </a:prstGeom>
          <a:noFill/>
        </p:spPr>
        <p:txBody>
          <a:bodyPr wrap="square" lIns="0" tIns="0" rIns="97200" bIns="0" rtlCol="0" anchor="ctr" anchorCtr="0">
            <a:spAutoFit/>
          </a:bodyPr>
          <a:lstStyle/>
          <a:p>
            <a:pPr hangingPunct="1">
              <a:defRPr/>
            </a:pPr>
            <a:r>
              <a:rPr lang="en-US" b="1" dirty="0">
                <a:solidFill>
                  <a:srgbClr val="1F4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pital</a:t>
            </a:r>
          </a:p>
        </p:txBody>
      </p:sp>
      <p:sp>
        <p:nvSpPr>
          <p:cNvPr id="66" name="Rectangle 65"/>
          <p:cNvSpPr/>
          <p:nvPr/>
        </p:nvSpPr>
        <p:spPr>
          <a:xfrm>
            <a:off x="2411575" y="2717583"/>
            <a:ext cx="1745164" cy="70414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sz="1400" dirty="0">
                <a:solidFill>
                  <a:srgbClr val="1F4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Targeted pre-seed and seed funds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1729729" y="5176457"/>
            <a:ext cx="2739899" cy="276999"/>
          </a:xfrm>
          <a:prstGeom prst="rect">
            <a:avLst/>
          </a:prstGeom>
          <a:noFill/>
        </p:spPr>
        <p:txBody>
          <a:bodyPr wrap="none" lIns="0" tIns="0" rIns="97200" bIns="0" rtlCol="0" anchor="ctr" anchorCtr="0">
            <a:spAutoFit/>
          </a:bodyPr>
          <a:lstStyle/>
          <a:p>
            <a:pPr algn="r" hangingPunct="1">
              <a:defRPr/>
            </a:pPr>
            <a:r>
              <a:rPr lang="en-US" b="1" dirty="0" smtClean="0">
                <a:solidFill>
                  <a:srgbClr val="1F4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ubators/Accelerators</a:t>
            </a:r>
            <a:endParaRPr lang="en-US" b="1" dirty="0">
              <a:solidFill>
                <a:srgbClr val="1F417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Rectangle 68"/>
          <p:cNvSpPr/>
          <p:nvPr/>
        </p:nvSpPr>
        <p:spPr>
          <a:xfrm>
            <a:off x="1729729" y="5338942"/>
            <a:ext cx="2414042" cy="97406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sz="1400" dirty="0">
                <a:solidFill>
                  <a:srgbClr val="1F4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Connectivity to academia and industry; efforts to nurture tech talent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7464415" y="2701104"/>
            <a:ext cx="2796333" cy="276999"/>
          </a:xfrm>
          <a:prstGeom prst="rect">
            <a:avLst/>
          </a:prstGeom>
          <a:noFill/>
        </p:spPr>
        <p:txBody>
          <a:bodyPr wrap="square" lIns="97200" tIns="0" rIns="0" bIns="0" rtlCol="0" anchor="ctr" anchorCtr="0">
            <a:spAutoFit/>
          </a:bodyPr>
          <a:lstStyle/>
          <a:p>
            <a:pPr hangingPunct="1">
              <a:defRPr/>
            </a:pPr>
            <a:r>
              <a:rPr lang="en-US" b="1" dirty="0">
                <a:solidFill>
                  <a:srgbClr val="1F4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versities &amp; Research</a:t>
            </a:r>
          </a:p>
        </p:txBody>
      </p:sp>
      <p:sp>
        <p:nvSpPr>
          <p:cNvPr id="72" name="Rectangle 71"/>
          <p:cNvSpPr/>
          <p:nvPr/>
        </p:nvSpPr>
        <p:spPr>
          <a:xfrm>
            <a:off x="7590689" y="2874357"/>
            <a:ext cx="2833890" cy="97406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sz="1400" dirty="0">
                <a:solidFill>
                  <a:srgbClr val="1F4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University-industry research centers of excellence; talent development </a:t>
            </a:r>
          </a:p>
        </p:txBody>
      </p:sp>
      <p:sp>
        <p:nvSpPr>
          <p:cNvPr id="73" name="Rectangle 72"/>
          <p:cNvSpPr/>
          <p:nvPr/>
        </p:nvSpPr>
        <p:spPr>
          <a:xfrm>
            <a:off x="7177299" y="5607742"/>
            <a:ext cx="2891034" cy="29854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sz="1400" dirty="0">
                <a:solidFill>
                  <a:srgbClr val="1F4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Access to wet lab space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7751422" y="3934116"/>
            <a:ext cx="1560040" cy="276999"/>
          </a:xfrm>
          <a:prstGeom prst="rect">
            <a:avLst/>
          </a:prstGeom>
          <a:noFill/>
        </p:spPr>
        <p:txBody>
          <a:bodyPr wrap="square" lIns="97200" tIns="0" rIns="0" bIns="0" rtlCol="0" anchor="ctr" anchorCtr="0">
            <a:spAutoFit/>
          </a:bodyPr>
          <a:lstStyle/>
          <a:p>
            <a:pPr hangingPunct="1">
              <a:defRPr/>
            </a:pPr>
            <a:r>
              <a:rPr lang="en-US" b="1" dirty="0">
                <a:solidFill>
                  <a:srgbClr val="1F4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lent</a:t>
            </a:r>
          </a:p>
        </p:txBody>
      </p:sp>
      <p:sp>
        <p:nvSpPr>
          <p:cNvPr id="74" name="Rectangle 73"/>
          <p:cNvSpPr/>
          <p:nvPr/>
        </p:nvSpPr>
        <p:spPr>
          <a:xfrm>
            <a:off x="7847761" y="3980548"/>
            <a:ext cx="2833890" cy="97406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sz="1400" dirty="0">
                <a:solidFill>
                  <a:srgbClr val="1F4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Continuing education and certificate programs</a:t>
            </a:r>
          </a:p>
        </p:txBody>
      </p:sp>
      <p:sp>
        <p:nvSpPr>
          <p:cNvPr id="48" name="Oval 47"/>
          <p:cNvSpPr>
            <a:spLocks noChangeAspect="1"/>
          </p:cNvSpPr>
          <p:nvPr/>
        </p:nvSpPr>
        <p:spPr>
          <a:xfrm>
            <a:off x="4294360" y="2519653"/>
            <a:ext cx="2995276" cy="2995275"/>
          </a:xfrm>
          <a:prstGeom prst="ellipse">
            <a:avLst/>
          </a:prstGeom>
          <a:solidFill>
            <a:schemeClr val="bg1"/>
          </a:solidFill>
          <a:ln w="34290">
            <a:solidFill>
              <a:srgbClr val="1F4174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hangingPunct="1">
              <a:lnSpc>
                <a:spcPct val="95000"/>
              </a:lnSpc>
            </a:pPr>
            <a:endParaRPr lang="en-US" sz="15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Oval 61"/>
          <p:cNvSpPr>
            <a:spLocks noChangeAspect="1"/>
          </p:cNvSpPr>
          <p:nvPr/>
        </p:nvSpPr>
        <p:spPr>
          <a:xfrm>
            <a:off x="5386230" y="2147260"/>
            <a:ext cx="811536" cy="811220"/>
          </a:xfrm>
          <a:prstGeom prst="ellipse">
            <a:avLst/>
          </a:prstGeom>
          <a:solidFill>
            <a:schemeClr val="bg1"/>
          </a:solidFill>
          <a:ln w="34290">
            <a:solidFill>
              <a:srgbClr val="1F41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hangingPunct="1">
              <a:lnSpc>
                <a:spcPct val="95000"/>
              </a:lnSpc>
            </a:pPr>
            <a:endParaRPr lang="en-US" sz="15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29" name="Group 128"/>
          <p:cNvGrpSpPr>
            <a:grpSpLocks noChangeAspect="1"/>
          </p:cNvGrpSpPr>
          <p:nvPr/>
        </p:nvGrpSpPr>
        <p:grpSpPr>
          <a:xfrm>
            <a:off x="5517932" y="2278550"/>
            <a:ext cx="548132" cy="548640"/>
            <a:chOff x="5273794" y="2606040"/>
            <a:chExt cx="1644396" cy="1645920"/>
          </a:xfrm>
        </p:grpSpPr>
        <p:sp>
          <p:nvSpPr>
            <p:cNvPr id="130" name="AutoShape 13">
              <a:extLst>
                <a:ext uri="{FF2B5EF4-FFF2-40B4-BE49-F238E27FC236}">
                  <a16:creationId xmlns="" xmlns:a16="http://schemas.microsoft.com/office/drawing/2014/main" id="{A6B62B7F-B1B2-4803-95E8-2DB8A96A0D9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794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2296" tIns="41148" rIns="82296" bIns="41148" numCol="1" anchor="t" anchorCtr="0" compatLnSpc="1">
              <a:prstTxWarp prst="textNoShape">
                <a:avLst/>
              </a:prstTxWarp>
            </a:bodyPr>
            <a:lstStyle/>
            <a:p>
              <a:pPr defTabSz="761970">
                <a:defRPr/>
              </a:pPr>
              <a:endParaRPr lang="en-US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31" name="Group 130"/>
            <p:cNvGrpSpPr/>
            <p:nvPr/>
          </p:nvGrpSpPr>
          <p:grpSpPr>
            <a:xfrm>
              <a:off x="5407149" y="2775204"/>
              <a:ext cx="1379219" cy="1306067"/>
              <a:chOff x="5407149" y="2775204"/>
              <a:chExt cx="1379220" cy="1306068"/>
            </a:xfrm>
          </p:grpSpPr>
          <p:sp>
            <p:nvSpPr>
              <p:cNvPr id="132" name="Freeform 15">
                <a:extLst>
                  <a:ext uri="{FF2B5EF4-FFF2-40B4-BE49-F238E27FC236}">
                    <a16:creationId xmlns="" xmlns:a16="http://schemas.microsoft.com/office/drawing/2014/main" id="{C49F8F87-804D-4785-B3FF-71E118F988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02983" y="3357372"/>
                <a:ext cx="987552" cy="308229"/>
              </a:xfrm>
              <a:custGeom>
                <a:avLst/>
                <a:gdLst>
                  <a:gd name="T0" fmla="*/ 10 w 1384"/>
                  <a:gd name="T1" fmla="*/ 183 h 431"/>
                  <a:gd name="T2" fmla="*/ 0 w 1384"/>
                  <a:gd name="T3" fmla="*/ 10 h 431"/>
                  <a:gd name="T4" fmla="*/ 292 w 1384"/>
                  <a:gd name="T5" fmla="*/ 0 h 431"/>
                  <a:gd name="T6" fmla="*/ 302 w 1384"/>
                  <a:gd name="T7" fmla="*/ 173 h 431"/>
                  <a:gd name="T8" fmla="*/ 662 w 1384"/>
                  <a:gd name="T9" fmla="*/ 173 h 431"/>
                  <a:gd name="T10" fmla="*/ 652 w 1384"/>
                  <a:gd name="T11" fmla="*/ 0 h 431"/>
                  <a:gd name="T12" fmla="*/ 361 w 1384"/>
                  <a:gd name="T13" fmla="*/ 10 h 431"/>
                  <a:gd name="T14" fmla="*/ 371 w 1384"/>
                  <a:gd name="T15" fmla="*/ 183 h 431"/>
                  <a:gd name="T16" fmla="*/ 662 w 1384"/>
                  <a:gd name="T17" fmla="*/ 173 h 431"/>
                  <a:gd name="T18" fmla="*/ 1023 w 1384"/>
                  <a:gd name="T19" fmla="*/ 10 h 431"/>
                  <a:gd name="T20" fmla="*/ 732 w 1384"/>
                  <a:gd name="T21" fmla="*/ 0 h 431"/>
                  <a:gd name="T22" fmla="*/ 722 w 1384"/>
                  <a:gd name="T23" fmla="*/ 173 h 431"/>
                  <a:gd name="T24" fmla="*/ 1013 w 1384"/>
                  <a:gd name="T25" fmla="*/ 183 h 431"/>
                  <a:gd name="T26" fmla="*/ 1384 w 1384"/>
                  <a:gd name="T27" fmla="*/ 173 h 431"/>
                  <a:gd name="T28" fmla="*/ 1374 w 1384"/>
                  <a:gd name="T29" fmla="*/ 0 h 431"/>
                  <a:gd name="T30" fmla="*/ 1082 w 1384"/>
                  <a:gd name="T31" fmla="*/ 10 h 431"/>
                  <a:gd name="T32" fmla="*/ 1092 w 1384"/>
                  <a:gd name="T33" fmla="*/ 183 h 431"/>
                  <a:gd name="T34" fmla="*/ 1384 w 1384"/>
                  <a:gd name="T35" fmla="*/ 173 h 431"/>
                  <a:gd name="T36" fmla="*/ 302 w 1384"/>
                  <a:gd name="T37" fmla="*/ 258 h 431"/>
                  <a:gd name="T38" fmla="*/ 10 w 1384"/>
                  <a:gd name="T39" fmla="*/ 248 h 431"/>
                  <a:gd name="T40" fmla="*/ 0 w 1384"/>
                  <a:gd name="T41" fmla="*/ 421 h 431"/>
                  <a:gd name="T42" fmla="*/ 292 w 1384"/>
                  <a:gd name="T43" fmla="*/ 431 h 431"/>
                  <a:gd name="T44" fmla="*/ 662 w 1384"/>
                  <a:gd name="T45" fmla="*/ 421 h 431"/>
                  <a:gd name="T46" fmla="*/ 652 w 1384"/>
                  <a:gd name="T47" fmla="*/ 248 h 431"/>
                  <a:gd name="T48" fmla="*/ 361 w 1384"/>
                  <a:gd name="T49" fmla="*/ 258 h 431"/>
                  <a:gd name="T50" fmla="*/ 371 w 1384"/>
                  <a:gd name="T51" fmla="*/ 431 h 431"/>
                  <a:gd name="T52" fmla="*/ 662 w 1384"/>
                  <a:gd name="T53" fmla="*/ 421 h 431"/>
                  <a:gd name="T54" fmla="*/ 1023 w 1384"/>
                  <a:gd name="T55" fmla="*/ 258 h 431"/>
                  <a:gd name="T56" fmla="*/ 732 w 1384"/>
                  <a:gd name="T57" fmla="*/ 248 h 431"/>
                  <a:gd name="T58" fmla="*/ 722 w 1384"/>
                  <a:gd name="T59" fmla="*/ 421 h 431"/>
                  <a:gd name="T60" fmla="*/ 1013 w 1384"/>
                  <a:gd name="T61" fmla="*/ 431 h 431"/>
                  <a:gd name="T62" fmla="*/ 1384 w 1384"/>
                  <a:gd name="T63" fmla="*/ 421 h 431"/>
                  <a:gd name="T64" fmla="*/ 1374 w 1384"/>
                  <a:gd name="T65" fmla="*/ 248 h 431"/>
                  <a:gd name="T66" fmla="*/ 1082 w 1384"/>
                  <a:gd name="T67" fmla="*/ 258 h 431"/>
                  <a:gd name="T68" fmla="*/ 1092 w 1384"/>
                  <a:gd name="T69" fmla="*/ 431 h 431"/>
                  <a:gd name="T70" fmla="*/ 1384 w 1384"/>
                  <a:gd name="T71" fmla="*/ 421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384" h="431">
                    <a:moveTo>
                      <a:pt x="292" y="183"/>
                    </a:moveTo>
                    <a:cubicBezTo>
                      <a:pt x="10" y="183"/>
                      <a:pt x="10" y="183"/>
                      <a:pt x="10" y="183"/>
                    </a:cubicBezTo>
                    <a:cubicBezTo>
                      <a:pt x="4" y="183"/>
                      <a:pt x="0" y="179"/>
                      <a:pt x="0" y="173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292" y="0"/>
                      <a:pt x="292" y="0"/>
                      <a:pt x="292" y="0"/>
                    </a:cubicBezTo>
                    <a:cubicBezTo>
                      <a:pt x="297" y="0"/>
                      <a:pt x="302" y="5"/>
                      <a:pt x="302" y="10"/>
                    </a:cubicBezTo>
                    <a:cubicBezTo>
                      <a:pt x="302" y="173"/>
                      <a:pt x="302" y="173"/>
                      <a:pt x="302" y="173"/>
                    </a:cubicBezTo>
                    <a:cubicBezTo>
                      <a:pt x="302" y="179"/>
                      <a:pt x="297" y="183"/>
                      <a:pt x="292" y="183"/>
                    </a:cubicBezTo>
                    <a:close/>
                    <a:moveTo>
                      <a:pt x="662" y="173"/>
                    </a:moveTo>
                    <a:cubicBezTo>
                      <a:pt x="662" y="10"/>
                      <a:pt x="662" y="10"/>
                      <a:pt x="662" y="10"/>
                    </a:cubicBezTo>
                    <a:cubicBezTo>
                      <a:pt x="662" y="5"/>
                      <a:pt x="658" y="0"/>
                      <a:pt x="652" y="0"/>
                    </a:cubicBezTo>
                    <a:cubicBezTo>
                      <a:pt x="371" y="0"/>
                      <a:pt x="371" y="0"/>
                      <a:pt x="371" y="0"/>
                    </a:cubicBezTo>
                    <a:cubicBezTo>
                      <a:pt x="365" y="0"/>
                      <a:pt x="361" y="5"/>
                      <a:pt x="361" y="10"/>
                    </a:cubicBezTo>
                    <a:cubicBezTo>
                      <a:pt x="361" y="173"/>
                      <a:pt x="361" y="173"/>
                      <a:pt x="361" y="173"/>
                    </a:cubicBezTo>
                    <a:cubicBezTo>
                      <a:pt x="361" y="179"/>
                      <a:pt x="365" y="183"/>
                      <a:pt x="371" y="183"/>
                    </a:cubicBezTo>
                    <a:cubicBezTo>
                      <a:pt x="652" y="183"/>
                      <a:pt x="652" y="183"/>
                      <a:pt x="652" y="183"/>
                    </a:cubicBezTo>
                    <a:cubicBezTo>
                      <a:pt x="658" y="183"/>
                      <a:pt x="662" y="179"/>
                      <a:pt x="662" y="173"/>
                    </a:cubicBezTo>
                    <a:close/>
                    <a:moveTo>
                      <a:pt x="1023" y="173"/>
                    </a:moveTo>
                    <a:cubicBezTo>
                      <a:pt x="1023" y="10"/>
                      <a:pt x="1023" y="10"/>
                      <a:pt x="1023" y="10"/>
                    </a:cubicBezTo>
                    <a:cubicBezTo>
                      <a:pt x="1023" y="5"/>
                      <a:pt x="1019" y="0"/>
                      <a:pt x="1013" y="0"/>
                    </a:cubicBezTo>
                    <a:cubicBezTo>
                      <a:pt x="732" y="0"/>
                      <a:pt x="732" y="0"/>
                      <a:pt x="732" y="0"/>
                    </a:cubicBezTo>
                    <a:cubicBezTo>
                      <a:pt x="726" y="0"/>
                      <a:pt x="722" y="5"/>
                      <a:pt x="722" y="10"/>
                    </a:cubicBezTo>
                    <a:cubicBezTo>
                      <a:pt x="722" y="173"/>
                      <a:pt x="722" y="173"/>
                      <a:pt x="722" y="173"/>
                    </a:cubicBezTo>
                    <a:cubicBezTo>
                      <a:pt x="722" y="179"/>
                      <a:pt x="726" y="183"/>
                      <a:pt x="732" y="183"/>
                    </a:cubicBezTo>
                    <a:cubicBezTo>
                      <a:pt x="1013" y="183"/>
                      <a:pt x="1013" y="183"/>
                      <a:pt x="1013" y="183"/>
                    </a:cubicBezTo>
                    <a:cubicBezTo>
                      <a:pt x="1019" y="183"/>
                      <a:pt x="1023" y="179"/>
                      <a:pt x="1023" y="173"/>
                    </a:cubicBezTo>
                    <a:close/>
                    <a:moveTo>
                      <a:pt x="1384" y="173"/>
                    </a:moveTo>
                    <a:cubicBezTo>
                      <a:pt x="1384" y="10"/>
                      <a:pt x="1384" y="10"/>
                      <a:pt x="1384" y="10"/>
                    </a:cubicBezTo>
                    <a:cubicBezTo>
                      <a:pt x="1384" y="5"/>
                      <a:pt x="1380" y="0"/>
                      <a:pt x="1374" y="0"/>
                    </a:cubicBezTo>
                    <a:cubicBezTo>
                      <a:pt x="1092" y="0"/>
                      <a:pt x="1092" y="0"/>
                      <a:pt x="1092" y="0"/>
                    </a:cubicBezTo>
                    <a:cubicBezTo>
                      <a:pt x="1087" y="0"/>
                      <a:pt x="1082" y="5"/>
                      <a:pt x="1082" y="10"/>
                    </a:cubicBezTo>
                    <a:cubicBezTo>
                      <a:pt x="1082" y="173"/>
                      <a:pt x="1082" y="173"/>
                      <a:pt x="1082" y="173"/>
                    </a:cubicBezTo>
                    <a:cubicBezTo>
                      <a:pt x="1082" y="179"/>
                      <a:pt x="1087" y="183"/>
                      <a:pt x="1092" y="183"/>
                    </a:cubicBezTo>
                    <a:cubicBezTo>
                      <a:pt x="1374" y="183"/>
                      <a:pt x="1374" y="183"/>
                      <a:pt x="1374" y="183"/>
                    </a:cubicBezTo>
                    <a:cubicBezTo>
                      <a:pt x="1380" y="183"/>
                      <a:pt x="1384" y="179"/>
                      <a:pt x="1384" y="173"/>
                    </a:cubicBezTo>
                    <a:close/>
                    <a:moveTo>
                      <a:pt x="302" y="421"/>
                    </a:moveTo>
                    <a:cubicBezTo>
                      <a:pt x="302" y="258"/>
                      <a:pt x="302" y="258"/>
                      <a:pt x="302" y="258"/>
                    </a:cubicBezTo>
                    <a:cubicBezTo>
                      <a:pt x="302" y="253"/>
                      <a:pt x="297" y="248"/>
                      <a:pt x="292" y="248"/>
                    </a:cubicBezTo>
                    <a:cubicBezTo>
                      <a:pt x="10" y="248"/>
                      <a:pt x="10" y="248"/>
                      <a:pt x="10" y="248"/>
                    </a:cubicBezTo>
                    <a:cubicBezTo>
                      <a:pt x="4" y="248"/>
                      <a:pt x="0" y="253"/>
                      <a:pt x="0" y="258"/>
                    </a:cubicBezTo>
                    <a:cubicBezTo>
                      <a:pt x="0" y="421"/>
                      <a:pt x="0" y="421"/>
                      <a:pt x="0" y="421"/>
                    </a:cubicBezTo>
                    <a:cubicBezTo>
                      <a:pt x="0" y="427"/>
                      <a:pt x="4" y="431"/>
                      <a:pt x="10" y="431"/>
                    </a:cubicBezTo>
                    <a:cubicBezTo>
                      <a:pt x="292" y="431"/>
                      <a:pt x="292" y="431"/>
                      <a:pt x="292" y="431"/>
                    </a:cubicBezTo>
                    <a:cubicBezTo>
                      <a:pt x="297" y="431"/>
                      <a:pt x="302" y="427"/>
                      <a:pt x="302" y="421"/>
                    </a:cubicBezTo>
                    <a:close/>
                    <a:moveTo>
                      <a:pt x="662" y="421"/>
                    </a:moveTo>
                    <a:cubicBezTo>
                      <a:pt x="662" y="258"/>
                      <a:pt x="662" y="258"/>
                      <a:pt x="662" y="258"/>
                    </a:cubicBezTo>
                    <a:cubicBezTo>
                      <a:pt x="662" y="253"/>
                      <a:pt x="658" y="248"/>
                      <a:pt x="652" y="248"/>
                    </a:cubicBezTo>
                    <a:cubicBezTo>
                      <a:pt x="371" y="248"/>
                      <a:pt x="371" y="248"/>
                      <a:pt x="371" y="248"/>
                    </a:cubicBezTo>
                    <a:cubicBezTo>
                      <a:pt x="365" y="248"/>
                      <a:pt x="361" y="253"/>
                      <a:pt x="361" y="258"/>
                    </a:cubicBezTo>
                    <a:cubicBezTo>
                      <a:pt x="361" y="421"/>
                      <a:pt x="361" y="421"/>
                      <a:pt x="361" y="421"/>
                    </a:cubicBezTo>
                    <a:cubicBezTo>
                      <a:pt x="361" y="427"/>
                      <a:pt x="365" y="431"/>
                      <a:pt x="371" y="431"/>
                    </a:cubicBezTo>
                    <a:cubicBezTo>
                      <a:pt x="652" y="431"/>
                      <a:pt x="652" y="431"/>
                      <a:pt x="652" y="431"/>
                    </a:cubicBezTo>
                    <a:cubicBezTo>
                      <a:pt x="658" y="431"/>
                      <a:pt x="662" y="427"/>
                      <a:pt x="662" y="421"/>
                    </a:cubicBezTo>
                    <a:close/>
                    <a:moveTo>
                      <a:pt x="1023" y="421"/>
                    </a:moveTo>
                    <a:cubicBezTo>
                      <a:pt x="1023" y="258"/>
                      <a:pt x="1023" y="258"/>
                      <a:pt x="1023" y="258"/>
                    </a:cubicBezTo>
                    <a:cubicBezTo>
                      <a:pt x="1023" y="253"/>
                      <a:pt x="1019" y="248"/>
                      <a:pt x="1013" y="248"/>
                    </a:cubicBezTo>
                    <a:cubicBezTo>
                      <a:pt x="732" y="248"/>
                      <a:pt x="732" y="248"/>
                      <a:pt x="732" y="248"/>
                    </a:cubicBezTo>
                    <a:cubicBezTo>
                      <a:pt x="726" y="248"/>
                      <a:pt x="722" y="253"/>
                      <a:pt x="722" y="258"/>
                    </a:cubicBezTo>
                    <a:cubicBezTo>
                      <a:pt x="722" y="421"/>
                      <a:pt x="722" y="421"/>
                      <a:pt x="722" y="421"/>
                    </a:cubicBezTo>
                    <a:cubicBezTo>
                      <a:pt x="722" y="427"/>
                      <a:pt x="726" y="431"/>
                      <a:pt x="732" y="431"/>
                    </a:cubicBezTo>
                    <a:cubicBezTo>
                      <a:pt x="1013" y="431"/>
                      <a:pt x="1013" y="431"/>
                      <a:pt x="1013" y="431"/>
                    </a:cubicBezTo>
                    <a:cubicBezTo>
                      <a:pt x="1019" y="431"/>
                      <a:pt x="1023" y="427"/>
                      <a:pt x="1023" y="421"/>
                    </a:cubicBezTo>
                    <a:close/>
                    <a:moveTo>
                      <a:pt x="1384" y="421"/>
                    </a:moveTo>
                    <a:cubicBezTo>
                      <a:pt x="1384" y="258"/>
                      <a:pt x="1384" y="258"/>
                      <a:pt x="1384" y="258"/>
                    </a:cubicBezTo>
                    <a:cubicBezTo>
                      <a:pt x="1384" y="253"/>
                      <a:pt x="1380" y="248"/>
                      <a:pt x="1374" y="248"/>
                    </a:cubicBezTo>
                    <a:cubicBezTo>
                      <a:pt x="1092" y="248"/>
                      <a:pt x="1092" y="248"/>
                      <a:pt x="1092" y="248"/>
                    </a:cubicBezTo>
                    <a:cubicBezTo>
                      <a:pt x="1087" y="248"/>
                      <a:pt x="1082" y="253"/>
                      <a:pt x="1082" y="258"/>
                    </a:cubicBezTo>
                    <a:cubicBezTo>
                      <a:pt x="1082" y="421"/>
                      <a:pt x="1082" y="421"/>
                      <a:pt x="1082" y="421"/>
                    </a:cubicBezTo>
                    <a:cubicBezTo>
                      <a:pt x="1082" y="427"/>
                      <a:pt x="1087" y="431"/>
                      <a:pt x="1092" y="431"/>
                    </a:cubicBezTo>
                    <a:cubicBezTo>
                      <a:pt x="1374" y="431"/>
                      <a:pt x="1374" y="431"/>
                      <a:pt x="1374" y="431"/>
                    </a:cubicBezTo>
                    <a:cubicBezTo>
                      <a:pt x="1380" y="431"/>
                      <a:pt x="1384" y="427"/>
                      <a:pt x="1384" y="421"/>
                    </a:cubicBezTo>
                    <a:close/>
                  </a:path>
                </a:pathLst>
              </a:custGeom>
              <a:solidFill>
                <a:srgbClr val="1F49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2296" tIns="41148" rIns="82296" bIns="41148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>
                  <a:defRPr/>
                </a:pPr>
                <a:endParaRPr lang="en-US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3" name="Freeform 16">
                <a:extLst>
                  <a:ext uri="{FF2B5EF4-FFF2-40B4-BE49-F238E27FC236}">
                    <a16:creationId xmlns="" xmlns:a16="http://schemas.microsoft.com/office/drawing/2014/main" id="{D5D864F2-D4FC-4684-89BF-B212682AA9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07149" y="2775204"/>
                <a:ext cx="1379220" cy="1306068"/>
              </a:xfrm>
              <a:custGeom>
                <a:avLst/>
                <a:gdLst>
                  <a:gd name="T0" fmla="*/ 1687 w 1932"/>
                  <a:gd name="T1" fmla="*/ 15 h 1828"/>
                  <a:gd name="T2" fmla="*/ 1735 w 1932"/>
                  <a:gd name="T3" fmla="*/ 587 h 1828"/>
                  <a:gd name="T4" fmla="*/ 1719 w 1932"/>
                  <a:gd name="T5" fmla="*/ 604 h 1828"/>
                  <a:gd name="T6" fmla="*/ 1417 w 1932"/>
                  <a:gd name="T7" fmla="*/ 604 h 1828"/>
                  <a:gd name="T8" fmla="*/ 1401 w 1932"/>
                  <a:gd name="T9" fmla="*/ 587 h 1828"/>
                  <a:gd name="T10" fmla="*/ 1449 w 1932"/>
                  <a:gd name="T11" fmla="*/ 15 h 1828"/>
                  <a:gd name="T12" fmla="*/ 1465 w 1932"/>
                  <a:gd name="T13" fmla="*/ 0 h 1828"/>
                  <a:gd name="T14" fmla="*/ 1671 w 1932"/>
                  <a:gd name="T15" fmla="*/ 0 h 1828"/>
                  <a:gd name="T16" fmla="*/ 1687 w 1932"/>
                  <a:gd name="T17" fmla="*/ 15 h 1828"/>
                  <a:gd name="T18" fmla="*/ 1932 w 1932"/>
                  <a:gd name="T19" fmla="*/ 1706 h 1828"/>
                  <a:gd name="T20" fmla="*/ 1932 w 1932"/>
                  <a:gd name="T21" fmla="*/ 1806 h 1828"/>
                  <a:gd name="T22" fmla="*/ 1910 w 1932"/>
                  <a:gd name="T23" fmla="*/ 1828 h 1828"/>
                  <a:gd name="T24" fmla="*/ 22 w 1932"/>
                  <a:gd name="T25" fmla="*/ 1828 h 1828"/>
                  <a:gd name="T26" fmla="*/ 0 w 1932"/>
                  <a:gd name="T27" fmla="*/ 1806 h 1828"/>
                  <a:gd name="T28" fmla="*/ 0 w 1932"/>
                  <a:gd name="T29" fmla="*/ 1706 h 1828"/>
                  <a:gd name="T30" fmla="*/ 22 w 1932"/>
                  <a:gd name="T31" fmla="*/ 1684 h 1828"/>
                  <a:gd name="T32" fmla="*/ 98 w 1932"/>
                  <a:gd name="T33" fmla="*/ 1684 h 1828"/>
                  <a:gd name="T34" fmla="*/ 98 w 1932"/>
                  <a:gd name="T35" fmla="*/ 1647 h 1828"/>
                  <a:gd name="T36" fmla="*/ 120 w 1932"/>
                  <a:gd name="T37" fmla="*/ 1625 h 1828"/>
                  <a:gd name="T38" fmla="*/ 1812 w 1932"/>
                  <a:gd name="T39" fmla="*/ 1625 h 1828"/>
                  <a:gd name="T40" fmla="*/ 1834 w 1932"/>
                  <a:gd name="T41" fmla="*/ 1647 h 1828"/>
                  <a:gd name="T42" fmla="*/ 1834 w 1932"/>
                  <a:gd name="T43" fmla="*/ 1684 h 1828"/>
                  <a:gd name="T44" fmla="*/ 1910 w 1932"/>
                  <a:gd name="T45" fmla="*/ 1684 h 1828"/>
                  <a:gd name="T46" fmla="*/ 1932 w 1932"/>
                  <a:gd name="T47" fmla="*/ 1706 h 1828"/>
                  <a:gd name="T48" fmla="*/ 1812 w 1932"/>
                  <a:gd name="T49" fmla="*/ 670 h 1828"/>
                  <a:gd name="T50" fmla="*/ 1790 w 1932"/>
                  <a:gd name="T51" fmla="*/ 648 h 1828"/>
                  <a:gd name="T52" fmla="*/ 1286 w 1932"/>
                  <a:gd name="T53" fmla="*/ 648 h 1828"/>
                  <a:gd name="T54" fmla="*/ 713 w 1932"/>
                  <a:gd name="T55" fmla="*/ 459 h 1828"/>
                  <a:gd name="T56" fmla="*/ 693 w 1932"/>
                  <a:gd name="T57" fmla="*/ 462 h 1828"/>
                  <a:gd name="T58" fmla="*/ 684 w 1932"/>
                  <a:gd name="T59" fmla="*/ 480 h 1828"/>
                  <a:gd name="T60" fmla="*/ 684 w 1932"/>
                  <a:gd name="T61" fmla="*/ 638 h 1828"/>
                  <a:gd name="T62" fmla="*/ 147 w 1932"/>
                  <a:gd name="T63" fmla="*/ 459 h 1828"/>
                  <a:gd name="T64" fmla="*/ 127 w 1932"/>
                  <a:gd name="T65" fmla="*/ 462 h 1828"/>
                  <a:gd name="T66" fmla="*/ 118 w 1932"/>
                  <a:gd name="T67" fmla="*/ 480 h 1828"/>
                  <a:gd name="T68" fmla="*/ 118 w 1932"/>
                  <a:gd name="T69" fmla="*/ 1581 h 1828"/>
                  <a:gd name="T70" fmla="*/ 162 w 1932"/>
                  <a:gd name="T71" fmla="*/ 1581 h 1828"/>
                  <a:gd name="T72" fmla="*/ 162 w 1932"/>
                  <a:gd name="T73" fmla="*/ 510 h 1828"/>
                  <a:gd name="T74" fmla="*/ 699 w 1932"/>
                  <a:gd name="T75" fmla="*/ 689 h 1828"/>
                  <a:gd name="T76" fmla="*/ 719 w 1932"/>
                  <a:gd name="T77" fmla="*/ 686 h 1828"/>
                  <a:gd name="T78" fmla="*/ 728 w 1932"/>
                  <a:gd name="T79" fmla="*/ 668 h 1828"/>
                  <a:gd name="T80" fmla="*/ 728 w 1932"/>
                  <a:gd name="T81" fmla="*/ 510 h 1828"/>
                  <a:gd name="T82" fmla="*/ 1275 w 1932"/>
                  <a:gd name="T83" fmla="*/ 691 h 1828"/>
                  <a:gd name="T84" fmla="*/ 1282 w 1932"/>
                  <a:gd name="T85" fmla="*/ 692 h 1828"/>
                  <a:gd name="T86" fmla="*/ 1768 w 1932"/>
                  <a:gd name="T87" fmla="*/ 692 h 1828"/>
                  <a:gd name="T88" fmla="*/ 1768 w 1932"/>
                  <a:gd name="T89" fmla="*/ 1581 h 1828"/>
                  <a:gd name="T90" fmla="*/ 1812 w 1932"/>
                  <a:gd name="T91" fmla="*/ 1581 h 1828"/>
                  <a:gd name="T92" fmla="*/ 1812 w 1932"/>
                  <a:gd name="T93" fmla="*/ 670 h 18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932" h="1828">
                    <a:moveTo>
                      <a:pt x="1687" y="15"/>
                    </a:moveTo>
                    <a:cubicBezTo>
                      <a:pt x="1735" y="587"/>
                      <a:pt x="1735" y="587"/>
                      <a:pt x="1735" y="587"/>
                    </a:cubicBezTo>
                    <a:cubicBezTo>
                      <a:pt x="1736" y="596"/>
                      <a:pt x="1728" y="604"/>
                      <a:pt x="1719" y="604"/>
                    </a:cubicBezTo>
                    <a:cubicBezTo>
                      <a:pt x="1417" y="604"/>
                      <a:pt x="1417" y="604"/>
                      <a:pt x="1417" y="604"/>
                    </a:cubicBezTo>
                    <a:cubicBezTo>
                      <a:pt x="1407" y="604"/>
                      <a:pt x="1400" y="596"/>
                      <a:pt x="1401" y="587"/>
                    </a:cubicBezTo>
                    <a:cubicBezTo>
                      <a:pt x="1449" y="15"/>
                      <a:pt x="1449" y="15"/>
                      <a:pt x="1449" y="15"/>
                    </a:cubicBezTo>
                    <a:cubicBezTo>
                      <a:pt x="1450" y="6"/>
                      <a:pt x="1457" y="0"/>
                      <a:pt x="1465" y="0"/>
                    </a:cubicBezTo>
                    <a:cubicBezTo>
                      <a:pt x="1671" y="0"/>
                      <a:pt x="1671" y="0"/>
                      <a:pt x="1671" y="0"/>
                    </a:cubicBezTo>
                    <a:cubicBezTo>
                      <a:pt x="1679" y="0"/>
                      <a:pt x="1686" y="6"/>
                      <a:pt x="1687" y="15"/>
                    </a:cubicBezTo>
                    <a:close/>
                    <a:moveTo>
                      <a:pt x="1932" y="1706"/>
                    </a:moveTo>
                    <a:cubicBezTo>
                      <a:pt x="1932" y="1806"/>
                      <a:pt x="1932" y="1806"/>
                      <a:pt x="1932" y="1806"/>
                    </a:cubicBezTo>
                    <a:cubicBezTo>
                      <a:pt x="1932" y="1818"/>
                      <a:pt x="1923" y="1828"/>
                      <a:pt x="1910" y="1828"/>
                    </a:cubicBezTo>
                    <a:cubicBezTo>
                      <a:pt x="22" y="1828"/>
                      <a:pt x="22" y="1828"/>
                      <a:pt x="22" y="1828"/>
                    </a:cubicBezTo>
                    <a:cubicBezTo>
                      <a:pt x="9" y="1828"/>
                      <a:pt x="0" y="1818"/>
                      <a:pt x="0" y="1806"/>
                    </a:cubicBezTo>
                    <a:cubicBezTo>
                      <a:pt x="0" y="1706"/>
                      <a:pt x="0" y="1706"/>
                      <a:pt x="0" y="1706"/>
                    </a:cubicBezTo>
                    <a:cubicBezTo>
                      <a:pt x="0" y="1694"/>
                      <a:pt x="9" y="1684"/>
                      <a:pt x="22" y="1684"/>
                    </a:cubicBezTo>
                    <a:cubicBezTo>
                      <a:pt x="98" y="1684"/>
                      <a:pt x="98" y="1684"/>
                      <a:pt x="98" y="1684"/>
                    </a:cubicBezTo>
                    <a:cubicBezTo>
                      <a:pt x="98" y="1647"/>
                      <a:pt x="98" y="1647"/>
                      <a:pt x="98" y="1647"/>
                    </a:cubicBezTo>
                    <a:cubicBezTo>
                      <a:pt x="98" y="1635"/>
                      <a:pt x="108" y="1625"/>
                      <a:pt x="120" y="1625"/>
                    </a:cubicBezTo>
                    <a:cubicBezTo>
                      <a:pt x="1812" y="1625"/>
                      <a:pt x="1812" y="1625"/>
                      <a:pt x="1812" y="1625"/>
                    </a:cubicBezTo>
                    <a:cubicBezTo>
                      <a:pt x="1824" y="1625"/>
                      <a:pt x="1834" y="1635"/>
                      <a:pt x="1834" y="1647"/>
                    </a:cubicBezTo>
                    <a:cubicBezTo>
                      <a:pt x="1834" y="1684"/>
                      <a:pt x="1834" y="1684"/>
                      <a:pt x="1834" y="1684"/>
                    </a:cubicBezTo>
                    <a:cubicBezTo>
                      <a:pt x="1910" y="1684"/>
                      <a:pt x="1910" y="1684"/>
                      <a:pt x="1910" y="1684"/>
                    </a:cubicBezTo>
                    <a:cubicBezTo>
                      <a:pt x="1923" y="1684"/>
                      <a:pt x="1932" y="1694"/>
                      <a:pt x="1932" y="1706"/>
                    </a:cubicBezTo>
                    <a:close/>
                    <a:moveTo>
                      <a:pt x="1812" y="670"/>
                    </a:moveTo>
                    <a:cubicBezTo>
                      <a:pt x="1812" y="658"/>
                      <a:pt x="1802" y="648"/>
                      <a:pt x="1790" y="648"/>
                    </a:cubicBezTo>
                    <a:cubicBezTo>
                      <a:pt x="1286" y="648"/>
                      <a:pt x="1286" y="648"/>
                      <a:pt x="1286" y="648"/>
                    </a:cubicBezTo>
                    <a:cubicBezTo>
                      <a:pt x="713" y="459"/>
                      <a:pt x="713" y="459"/>
                      <a:pt x="713" y="459"/>
                    </a:cubicBezTo>
                    <a:cubicBezTo>
                      <a:pt x="706" y="457"/>
                      <a:pt x="699" y="458"/>
                      <a:pt x="693" y="462"/>
                    </a:cubicBezTo>
                    <a:cubicBezTo>
                      <a:pt x="687" y="466"/>
                      <a:pt x="684" y="473"/>
                      <a:pt x="684" y="480"/>
                    </a:cubicBezTo>
                    <a:cubicBezTo>
                      <a:pt x="684" y="638"/>
                      <a:pt x="684" y="638"/>
                      <a:pt x="684" y="638"/>
                    </a:cubicBezTo>
                    <a:cubicBezTo>
                      <a:pt x="147" y="459"/>
                      <a:pt x="147" y="459"/>
                      <a:pt x="147" y="459"/>
                    </a:cubicBezTo>
                    <a:cubicBezTo>
                      <a:pt x="140" y="457"/>
                      <a:pt x="133" y="458"/>
                      <a:pt x="127" y="462"/>
                    </a:cubicBezTo>
                    <a:cubicBezTo>
                      <a:pt x="121" y="466"/>
                      <a:pt x="118" y="473"/>
                      <a:pt x="118" y="480"/>
                    </a:cubicBezTo>
                    <a:cubicBezTo>
                      <a:pt x="118" y="1581"/>
                      <a:pt x="118" y="1581"/>
                      <a:pt x="118" y="1581"/>
                    </a:cubicBezTo>
                    <a:cubicBezTo>
                      <a:pt x="162" y="1581"/>
                      <a:pt x="162" y="1581"/>
                      <a:pt x="162" y="1581"/>
                    </a:cubicBezTo>
                    <a:cubicBezTo>
                      <a:pt x="162" y="510"/>
                      <a:pt x="162" y="510"/>
                      <a:pt x="162" y="510"/>
                    </a:cubicBezTo>
                    <a:cubicBezTo>
                      <a:pt x="699" y="689"/>
                      <a:pt x="699" y="689"/>
                      <a:pt x="699" y="689"/>
                    </a:cubicBezTo>
                    <a:cubicBezTo>
                      <a:pt x="706" y="691"/>
                      <a:pt x="713" y="690"/>
                      <a:pt x="719" y="686"/>
                    </a:cubicBezTo>
                    <a:cubicBezTo>
                      <a:pt x="725" y="682"/>
                      <a:pt x="728" y="675"/>
                      <a:pt x="728" y="668"/>
                    </a:cubicBezTo>
                    <a:cubicBezTo>
                      <a:pt x="728" y="510"/>
                      <a:pt x="728" y="510"/>
                      <a:pt x="728" y="510"/>
                    </a:cubicBezTo>
                    <a:cubicBezTo>
                      <a:pt x="1275" y="691"/>
                      <a:pt x="1275" y="691"/>
                      <a:pt x="1275" y="691"/>
                    </a:cubicBezTo>
                    <a:cubicBezTo>
                      <a:pt x="1277" y="692"/>
                      <a:pt x="1280" y="692"/>
                      <a:pt x="1282" y="692"/>
                    </a:cubicBezTo>
                    <a:cubicBezTo>
                      <a:pt x="1768" y="692"/>
                      <a:pt x="1768" y="692"/>
                      <a:pt x="1768" y="692"/>
                    </a:cubicBezTo>
                    <a:cubicBezTo>
                      <a:pt x="1768" y="1581"/>
                      <a:pt x="1768" y="1581"/>
                      <a:pt x="1768" y="1581"/>
                    </a:cubicBezTo>
                    <a:cubicBezTo>
                      <a:pt x="1812" y="1581"/>
                      <a:pt x="1812" y="1581"/>
                      <a:pt x="1812" y="1581"/>
                    </a:cubicBezTo>
                    <a:lnTo>
                      <a:pt x="1812" y="670"/>
                    </a:lnTo>
                    <a:close/>
                  </a:path>
                </a:pathLst>
              </a:custGeom>
              <a:solidFill>
                <a:srgbClr val="4F81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2296" tIns="41148" rIns="82296" bIns="41148" numCol="1" anchor="t" anchorCtr="0" compatLnSpc="1">
                <a:prstTxWarp prst="textNoShape">
                  <a:avLst/>
                </a:prstTxWarp>
              </a:bodyPr>
              <a:lstStyle/>
              <a:p>
                <a:pPr defTabSz="761970">
                  <a:defRPr/>
                </a:pPr>
                <a:endParaRPr lang="en-US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162" name="Oval 161"/>
          <p:cNvSpPr>
            <a:spLocks noChangeAspect="1"/>
          </p:cNvSpPr>
          <p:nvPr/>
        </p:nvSpPr>
        <p:spPr>
          <a:xfrm>
            <a:off x="6037071" y="4947909"/>
            <a:ext cx="801072" cy="800760"/>
          </a:xfrm>
          <a:prstGeom prst="ellipse">
            <a:avLst/>
          </a:prstGeom>
          <a:solidFill>
            <a:schemeClr val="bg1"/>
          </a:solidFill>
          <a:ln w="34290">
            <a:solidFill>
              <a:srgbClr val="1F41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15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3" name="Oval 162"/>
          <p:cNvSpPr>
            <a:spLocks noChangeAspect="1"/>
          </p:cNvSpPr>
          <p:nvPr/>
        </p:nvSpPr>
        <p:spPr>
          <a:xfrm>
            <a:off x="4230441" y="2713221"/>
            <a:ext cx="801072" cy="800760"/>
          </a:xfrm>
          <a:prstGeom prst="ellipse">
            <a:avLst/>
          </a:prstGeom>
          <a:solidFill>
            <a:schemeClr val="bg1"/>
          </a:solidFill>
          <a:ln w="34290">
            <a:solidFill>
              <a:srgbClr val="1F41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15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4" name="Oval 163"/>
          <p:cNvSpPr>
            <a:spLocks noChangeAspect="1"/>
          </p:cNvSpPr>
          <p:nvPr/>
        </p:nvSpPr>
        <p:spPr>
          <a:xfrm>
            <a:off x="3977217" y="3979909"/>
            <a:ext cx="801072" cy="800760"/>
          </a:xfrm>
          <a:prstGeom prst="ellipse">
            <a:avLst/>
          </a:prstGeom>
          <a:solidFill>
            <a:schemeClr val="bg1"/>
          </a:solidFill>
          <a:ln w="34290">
            <a:solidFill>
              <a:srgbClr val="1F41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15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6" name="Oval 165"/>
          <p:cNvSpPr>
            <a:spLocks noChangeAspect="1"/>
          </p:cNvSpPr>
          <p:nvPr/>
        </p:nvSpPr>
        <p:spPr>
          <a:xfrm>
            <a:off x="6565698" y="2701609"/>
            <a:ext cx="801071" cy="800760"/>
          </a:xfrm>
          <a:prstGeom prst="ellipse">
            <a:avLst/>
          </a:prstGeom>
          <a:solidFill>
            <a:schemeClr val="bg1"/>
          </a:solidFill>
          <a:ln w="34290">
            <a:solidFill>
              <a:srgbClr val="1F41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15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7" name="Oval 166"/>
          <p:cNvSpPr>
            <a:spLocks noChangeAspect="1"/>
          </p:cNvSpPr>
          <p:nvPr/>
        </p:nvSpPr>
        <p:spPr>
          <a:xfrm>
            <a:off x="6835984" y="3974723"/>
            <a:ext cx="801072" cy="800760"/>
          </a:xfrm>
          <a:prstGeom prst="ellipse">
            <a:avLst/>
          </a:prstGeom>
          <a:solidFill>
            <a:schemeClr val="bg1"/>
          </a:solidFill>
          <a:ln w="34290">
            <a:solidFill>
              <a:srgbClr val="1F41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15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74" name="bcgBugs_BrainIntelligentOperations"/>
          <p:cNvGrpSpPr>
            <a:grpSpLocks noChangeAspect="1"/>
          </p:cNvGrpSpPr>
          <p:nvPr/>
        </p:nvGrpSpPr>
        <p:grpSpPr bwMode="auto">
          <a:xfrm>
            <a:off x="6962470" y="4100783"/>
            <a:ext cx="548102" cy="548640"/>
            <a:chOff x="2818" y="1137"/>
            <a:chExt cx="2044" cy="2046"/>
          </a:xfrm>
        </p:grpSpPr>
        <p:sp>
          <p:nvSpPr>
            <p:cNvPr id="175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18" y="1137"/>
              <a:ext cx="2044" cy="20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5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6" name="Freeform 175"/>
            <p:cNvSpPr>
              <a:spLocks noEditPoints="1"/>
            </p:cNvSpPr>
            <p:nvPr/>
          </p:nvSpPr>
          <p:spPr bwMode="auto">
            <a:xfrm>
              <a:off x="3084" y="1260"/>
              <a:ext cx="1514" cy="1802"/>
            </a:xfrm>
            <a:custGeom>
              <a:avLst/>
              <a:gdLst>
                <a:gd name="T0" fmla="*/ 549 w 740"/>
                <a:gd name="T1" fmla="*/ 772 h 880"/>
                <a:gd name="T2" fmla="*/ 443 w 740"/>
                <a:gd name="T3" fmla="*/ 880 h 880"/>
                <a:gd name="T4" fmla="*/ 391 w 740"/>
                <a:gd name="T5" fmla="*/ 377 h 880"/>
                <a:gd name="T6" fmla="*/ 548 w 740"/>
                <a:gd name="T7" fmla="*/ 280 h 880"/>
                <a:gd name="T8" fmla="*/ 562 w 740"/>
                <a:gd name="T9" fmla="*/ 238 h 880"/>
                <a:gd name="T10" fmla="*/ 391 w 740"/>
                <a:gd name="T11" fmla="*/ 39 h 880"/>
                <a:gd name="T12" fmla="*/ 593 w 740"/>
                <a:gd name="T13" fmla="*/ 104 h 880"/>
                <a:gd name="T14" fmla="*/ 472 w 740"/>
                <a:gd name="T15" fmla="*/ 129 h 880"/>
                <a:gd name="T16" fmla="*/ 494 w 740"/>
                <a:gd name="T17" fmla="*/ 167 h 880"/>
                <a:gd name="T18" fmla="*/ 727 w 740"/>
                <a:gd name="T19" fmla="*/ 303 h 880"/>
                <a:gd name="T20" fmla="*/ 592 w 740"/>
                <a:gd name="T21" fmla="*/ 415 h 880"/>
                <a:gd name="T22" fmla="*/ 548 w 740"/>
                <a:gd name="T23" fmla="*/ 421 h 880"/>
                <a:gd name="T24" fmla="*/ 465 w 740"/>
                <a:gd name="T25" fmla="*/ 529 h 880"/>
                <a:gd name="T26" fmla="*/ 468 w 740"/>
                <a:gd name="T27" fmla="*/ 572 h 880"/>
                <a:gd name="T28" fmla="*/ 574 w 740"/>
                <a:gd name="T29" fmla="*/ 503 h 880"/>
                <a:gd name="T30" fmla="*/ 740 w 740"/>
                <a:gd name="T31" fmla="*/ 532 h 880"/>
                <a:gd name="T32" fmla="*/ 549 w 740"/>
                <a:gd name="T33" fmla="*/ 728 h 880"/>
                <a:gd name="T34" fmla="*/ 189 w 740"/>
                <a:gd name="T35" fmla="*/ 580 h 880"/>
                <a:gd name="T36" fmla="*/ 344 w 740"/>
                <a:gd name="T37" fmla="*/ 489 h 880"/>
                <a:gd name="T38" fmla="*/ 259 w 740"/>
                <a:gd name="T39" fmla="*/ 0 h 880"/>
                <a:gd name="T40" fmla="*/ 153 w 740"/>
                <a:gd name="T41" fmla="*/ 90 h 880"/>
                <a:gd name="T42" fmla="*/ 260 w 740"/>
                <a:gd name="T43" fmla="*/ 146 h 880"/>
                <a:gd name="T44" fmla="*/ 153 w 740"/>
                <a:gd name="T45" fmla="*/ 134 h 880"/>
                <a:gd name="T46" fmla="*/ 0 w 740"/>
                <a:gd name="T47" fmla="*/ 305 h 880"/>
                <a:gd name="T48" fmla="*/ 111 w 740"/>
                <a:gd name="T49" fmla="*/ 313 h 880"/>
                <a:gd name="T50" fmla="*/ 164 w 740"/>
                <a:gd name="T51" fmla="*/ 246 h 880"/>
                <a:gd name="T52" fmla="*/ 157 w 740"/>
                <a:gd name="T53" fmla="*/ 349 h 880"/>
                <a:gd name="T54" fmla="*/ 205 w 740"/>
                <a:gd name="T55" fmla="*/ 440 h 880"/>
                <a:gd name="T56" fmla="*/ 174 w 740"/>
                <a:gd name="T57" fmla="*/ 446 h 880"/>
                <a:gd name="T58" fmla="*/ 7 w 740"/>
                <a:gd name="T59" fmla="*/ 532 h 880"/>
                <a:gd name="T60" fmla="*/ 223 w 740"/>
                <a:gd name="T61" fmla="*/ 747 h 880"/>
                <a:gd name="T62" fmla="*/ 140 w 740"/>
                <a:gd name="T63" fmla="*/ 761 h 880"/>
                <a:gd name="T64" fmla="*/ 344 w 740"/>
                <a:gd name="T65" fmla="*/ 825 h 880"/>
                <a:gd name="T66" fmla="*/ 226 w 740"/>
                <a:gd name="T67" fmla="*/ 630 h 880"/>
                <a:gd name="T68" fmla="*/ 161 w 740"/>
                <a:gd name="T69" fmla="*/ 594 h 8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40" h="880">
                  <a:moveTo>
                    <a:pt x="527" y="750"/>
                  </a:moveTo>
                  <a:cubicBezTo>
                    <a:pt x="527" y="763"/>
                    <a:pt x="537" y="772"/>
                    <a:pt x="549" y="772"/>
                  </a:cubicBezTo>
                  <a:cubicBezTo>
                    <a:pt x="564" y="772"/>
                    <a:pt x="578" y="771"/>
                    <a:pt x="592" y="769"/>
                  </a:cubicBezTo>
                  <a:cubicBezTo>
                    <a:pt x="565" y="827"/>
                    <a:pt x="497" y="880"/>
                    <a:pt x="443" y="880"/>
                  </a:cubicBezTo>
                  <a:cubicBezTo>
                    <a:pt x="411" y="880"/>
                    <a:pt x="391" y="847"/>
                    <a:pt x="391" y="825"/>
                  </a:cubicBezTo>
                  <a:cubicBezTo>
                    <a:pt x="391" y="377"/>
                    <a:pt x="391" y="377"/>
                    <a:pt x="391" y="377"/>
                  </a:cubicBezTo>
                  <a:cubicBezTo>
                    <a:pt x="395" y="353"/>
                    <a:pt x="406" y="330"/>
                    <a:pt x="423" y="311"/>
                  </a:cubicBezTo>
                  <a:cubicBezTo>
                    <a:pt x="455" y="278"/>
                    <a:pt x="504" y="265"/>
                    <a:pt x="548" y="280"/>
                  </a:cubicBezTo>
                  <a:cubicBezTo>
                    <a:pt x="559" y="284"/>
                    <a:pt x="572" y="278"/>
                    <a:pt x="576" y="266"/>
                  </a:cubicBezTo>
                  <a:cubicBezTo>
                    <a:pt x="579" y="255"/>
                    <a:pt x="573" y="242"/>
                    <a:pt x="562" y="238"/>
                  </a:cubicBezTo>
                  <a:cubicBezTo>
                    <a:pt x="502" y="218"/>
                    <a:pt x="435" y="235"/>
                    <a:pt x="391" y="281"/>
                  </a:cubicBezTo>
                  <a:cubicBezTo>
                    <a:pt x="391" y="39"/>
                    <a:pt x="391" y="39"/>
                    <a:pt x="391" y="39"/>
                  </a:cubicBezTo>
                  <a:cubicBezTo>
                    <a:pt x="413" y="15"/>
                    <a:pt x="443" y="0"/>
                    <a:pt x="477" y="0"/>
                  </a:cubicBezTo>
                  <a:cubicBezTo>
                    <a:pt x="535" y="0"/>
                    <a:pt x="583" y="45"/>
                    <a:pt x="593" y="104"/>
                  </a:cubicBezTo>
                  <a:cubicBezTo>
                    <a:pt x="586" y="103"/>
                    <a:pt x="578" y="103"/>
                    <a:pt x="571" y="103"/>
                  </a:cubicBezTo>
                  <a:cubicBezTo>
                    <a:pt x="536" y="103"/>
                    <a:pt x="502" y="111"/>
                    <a:pt x="472" y="129"/>
                  </a:cubicBezTo>
                  <a:cubicBezTo>
                    <a:pt x="461" y="135"/>
                    <a:pt x="458" y="148"/>
                    <a:pt x="464" y="158"/>
                  </a:cubicBezTo>
                  <a:cubicBezTo>
                    <a:pt x="470" y="169"/>
                    <a:pt x="483" y="173"/>
                    <a:pt x="494" y="167"/>
                  </a:cubicBezTo>
                  <a:cubicBezTo>
                    <a:pt x="517" y="154"/>
                    <a:pt x="544" y="147"/>
                    <a:pt x="571" y="147"/>
                  </a:cubicBezTo>
                  <a:cubicBezTo>
                    <a:pt x="657" y="147"/>
                    <a:pt x="727" y="217"/>
                    <a:pt x="727" y="303"/>
                  </a:cubicBezTo>
                  <a:cubicBezTo>
                    <a:pt x="727" y="382"/>
                    <a:pt x="667" y="448"/>
                    <a:pt x="591" y="458"/>
                  </a:cubicBezTo>
                  <a:cubicBezTo>
                    <a:pt x="593" y="444"/>
                    <a:pt x="593" y="430"/>
                    <a:pt x="592" y="415"/>
                  </a:cubicBezTo>
                  <a:cubicBezTo>
                    <a:pt x="590" y="403"/>
                    <a:pt x="579" y="395"/>
                    <a:pt x="567" y="396"/>
                  </a:cubicBezTo>
                  <a:cubicBezTo>
                    <a:pt x="555" y="398"/>
                    <a:pt x="546" y="409"/>
                    <a:pt x="548" y="421"/>
                  </a:cubicBezTo>
                  <a:cubicBezTo>
                    <a:pt x="551" y="446"/>
                    <a:pt x="544" y="472"/>
                    <a:pt x="529" y="492"/>
                  </a:cubicBezTo>
                  <a:cubicBezTo>
                    <a:pt x="513" y="512"/>
                    <a:pt x="490" y="525"/>
                    <a:pt x="465" y="529"/>
                  </a:cubicBezTo>
                  <a:cubicBezTo>
                    <a:pt x="453" y="530"/>
                    <a:pt x="444" y="541"/>
                    <a:pt x="446" y="553"/>
                  </a:cubicBezTo>
                  <a:cubicBezTo>
                    <a:pt x="447" y="564"/>
                    <a:pt x="457" y="572"/>
                    <a:pt x="468" y="572"/>
                  </a:cubicBezTo>
                  <a:cubicBezTo>
                    <a:pt x="469" y="572"/>
                    <a:pt x="470" y="572"/>
                    <a:pt x="471" y="572"/>
                  </a:cubicBezTo>
                  <a:cubicBezTo>
                    <a:pt x="516" y="566"/>
                    <a:pt x="553" y="540"/>
                    <a:pt x="574" y="503"/>
                  </a:cubicBezTo>
                  <a:cubicBezTo>
                    <a:pt x="631" y="502"/>
                    <a:pt x="682" y="477"/>
                    <a:pt x="718" y="439"/>
                  </a:cubicBezTo>
                  <a:cubicBezTo>
                    <a:pt x="732" y="466"/>
                    <a:pt x="740" y="498"/>
                    <a:pt x="740" y="532"/>
                  </a:cubicBezTo>
                  <a:cubicBezTo>
                    <a:pt x="740" y="595"/>
                    <a:pt x="712" y="651"/>
                    <a:pt x="669" y="688"/>
                  </a:cubicBezTo>
                  <a:cubicBezTo>
                    <a:pt x="636" y="713"/>
                    <a:pt x="595" y="728"/>
                    <a:pt x="549" y="728"/>
                  </a:cubicBezTo>
                  <a:cubicBezTo>
                    <a:pt x="537" y="728"/>
                    <a:pt x="527" y="738"/>
                    <a:pt x="527" y="750"/>
                  </a:cubicBezTo>
                  <a:close/>
                  <a:moveTo>
                    <a:pt x="189" y="580"/>
                  </a:moveTo>
                  <a:cubicBezTo>
                    <a:pt x="233" y="595"/>
                    <a:pt x="282" y="583"/>
                    <a:pt x="314" y="549"/>
                  </a:cubicBezTo>
                  <a:cubicBezTo>
                    <a:pt x="330" y="532"/>
                    <a:pt x="340" y="511"/>
                    <a:pt x="344" y="489"/>
                  </a:cubicBezTo>
                  <a:cubicBezTo>
                    <a:pt x="344" y="39"/>
                    <a:pt x="344" y="39"/>
                    <a:pt x="344" y="39"/>
                  </a:cubicBezTo>
                  <a:cubicBezTo>
                    <a:pt x="323" y="15"/>
                    <a:pt x="292" y="0"/>
                    <a:pt x="259" y="0"/>
                  </a:cubicBezTo>
                  <a:cubicBezTo>
                    <a:pt x="205" y="0"/>
                    <a:pt x="160" y="38"/>
                    <a:pt x="146" y="90"/>
                  </a:cubicBezTo>
                  <a:cubicBezTo>
                    <a:pt x="148" y="90"/>
                    <a:pt x="151" y="90"/>
                    <a:pt x="153" y="90"/>
                  </a:cubicBezTo>
                  <a:cubicBezTo>
                    <a:pt x="188" y="90"/>
                    <a:pt x="222" y="99"/>
                    <a:pt x="252" y="116"/>
                  </a:cubicBezTo>
                  <a:cubicBezTo>
                    <a:pt x="262" y="122"/>
                    <a:pt x="266" y="135"/>
                    <a:pt x="260" y="146"/>
                  </a:cubicBezTo>
                  <a:cubicBezTo>
                    <a:pt x="254" y="156"/>
                    <a:pt x="241" y="160"/>
                    <a:pt x="230" y="154"/>
                  </a:cubicBezTo>
                  <a:cubicBezTo>
                    <a:pt x="207" y="141"/>
                    <a:pt x="180" y="134"/>
                    <a:pt x="153" y="134"/>
                  </a:cubicBezTo>
                  <a:cubicBezTo>
                    <a:pt x="143" y="134"/>
                    <a:pt x="134" y="135"/>
                    <a:pt x="125" y="136"/>
                  </a:cubicBezTo>
                  <a:cubicBezTo>
                    <a:pt x="53" y="155"/>
                    <a:pt x="0" y="223"/>
                    <a:pt x="0" y="305"/>
                  </a:cubicBezTo>
                  <a:cubicBezTo>
                    <a:pt x="0" y="333"/>
                    <a:pt x="6" y="359"/>
                    <a:pt x="17" y="382"/>
                  </a:cubicBezTo>
                  <a:cubicBezTo>
                    <a:pt x="42" y="352"/>
                    <a:pt x="74" y="328"/>
                    <a:pt x="111" y="313"/>
                  </a:cubicBezTo>
                  <a:cubicBezTo>
                    <a:pt x="114" y="291"/>
                    <a:pt x="121" y="271"/>
                    <a:pt x="133" y="252"/>
                  </a:cubicBezTo>
                  <a:cubicBezTo>
                    <a:pt x="140" y="242"/>
                    <a:pt x="153" y="239"/>
                    <a:pt x="164" y="246"/>
                  </a:cubicBezTo>
                  <a:cubicBezTo>
                    <a:pt x="174" y="253"/>
                    <a:pt x="177" y="266"/>
                    <a:pt x="170" y="276"/>
                  </a:cubicBezTo>
                  <a:cubicBezTo>
                    <a:pt x="156" y="298"/>
                    <a:pt x="151" y="324"/>
                    <a:pt x="157" y="349"/>
                  </a:cubicBezTo>
                  <a:cubicBezTo>
                    <a:pt x="162" y="374"/>
                    <a:pt x="177" y="395"/>
                    <a:pt x="198" y="410"/>
                  </a:cubicBezTo>
                  <a:cubicBezTo>
                    <a:pt x="208" y="416"/>
                    <a:pt x="211" y="430"/>
                    <a:pt x="205" y="440"/>
                  </a:cubicBezTo>
                  <a:cubicBezTo>
                    <a:pt x="200" y="446"/>
                    <a:pt x="193" y="450"/>
                    <a:pt x="186" y="450"/>
                  </a:cubicBezTo>
                  <a:cubicBezTo>
                    <a:pt x="182" y="450"/>
                    <a:pt x="178" y="449"/>
                    <a:pt x="174" y="446"/>
                  </a:cubicBezTo>
                  <a:cubicBezTo>
                    <a:pt x="143" y="426"/>
                    <a:pt x="122" y="396"/>
                    <a:pt x="114" y="360"/>
                  </a:cubicBezTo>
                  <a:cubicBezTo>
                    <a:pt x="49" y="392"/>
                    <a:pt x="7" y="459"/>
                    <a:pt x="7" y="532"/>
                  </a:cubicBezTo>
                  <a:cubicBezTo>
                    <a:pt x="7" y="639"/>
                    <a:pt x="94" y="725"/>
                    <a:pt x="201" y="725"/>
                  </a:cubicBezTo>
                  <a:cubicBezTo>
                    <a:pt x="213" y="725"/>
                    <a:pt x="223" y="735"/>
                    <a:pt x="223" y="747"/>
                  </a:cubicBezTo>
                  <a:cubicBezTo>
                    <a:pt x="223" y="759"/>
                    <a:pt x="213" y="769"/>
                    <a:pt x="201" y="769"/>
                  </a:cubicBezTo>
                  <a:cubicBezTo>
                    <a:pt x="180" y="769"/>
                    <a:pt x="160" y="767"/>
                    <a:pt x="140" y="761"/>
                  </a:cubicBezTo>
                  <a:cubicBezTo>
                    <a:pt x="166" y="822"/>
                    <a:pt x="238" y="880"/>
                    <a:pt x="295" y="880"/>
                  </a:cubicBezTo>
                  <a:cubicBezTo>
                    <a:pt x="327" y="880"/>
                    <a:pt x="344" y="854"/>
                    <a:pt x="344" y="825"/>
                  </a:cubicBezTo>
                  <a:cubicBezTo>
                    <a:pt x="344" y="581"/>
                    <a:pt x="344" y="581"/>
                    <a:pt x="344" y="581"/>
                  </a:cubicBezTo>
                  <a:cubicBezTo>
                    <a:pt x="313" y="613"/>
                    <a:pt x="270" y="630"/>
                    <a:pt x="226" y="630"/>
                  </a:cubicBezTo>
                  <a:cubicBezTo>
                    <a:pt x="209" y="630"/>
                    <a:pt x="192" y="628"/>
                    <a:pt x="175" y="622"/>
                  </a:cubicBezTo>
                  <a:cubicBezTo>
                    <a:pt x="163" y="618"/>
                    <a:pt x="157" y="606"/>
                    <a:pt x="161" y="594"/>
                  </a:cubicBezTo>
                  <a:cubicBezTo>
                    <a:pt x="165" y="583"/>
                    <a:pt x="177" y="576"/>
                    <a:pt x="189" y="580"/>
                  </a:cubicBezTo>
                  <a:close/>
                </a:path>
              </a:pathLst>
            </a:custGeom>
            <a:solidFill>
              <a:srgbClr val="0A2B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5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77" name="Group 176"/>
          <p:cNvGrpSpPr>
            <a:grpSpLocks noChangeAspect="1"/>
          </p:cNvGrpSpPr>
          <p:nvPr/>
        </p:nvGrpSpPr>
        <p:grpSpPr bwMode="auto">
          <a:xfrm>
            <a:off x="6163540" y="5073969"/>
            <a:ext cx="548135" cy="548640"/>
            <a:chOff x="1682" y="0"/>
            <a:chExt cx="4316" cy="4320"/>
          </a:xfrm>
        </p:grpSpPr>
        <p:sp>
          <p:nvSpPr>
            <p:cNvPr id="178" name="AutoShape 3"/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2296" tIns="41148" rIns="82296" bIns="41148" numCol="1" anchor="t" anchorCtr="0" compatLnSpc="1">
              <a:prstTxWarp prst="textNoShape">
                <a:avLst/>
              </a:prstTxWarp>
            </a:bodyPr>
            <a:lstStyle/>
            <a:p>
              <a:pPr defTabSz="761970">
                <a:defRPr/>
              </a:pPr>
              <a:endParaRPr lang="en-US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9" name="Freeform 5"/>
            <p:cNvSpPr>
              <a:spLocks noEditPoints="1"/>
            </p:cNvSpPr>
            <p:nvPr/>
          </p:nvSpPr>
          <p:spPr bwMode="auto">
            <a:xfrm>
              <a:off x="4276" y="849"/>
              <a:ext cx="1540" cy="1515"/>
            </a:xfrm>
            <a:custGeom>
              <a:avLst/>
              <a:gdLst>
                <a:gd name="T0" fmla="*/ 816 w 822"/>
                <a:gd name="T1" fmla="*/ 362 h 808"/>
                <a:gd name="T2" fmla="*/ 758 w 822"/>
                <a:gd name="T3" fmla="*/ 327 h 808"/>
                <a:gd name="T4" fmla="*/ 736 w 822"/>
                <a:gd name="T5" fmla="*/ 261 h 808"/>
                <a:gd name="T6" fmla="*/ 701 w 822"/>
                <a:gd name="T7" fmla="*/ 196 h 808"/>
                <a:gd name="T8" fmla="*/ 714 w 822"/>
                <a:gd name="T9" fmla="*/ 130 h 808"/>
                <a:gd name="T10" fmla="*/ 575 w 822"/>
                <a:gd name="T11" fmla="*/ 28 h 808"/>
                <a:gd name="T12" fmla="*/ 515 w 822"/>
                <a:gd name="T13" fmla="*/ 62 h 808"/>
                <a:gd name="T14" fmla="*/ 384 w 822"/>
                <a:gd name="T15" fmla="*/ 47 h 808"/>
                <a:gd name="T16" fmla="*/ 333 w 822"/>
                <a:gd name="T17" fmla="*/ 0 h 808"/>
                <a:gd name="T18" fmla="*/ 249 w 822"/>
                <a:gd name="T19" fmla="*/ 26 h 808"/>
                <a:gd name="T20" fmla="*/ 173 w 822"/>
                <a:gd name="T21" fmla="*/ 69 h 808"/>
                <a:gd name="T22" fmla="*/ 173 w 822"/>
                <a:gd name="T23" fmla="*/ 140 h 808"/>
                <a:gd name="T24" fmla="*/ 92 w 822"/>
                <a:gd name="T25" fmla="*/ 246 h 808"/>
                <a:gd name="T26" fmla="*/ 27 w 822"/>
                <a:gd name="T27" fmla="*/ 267 h 808"/>
                <a:gd name="T28" fmla="*/ 4 w 822"/>
                <a:gd name="T29" fmla="*/ 441 h 808"/>
                <a:gd name="T30" fmla="*/ 62 w 822"/>
                <a:gd name="T31" fmla="*/ 475 h 808"/>
                <a:gd name="T32" fmla="*/ 85 w 822"/>
                <a:gd name="T33" fmla="*/ 546 h 808"/>
                <a:gd name="T34" fmla="*/ 118 w 822"/>
                <a:gd name="T35" fmla="*/ 607 h 808"/>
                <a:gd name="T36" fmla="*/ 102 w 822"/>
                <a:gd name="T37" fmla="*/ 673 h 808"/>
                <a:gd name="T38" fmla="*/ 237 w 822"/>
                <a:gd name="T39" fmla="*/ 777 h 808"/>
                <a:gd name="T40" fmla="*/ 295 w 822"/>
                <a:gd name="T41" fmla="*/ 743 h 808"/>
                <a:gd name="T42" fmla="*/ 442 w 822"/>
                <a:gd name="T43" fmla="*/ 762 h 808"/>
                <a:gd name="T44" fmla="*/ 493 w 822"/>
                <a:gd name="T45" fmla="*/ 808 h 808"/>
                <a:gd name="T46" fmla="*/ 572 w 822"/>
                <a:gd name="T47" fmla="*/ 783 h 808"/>
                <a:gd name="T48" fmla="*/ 646 w 822"/>
                <a:gd name="T49" fmla="*/ 741 h 808"/>
                <a:gd name="T50" fmla="*/ 646 w 822"/>
                <a:gd name="T51" fmla="*/ 673 h 808"/>
                <a:gd name="T52" fmla="*/ 734 w 822"/>
                <a:gd name="T53" fmla="*/ 552 h 808"/>
                <a:gd name="T54" fmla="*/ 797 w 822"/>
                <a:gd name="T55" fmla="*/ 532 h 808"/>
                <a:gd name="T56" fmla="*/ 816 w 822"/>
                <a:gd name="T57" fmla="*/ 362 h 808"/>
                <a:gd name="T58" fmla="*/ 482 w 822"/>
                <a:gd name="T59" fmla="*/ 569 h 808"/>
                <a:gd name="T60" fmla="*/ 247 w 822"/>
                <a:gd name="T61" fmla="*/ 475 h 808"/>
                <a:gd name="T62" fmla="*/ 339 w 822"/>
                <a:gd name="T63" fmla="*/ 239 h 808"/>
                <a:gd name="T64" fmla="*/ 573 w 822"/>
                <a:gd name="T65" fmla="*/ 333 h 808"/>
                <a:gd name="T66" fmla="*/ 482 w 822"/>
                <a:gd name="T67" fmla="*/ 569 h 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22" h="808">
                  <a:moveTo>
                    <a:pt x="816" y="362"/>
                  </a:moveTo>
                  <a:cubicBezTo>
                    <a:pt x="758" y="327"/>
                    <a:pt x="758" y="327"/>
                    <a:pt x="758" y="327"/>
                  </a:cubicBezTo>
                  <a:cubicBezTo>
                    <a:pt x="753" y="305"/>
                    <a:pt x="745" y="283"/>
                    <a:pt x="736" y="261"/>
                  </a:cubicBezTo>
                  <a:cubicBezTo>
                    <a:pt x="727" y="239"/>
                    <a:pt x="714" y="217"/>
                    <a:pt x="701" y="196"/>
                  </a:cubicBezTo>
                  <a:cubicBezTo>
                    <a:pt x="714" y="130"/>
                    <a:pt x="714" y="130"/>
                    <a:pt x="714" y="130"/>
                  </a:cubicBezTo>
                  <a:cubicBezTo>
                    <a:pt x="676" y="87"/>
                    <a:pt x="627" y="51"/>
                    <a:pt x="575" y="28"/>
                  </a:cubicBezTo>
                  <a:cubicBezTo>
                    <a:pt x="515" y="62"/>
                    <a:pt x="515" y="62"/>
                    <a:pt x="515" y="62"/>
                  </a:cubicBezTo>
                  <a:cubicBezTo>
                    <a:pt x="472" y="48"/>
                    <a:pt x="429" y="43"/>
                    <a:pt x="384" y="47"/>
                  </a:cubicBezTo>
                  <a:cubicBezTo>
                    <a:pt x="333" y="0"/>
                    <a:pt x="333" y="0"/>
                    <a:pt x="333" y="0"/>
                  </a:cubicBezTo>
                  <a:cubicBezTo>
                    <a:pt x="305" y="6"/>
                    <a:pt x="277" y="13"/>
                    <a:pt x="249" y="26"/>
                  </a:cubicBezTo>
                  <a:cubicBezTo>
                    <a:pt x="222" y="38"/>
                    <a:pt x="195" y="53"/>
                    <a:pt x="173" y="69"/>
                  </a:cubicBezTo>
                  <a:cubicBezTo>
                    <a:pt x="173" y="140"/>
                    <a:pt x="173" y="140"/>
                    <a:pt x="173" y="140"/>
                  </a:cubicBezTo>
                  <a:cubicBezTo>
                    <a:pt x="139" y="171"/>
                    <a:pt x="111" y="206"/>
                    <a:pt x="92" y="246"/>
                  </a:cubicBezTo>
                  <a:cubicBezTo>
                    <a:pt x="27" y="267"/>
                    <a:pt x="27" y="267"/>
                    <a:pt x="27" y="267"/>
                  </a:cubicBezTo>
                  <a:cubicBezTo>
                    <a:pt x="7" y="321"/>
                    <a:pt x="0" y="380"/>
                    <a:pt x="4" y="441"/>
                  </a:cubicBezTo>
                  <a:cubicBezTo>
                    <a:pt x="62" y="475"/>
                    <a:pt x="62" y="475"/>
                    <a:pt x="62" y="475"/>
                  </a:cubicBezTo>
                  <a:cubicBezTo>
                    <a:pt x="67" y="498"/>
                    <a:pt x="74" y="523"/>
                    <a:pt x="85" y="546"/>
                  </a:cubicBezTo>
                  <a:cubicBezTo>
                    <a:pt x="95" y="567"/>
                    <a:pt x="105" y="588"/>
                    <a:pt x="118" y="607"/>
                  </a:cubicBezTo>
                  <a:cubicBezTo>
                    <a:pt x="102" y="673"/>
                    <a:pt x="102" y="673"/>
                    <a:pt x="102" y="673"/>
                  </a:cubicBezTo>
                  <a:cubicBezTo>
                    <a:pt x="140" y="718"/>
                    <a:pt x="186" y="752"/>
                    <a:pt x="237" y="777"/>
                  </a:cubicBezTo>
                  <a:cubicBezTo>
                    <a:pt x="295" y="743"/>
                    <a:pt x="295" y="743"/>
                    <a:pt x="295" y="743"/>
                  </a:cubicBezTo>
                  <a:cubicBezTo>
                    <a:pt x="342" y="760"/>
                    <a:pt x="391" y="766"/>
                    <a:pt x="442" y="762"/>
                  </a:cubicBezTo>
                  <a:cubicBezTo>
                    <a:pt x="493" y="808"/>
                    <a:pt x="493" y="808"/>
                    <a:pt x="493" y="808"/>
                  </a:cubicBezTo>
                  <a:cubicBezTo>
                    <a:pt x="518" y="802"/>
                    <a:pt x="546" y="794"/>
                    <a:pt x="572" y="783"/>
                  </a:cubicBezTo>
                  <a:cubicBezTo>
                    <a:pt x="598" y="771"/>
                    <a:pt x="622" y="757"/>
                    <a:pt x="646" y="741"/>
                  </a:cubicBezTo>
                  <a:cubicBezTo>
                    <a:pt x="646" y="673"/>
                    <a:pt x="646" y="673"/>
                    <a:pt x="646" y="673"/>
                  </a:cubicBezTo>
                  <a:cubicBezTo>
                    <a:pt x="683" y="639"/>
                    <a:pt x="713" y="597"/>
                    <a:pt x="734" y="552"/>
                  </a:cubicBezTo>
                  <a:cubicBezTo>
                    <a:pt x="797" y="532"/>
                    <a:pt x="797" y="532"/>
                    <a:pt x="797" y="532"/>
                  </a:cubicBezTo>
                  <a:cubicBezTo>
                    <a:pt x="816" y="479"/>
                    <a:pt x="822" y="420"/>
                    <a:pt x="816" y="362"/>
                  </a:cubicBezTo>
                  <a:close/>
                  <a:moveTo>
                    <a:pt x="482" y="569"/>
                  </a:moveTo>
                  <a:cubicBezTo>
                    <a:pt x="391" y="610"/>
                    <a:pt x="286" y="566"/>
                    <a:pt x="247" y="475"/>
                  </a:cubicBezTo>
                  <a:cubicBezTo>
                    <a:pt x="208" y="383"/>
                    <a:pt x="249" y="278"/>
                    <a:pt x="339" y="239"/>
                  </a:cubicBezTo>
                  <a:cubicBezTo>
                    <a:pt x="430" y="199"/>
                    <a:pt x="536" y="242"/>
                    <a:pt x="573" y="333"/>
                  </a:cubicBezTo>
                  <a:cubicBezTo>
                    <a:pt x="613" y="424"/>
                    <a:pt x="572" y="531"/>
                    <a:pt x="482" y="569"/>
                  </a:cubicBezTo>
                  <a:close/>
                </a:path>
              </a:pathLst>
            </a:custGeom>
            <a:solidFill>
              <a:srgbClr val="1F49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296" tIns="41148" rIns="82296" bIns="41148" numCol="1" anchor="t" anchorCtr="0" compatLnSpc="1">
              <a:prstTxWarp prst="textNoShape">
                <a:avLst/>
              </a:prstTxWarp>
            </a:bodyPr>
            <a:lstStyle/>
            <a:p>
              <a:pPr defTabSz="761970">
                <a:defRPr/>
              </a:pPr>
              <a:endParaRPr lang="en-US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0" name="Freeform 6"/>
            <p:cNvSpPr>
              <a:spLocks noEditPoints="1"/>
            </p:cNvSpPr>
            <p:nvPr/>
          </p:nvSpPr>
          <p:spPr bwMode="auto">
            <a:xfrm>
              <a:off x="1864" y="936"/>
              <a:ext cx="2551" cy="2527"/>
            </a:xfrm>
            <a:custGeom>
              <a:avLst/>
              <a:gdLst>
                <a:gd name="T0" fmla="*/ 638 w 1362"/>
                <a:gd name="T1" fmla="*/ 1242 h 1348"/>
                <a:gd name="T2" fmla="*/ 448 w 1362"/>
                <a:gd name="T3" fmla="*/ 1319 h 1348"/>
                <a:gd name="T4" fmla="*/ 352 w 1362"/>
                <a:gd name="T5" fmla="*/ 1146 h 1348"/>
                <a:gd name="T6" fmla="*/ 141 w 1362"/>
                <a:gd name="T7" fmla="*/ 1095 h 1348"/>
                <a:gd name="T8" fmla="*/ 46 w 1362"/>
                <a:gd name="T9" fmla="*/ 928 h 1348"/>
                <a:gd name="T10" fmla="*/ 0 w 1362"/>
                <a:gd name="T11" fmla="*/ 664 h 1348"/>
                <a:gd name="T12" fmla="*/ 32 w 1362"/>
                <a:gd name="T13" fmla="*/ 474 h 1348"/>
                <a:gd name="T14" fmla="*/ 212 w 1362"/>
                <a:gd name="T15" fmla="*/ 351 h 1348"/>
                <a:gd name="T16" fmla="*/ 244 w 1362"/>
                <a:gd name="T17" fmla="*/ 159 h 1348"/>
                <a:gd name="T18" fmla="*/ 451 w 1362"/>
                <a:gd name="T19" fmla="*/ 167 h 1348"/>
                <a:gd name="T20" fmla="*/ 592 w 1362"/>
                <a:gd name="T21" fmla="*/ 5 h 1348"/>
                <a:gd name="T22" fmla="*/ 784 w 1362"/>
                <a:gd name="T23" fmla="*/ 6 h 1348"/>
                <a:gd name="T24" fmla="*/ 1036 w 1362"/>
                <a:gd name="T25" fmla="*/ 98 h 1348"/>
                <a:gd name="T26" fmla="*/ 1184 w 1362"/>
                <a:gd name="T27" fmla="*/ 220 h 1348"/>
                <a:gd name="T28" fmla="*/ 1206 w 1362"/>
                <a:gd name="T29" fmla="*/ 440 h 1348"/>
                <a:gd name="T30" fmla="*/ 1351 w 1362"/>
                <a:gd name="T31" fmla="*/ 562 h 1348"/>
                <a:gd name="T32" fmla="*/ 1262 w 1362"/>
                <a:gd name="T33" fmla="*/ 724 h 1348"/>
                <a:gd name="T34" fmla="*/ 1310 w 1362"/>
                <a:gd name="T35" fmla="*/ 940 h 1348"/>
                <a:gd name="T36" fmla="*/ 1213 w 1362"/>
                <a:gd name="T37" fmla="*/ 1106 h 1348"/>
                <a:gd name="T38" fmla="*/ 1008 w 1362"/>
                <a:gd name="T39" fmla="*/ 1278 h 1348"/>
                <a:gd name="T40" fmla="*/ 828 w 1362"/>
                <a:gd name="T41" fmla="*/ 1345 h 1348"/>
                <a:gd name="T42" fmla="*/ 830 w 1362"/>
                <a:gd name="T43" fmla="*/ 1299 h 1348"/>
                <a:gd name="T44" fmla="*/ 965 w 1362"/>
                <a:gd name="T45" fmla="*/ 1122 h 1348"/>
                <a:gd name="T46" fmla="*/ 1072 w 1362"/>
                <a:gd name="T47" fmla="*/ 1038 h 1348"/>
                <a:gd name="T48" fmla="*/ 1264 w 1362"/>
                <a:gd name="T49" fmla="*/ 935 h 1348"/>
                <a:gd name="T50" fmla="*/ 1219 w 1362"/>
                <a:gd name="T51" fmla="*/ 710 h 1348"/>
                <a:gd name="T52" fmla="*/ 1308 w 1362"/>
                <a:gd name="T53" fmla="*/ 570 h 1348"/>
                <a:gd name="T54" fmla="*/ 1171 w 1362"/>
                <a:gd name="T55" fmla="*/ 469 h 1348"/>
                <a:gd name="T56" fmla="*/ 1142 w 1362"/>
                <a:gd name="T57" fmla="*/ 241 h 1348"/>
                <a:gd name="T58" fmla="*/ 915 w 1362"/>
                <a:gd name="T59" fmla="*/ 217 h 1348"/>
                <a:gd name="T60" fmla="*/ 802 w 1362"/>
                <a:gd name="T61" fmla="*/ 179 h 1348"/>
                <a:gd name="T62" fmla="*/ 610 w 1362"/>
                <a:gd name="T63" fmla="*/ 47 h 1348"/>
                <a:gd name="T64" fmla="*/ 458 w 1362"/>
                <a:gd name="T65" fmla="*/ 212 h 1348"/>
                <a:gd name="T66" fmla="*/ 272 w 1362"/>
                <a:gd name="T67" fmla="*/ 192 h 1348"/>
                <a:gd name="T68" fmla="*/ 254 w 1362"/>
                <a:gd name="T69" fmla="*/ 369 h 1348"/>
                <a:gd name="T70" fmla="*/ 70 w 1362"/>
                <a:gd name="T71" fmla="*/ 500 h 1348"/>
                <a:gd name="T72" fmla="*/ 143 w 1362"/>
                <a:gd name="T73" fmla="*/ 698 h 1348"/>
                <a:gd name="T74" fmla="*/ 170 w 1362"/>
                <a:gd name="T75" fmla="*/ 846 h 1348"/>
                <a:gd name="T76" fmla="*/ 168 w 1362"/>
                <a:gd name="T77" fmla="*/ 1058 h 1348"/>
                <a:gd name="T78" fmla="*/ 386 w 1362"/>
                <a:gd name="T79" fmla="*/ 1115 h 1348"/>
                <a:gd name="T80" fmla="*/ 463 w 1362"/>
                <a:gd name="T81" fmla="*/ 1278 h 1348"/>
                <a:gd name="T82" fmla="*/ 630 w 1362"/>
                <a:gd name="T83" fmla="*/ 1198 h 1348"/>
                <a:gd name="T84" fmla="*/ 742 w 1362"/>
                <a:gd name="T85" fmla="*/ 1197 h 1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62" h="1348">
                  <a:moveTo>
                    <a:pt x="815" y="1348"/>
                  </a:moveTo>
                  <a:cubicBezTo>
                    <a:pt x="724" y="1242"/>
                    <a:pt x="724" y="1242"/>
                    <a:pt x="724" y="1242"/>
                  </a:cubicBezTo>
                  <a:cubicBezTo>
                    <a:pt x="695" y="1244"/>
                    <a:pt x="666" y="1244"/>
                    <a:pt x="638" y="1242"/>
                  </a:cubicBezTo>
                  <a:cubicBezTo>
                    <a:pt x="547" y="1348"/>
                    <a:pt x="547" y="1348"/>
                    <a:pt x="547" y="1348"/>
                  </a:cubicBezTo>
                  <a:cubicBezTo>
                    <a:pt x="534" y="1345"/>
                    <a:pt x="534" y="1345"/>
                    <a:pt x="534" y="1345"/>
                  </a:cubicBezTo>
                  <a:cubicBezTo>
                    <a:pt x="494" y="1336"/>
                    <a:pt x="450" y="1320"/>
                    <a:pt x="448" y="1319"/>
                  </a:cubicBezTo>
                  <a:cubicBezTo>
                    <a:pt x="446" y="1318"/>
                    <a:pt x="402" y="1302"/>
                    <a:pt x="366" y="1284"/>
                  </a:cubicBezTo>
                  <a:cubicBezTo>
                    <a:pt x="354" y="1278"/>
                    <a:pt x="354" y="1278"/>
                    <a:pt x="354" y="1278"/>
                  </a:cubicBezTo>
                  <a:cubicBezTo>
                    <a:pt x="352" y="1146"/>
                    <a:pt x="352" y="1146"/>
                    <a:pt x="352" y="1146"/>
                  </a:cubicBezTo>
                  <a:cubicBezTo>
                    <a:pt x="325" y="1128"/>
                    <a:pt x="299" y="1107"/>
                    <a:pt x="275" y="1085"/>
                  </a:cubicBezTo>
                  <a:cubicBezTo>
                    <a:pt x="149" y="1105"/>
                    <a:pt x="149" y="1105"/>
                    <a:pt x="149" y="1105"/>
                  </a:cubicBezTo>
                  <a:cubicBezTo>
                    <a:pt x="141" y="1095"/>
                    <a:pt x="141" y="1095"/>
                    <a:pt x="141" y="1095"/>
                  </a:cubicBezTo>
                  <a:cubicBezTo>
                    <a:pt x="116" y="1062"/>
                    <a:pt x="93" y="1022"/>
                    <a:pt x="92" y="1020"/>
                  </a:cubicBezTo>
                  <a:cubicBezTo>
                    <a:pt x="91" y="1018"/>
                    <a:pt x="67" y="977"/>
                    <a:pt x="51" y="940"/>
                  </a:cubicBezTo>
                  <a:cubicBezTo>
                    <a:pt x="46" y="928"/>
                    <a:pt x="46" y="928"/>
                    <a:pt x="46" y="928"/>
                  </a:cubicBezTo>
                  <a:cubicBezTo>
                    <a:pt x="121" y="836"/>
                    <a:pt x="121" y="836"/>
                    <a:pt x="121" y="836"/>
                  </a:cubicBezTo>
                  <a:cubicBezTo>
                    <a:pt x="110" y="799"/>
                    <a:pt x="104" y="762"/>
                    <a:pt x="101" y="724"/>
                  </a:cubicBezTo>
                  <a:cubicBezTo>
                    <a:pt x="0" y="664"/>
                    <a:pt x="0" y="664"/>
                    <a:pt x="0" y="664"/>
                  </a:cubicBezTo>
                  <a:cubicBezTo>
                    <a:pt x="1" y="650"/>
                    <a:pt x="1" y="650"/>
                    <a:pt x="1" y="650"/>
                  </a:cubicBezTo>
                  <a:cubicBezTo>
                    <a:pt x="3" y="610"/>
                    <a:pt x="11" y="564"/>
                    <a:pt x="11" y="562"/>
                  </a:cubicBezTo>
                  <a:cubicBezTo>
                    <a:pt x="12" y="560"/>
                    <a:pt x="20" y="513"/>
                    <a:pt x="32" y="474"/>
                  </a:cubicBezTo>
                  <a:cubicBezTo>
                    <a:pt x="35" y="462"/>
                    <a:pt x="35" y="462"/>
                    <a:pt x="35" y="462"/>
                  </a:cubicBezTo>
                  <a:cubicBezTo>
                    <a:pt x="157" y="439"/>
                    <a:pt x="157" y="439"/>
                    <a:pt x="157" y="439"/>
                  </a:cubicBezTo>
                  <a:cubicBezTo>
                    <a:pt x="173" y="408"/>
                    <a:pt x="191" y="378"/>
                    <a:pt x="212" y="351"/>
                  </a:cubicBezTo>
                  <a:cubicBezTo>
                    <a:pt x="170" y="230"/>
                    <a:pt x="170" y="230"/>
                    <a:pt x="170" y="230"/>
                  </a:cubicBezTo>
                  <a:cubicBezTo>
                    <a:pt x="179" y="220"/>
                    <a:pt x="179" y="220"/>
                    <a:pt x="179" y="220"/>
                  </a:cubicBezTo>
                  <a:cubicBezTo>
                    <a:pt x="206" y="190"/>
                    <a:pt x="243" y="160"/>
                    <a:pt x="244" y="159"/>
                  </a:cubicBezTo>
                  <a:cubicBezTo>
                    <a:pt x="246" y="157"/>
                    <a:pt x="282" y="127"/>
                    <a:pt x="316" y="105"/>
                  </a:cubicBezTo>
                  <a:cubicBezTo>
                    <a:pt x="327" y="98"/>
                    <a:pt x="327" y="98"/>
                    <a:pt x="327" y="98"/>
                  </a:cubicBezTo>
                  <a:cubicBezTo>
                    <a:pt x="451" y="167"/>
                    <a:pt x="451" y="167"/>
                    <a:pt x="451" y="167"/>
                  </a:cubicBezTo>
                  <a:cubicBezTo>
                    <a:pt x="476" y="157"/>
                    <a:pt x="502" y="148"/>
                    <a:pt x="528" y="142"/>
                  </a:cubicBezTo>
                  <a:cubicBezTo>
                    <a:pt x="579" y="6"/>
                    <a:pt x="579" y="6"/>
                    <a:pt x="579" y="6"/>
                  </a:cubicBezTo>
                  <a:cubicBezTo>
                    <a:pt x="592" y="5"/>
                    <a:pt x="592" y="5"/>
                    <a:pt x="592" y="5"/>
                  </a:cubicBezTo>
                  <a:cubicBezTo>
                    <a:pt x="632" y="0"/>
                    <a:pt x="679" y="0"/>
                    <a:pt x="681" y="0"/>
                  </a:cubicBezTo>
                  <a:cubicBezTo>
                    <a:pt x="683" y="0"/>
                    <a:pt x="730" y="0"/>
                    <a:pt x="771" y="5"/>
                  </a:cubicBezTo>
                  <a:cubicBezTo>
                    <a:pt x="784" y="6"/>
                    <a:pt x="784" y="6"/>
                    <a:pt x="784" y="6"/>
                  </a:cubicBezTo>
                  <a:cubicBezTo>
                    <a:pt x="835" y="142"/>
                    <a:pt x="835" y="142"/>
                    <a:pt x="835" y="142"/>
                  </a:cubicBezTo>
                  <a:cubicBezTo>
                    <a:pt x="861" y="149"/>
                    <a:pt x="887" y="157"/>
                    <a:pt x="912" y="168"/>
                  </a:cubicBezTo>
                  <a:cubicBezTo>
                    <a:pt x="1036" y="98"/>
                    <a:pt x="1036" y="98"/>
                    <a:pt x="1036" y="98"/>
                  </a:cubicBezTo>
                  <a:cubicBezTo>
                    <a:pt x="1047" y="105"/>
                    <a:pt x="1047" y="105"/>
                    <a:pt x="1047" y="105"/>
                  </a:cubicBezTo>
                  <a:cubicBezTo>
                    <a:pt x="1081" y="128"/>
                    <a:pt x="1117" y="158"/>
                    <a:pt x="1118" y="159"/>
                  </a:cubicBezTo>
                  <a:cubicBezTo>
                    <a:pt x="1120" y="160"/>
                    <a:pt x="1156" y="191"/>
                    <a:pt x="1184" y="220"/>
                  </a:cubicBezTo>
                  <a:cubicBezTo>
                    <a:pt x="1193" y="230"/>
                    <a:pt x="1193" y="230"/>
                    <a:pt x="1193" y="230"/>
                  </a:cubicBezTo>
                  <a:cubicBezTo>
                    <a:pt x="1151" y="351"/>
                    <a:pt x="1151" y="351"/>
                    <a:pt x="1151" y="351"/>
                  </a:cubicBezTo>
                  <a:cubicBezTo>
                    <a:pt x="1172" y="379"/>
                    <a:pt x="1190" y="408"/>
                    <a:pt x="1206" y="440"/>
                  </a:cubicBezTo>
                  <a:cubicBezTo>
                    <a:pt x="1327" y="462"/>
                    <a:pt x="1327" y="462"/>
                    <a:pt x="1327" y="462"/>
                  </a:cubicBezTo>
                  <a:cubicBezTo>
                    <a:pt x="1331" y="475"/>
                    <a:pt x="1331" y="475"/>
                    <a:pt x="1331" y="475"/>
                  </a:cubicBezTo>
                  <a:cubicBezTo>
                    <a:pt x="1342" y="514"/>
                    <a:pt x="1351" y="560"/>
                    <a:pt x="1351" y="562"/>
                  </a:cubicBezTo>
                  <a:cubicBezTo>
                    <a:pt x="1351" y="564"/>
                    <a:pt x="1359" y="611"/>
                    <a:pt x="1362" y="651"/>
                  </a:cubicBezTo>
                  <a:cubicBezTo>
                    <a:pt x="1362" y="664"/>
                    <a:pt x="1362" y="664"/>
                    <a:pt x="1362" y="664"/>
                  </a:cubicBezTo>
                  <a:cubicBezTo>
                    <a:pt x="1262" y="724"/>
                    <a:pt x="1262" y="724"/>
                    <a:pt x="1262" y="724"/>
                  </a:cubicBezTo>
                  <a:cubicBezTo>
                    <a:pt x="1259" y="762"/>
                    <a:pt x="1252" y="800"/>
                    <a:pt x="1241" y="837"/>
                  </a:cubicBezTo>
                  <a:cubicBezTo>
                    <a:pt x="1316" y="928"/>
                    <a:pt x="1316" y="928"/>
                    <a:pt x="1316" y="928"/>
                  </a:cubicBezTo>
                  <a:cubicBezTo>
                    <a:pt x="1310" y="940"/>
                    <a:pt x="1310" y="940"/>
                    <a:pt x="1310" y="940"/>
                  </a:cubicBezTo>
                  <a:cubicBezTo>
                    <a:pt x="1294" y="978"/>
                    <a:pt x="1271" y="1019"/>
                    <a:pt x="1270" y="1020"/>
                  </a:cubicBezTo>
                  <a:cubicBezTo>
                    <a:pt x="1269" y="1022"/>
                    <a:pt x="1245" y="1063"/>
                    <a:pt x="1221" y="1095"/>
                  </a:cubicBezTo>
                  <a:cubicBezTo>
                    <a:pt x="1213" y="1106"/>
                    <a:pt x="1213" y="1106"/>
                    <a:pt x="1213" y="1106"/>
                  </a:cubicBezTo>
                  <a:cubicBezTo>
                    <a:pt x="1087" y="1085"/>
                    <a:pt x="1087" y="1085"/>
                    <a:pt x="1087" y="1085"/>
                  </a:cubicBezTo>
                  <a:cubicBezTo>
                    <a:pt x="1063" y="1108"/>
                    <a:pt x="1037" y="1128"/>
                    <a:pt x="1009" y="1147"/>
                  </a:cubicBezTo>
                  <a:cubicBezTo>
                    <a:pt x="1008" y="1278"/>
                    <a:pt x="1008" y="1278"/>
                    <a:pt x="1008" y="1278"/>
                  </a:cubicBezTo>
                  <a:cubicBezTo>
                    <a:pt x="996" y="1284"/>
                    <a:pt x="996" y="1284"/>
                    <a:pt x="996" y="1284"/>
                  </a:cubicBezTo>
                  <a:cubicBezTo>
                    <a:pt x="959" y="1302"/>
                    <a:pt x="915" y="1319"/>
                    <a:pt x="913" y="1319"/>
                  </a:cubicBezTo>
                  <a:cubicBezTo>
                    <a:pt x="911" y="1320"/>
                    <a:pt x="867" y="1336"/>
                    <a:pt x="828" y="1345"/>
                  </a:cubicBezTo>
                  <a:lnTo>
                    <a:pt x="815" y="1348"/>
                  </a:lnTo>
                  <a:close/>
                  <a:moveTo>
                    <a:pt x="742" y="1197"/>
                  </a:moveTo>
                  <a:cubicBezTo>
                    <a:pt x="830" y="1299"/>
                    <a:pt x="830" y="1299"/>
                    <a:pt x="830" y="1299"/>
                  </a:cubicBezTo>
                  <a:cubicBezTo>
                    <a:pt x="864" y="1290"/>
                    <a:pt x="898" y="1278"/>
                    <a:pt x="898" y="1278"/>
                  </a:cubicBezTo>
                  <a:cubicBezTo>
                    <a:pt x="899" y="1278"/>
                    <a:pt x="933" y="1265"/>
                    <a:pt x="964" y="1251"/>
                  </a:cubicBezTo>
                  <a:cubicBezTo>
                    <a:pt x="965" y="1122"/>
                    <a:pt x="965" y="1122"/>
                    <a:pt x="965" y="1122"/>
                  </a:cubicBezTo>
                  <a:cubicBezTo>
                    <a:pt x="976" y="1116"/>
                    <a:pt x="976" y="1116"/>
                    <a:pt x="976" y="1116"/>
                  </a:cubicBezTo>
                  <a:cubicBezTo>
                    <a:pt x="1008" y="1096"/>
                    <a:pt x="1037" y="1072"/>
                    <a:pt x="1064" y="1046"/>
                  </a:cubicBezTo>
                  <a:cubicBezTo>
                    <a:pt x="1072" y="1038"/>
                    <a:pt x="1072" y="1038"/>
                    <a:pt x="1072" y="1038"/>
                  </a:cubicBezTo>
                  <a:cubicBezTo>
                    <a:pt x="1193" y="1058"/>
                    <a:pt x="1193" y="1058"/>
                    <a:pt x="1193" y="1058"/>
                  </a:cubicBezTo>
                  <a:cubicBezTo>
                    <a:pt x="1213" y="1030"/>
                    <a:pt x="1232" y="999"/>
                    <a:pt x="1232" y="998"/>
                  </a:cubicBezTo>
                  <a:cubicBezTo>
                    <a:pt x="1232" y="998"/>
                    <a:pt x="1250" y="967"/>
                    <a:pt x="1264" y="935"/>
                  </a:cubicBezTo>
                  <a:cubicBezTo>
                    <a:pt x="1192" y="847"/>
                    <a:pt x="1192" y="847"/>
                    <a:pt x="1192" y="847"/>
                  </a:cubicBezTo>
                  <a:cubicBezTo>
                    <a:pt x="1196" y="835"/>
                    <a:pt x="1196" y="835"/>
                    <a:pt x="1196" y="835"/>
                  </a:cubicBezTo>
                  <a:cubicBezTo>
                    <a:pt x="1209" y="795"/>
                    <a:pt x="1217" y="753"/>
                    <a:pt x="1219" y="710"/>
                  </a:cubicBezTo>
                  <a:cubicBezTo>
                    <a:pt x="1219" y="698"/>
                    <a:pt x="1219" y="698"/>
                    <a:pt x="1219" y="698"/>
                  </a:cubicBezTo>
                  <a:cubicBezTo>
                    <a:pt x="1317" y="640"/>
                    <a:pt x="1317" y="640"/>
                    <a:pt x="1317" y="640"/>
                  </a:cubicBezTo>
                  <a:cubicBezTo>
                    <a:pt x="1314" y="606"/>
                    <a:pt x="1308" y="570"/>
                    <a:pt x="1308" y="570"/>
                  </a:cubicBezTo>
                  <a:cubicBezTo>
                    <a:pt x="1307" y="569"/>
                    <a:pt x="1301" y="534"/>
                    <a:pt x="1292" y="501"/>
                  </a:cubicBezTo>
                  <a:cubicBezTo>
                    <a:pt x="1176" y="479"/>
                    <a:pt x="1176" y="479"/>
                    <a:pt x="1176" y="479"/>
                  </a:cubicBezTo>
                  <a:cubicBezTo>
                    <a:pt x="1171" y="469"/>
                    <a:pt x="1171" y="469"/>
                    <a:pt x="1171" y="469"/>
                  </a:cubicBezTo>
                  <a:cubicBezTo>
                    <a:pt x="1154" y="433"/>
                    <a:pt x="1133" y="400"/>
                    <a:pt x="1109" y="369"/>
                  </a:cubicBezTo>
                  <a:cubicBezTo>
                    <a:pt x="1101" y="359"/>
                    <a:pt x="1101" y="359"/>
                    <a:pt x="1101" y="359"/>
                  </a:cubicBezTo>
                  <a:cubicBezTo>
                    <a:pt x="1142" y="241"/>
                    <a:pt x="1142" y="241"/>
                    <a:pt x="1142" y="241"/>
                  </a:cubicBezTo>
                  <a:cubicBezTo>
                    <a:pt x="1118" y="216"/>
                    <a:pt x="1090" y="193"/>
                    <a:pt x="1090" y="193"/>
                  </a:cubicBezTo>
                  <a:cubicBezTo>
                    <a:pt x="1090" y="193"/>
                    <a:pt x="1062" y="169"/>
                    <a:pt x="1034" y="150"/>
                  </a:cubicBezTo>
                  <a:cubicBezTo>
                    <a:pt x="915" y="217"/>
                    <a:pt x="915" y="217"/>
                    <a:pt x="915" y="217"/>
                  </a:cubicBezTo>
                  <a:cubicBezTo>
                    <a:pt x="905" y="212"/>
                    <a:pt x="905" y="212"/>
                    <a:pt x="905" y="212"/>
                  </a:cubicBezTo>
                  <a:cubicBezTo>
                    <a:pt x="875" y="199"/>
                    <a:pt x="845" y="189"/>
                    <a:pt x="813" y="182"/>
                  </a:cubicBezTo>
                  <a:cubicBezTo>
                    <a:pt x="802" y="179"/>
                    <a:pt x="802" y="179"/>
                    <a:pt x="802" y="179"/>
                  </a:cubicBezTo>
                  <a:cubicBezTo>
                    <a:pt x="752" y="47"/>
                    <a:pt x="752" y="47"/>
                    <a:pt x="752" y="47"/>
                  </a:cubicBezTo>
                  <a:cubicBezTo>
                    <a:pt x="718" y="44"/>
                    <a:pt x="682" y="44"/>
                    <a:pt x="681" y="44"/>
                  </a:cubicBezTo>
                  <a:cubicBezTo>
                    <a:pt x="681" y="44"/>
                    <a:pt x="645" y="44"/>
                    <a:pt x="610" y="47"/>
                  </a:cubicBezTo>
                  <a:cubicBezTo>
                    <a:pt x="561" y="179"/>
                    <a:pt x="561" y="179"/>
                    <a:pt x="561" y="179"/>
                  </a:cubicBezTo>
                  <a:cubicBezTo>
                    <a:pt x="549" y="182"/>
                    <a:pt x="549" y="182"/>
                    <a:pt x="549" y="182"/>
                  </a:cubicBezTo>
                  <a:cubicBezTo>
                    <a:pt x="518" y="189"/>
                    <a:pt x="488" y="199"/>
                    <a:pt x="458" y="212"/>
                  </a:cubicBezTo>
                  <a:cubicBezTo>
                    <a:pt x="448" y="217"/>
                    <a:pt x="448" y="217"/>
                    <a:pt x="448" y="217"/>
                  </a:cubicBezTo>
                  <a:cubicBezTo>
                    <a:pt x="329" y="149"/>
                    <a:pt x="329" y="149"/>
                    <a:pt x="329" y="149"/>
                  </a:cubicBezTo>
                  <a:cubicBezTo>
                    <a:pt x="300" y="169"/>
                    <a:pt x="273" y="192"/>
                    <a:pt x="272" y="192"/>
                  </a:cubicBezTo>
                  <a:cubicBezTo>
                    <a:pt x="272" y="193"/>
                    <a:pt x="244" y="216"/>
                    <a:pt x="220" y="241"/>
                  </a:cubicBezTo>
                  <a:cubicBezTo>
                    <a:pt x="262" y="359"/>
                    <a:pt x="262" y="359"/>
                    <a:pt x="262" y="359"/>
                  </a:cubicBezTo>
                  <a:cubicBezTo>
                    <a:pt x="254" y="369"/>
                    <a:pt x="254" y="369"/>
                    <a:pt x="254" y="369"/>
                  </a:cubicBezTo>
                  <a:cubicBezTo>
                    <a:pt x="229" y="399"/>
                    <a:pt x="209" y="433"/>
                    <a:pt x="192" y="468"/>
                  </a:cubicBezTo>
                  <a:cubicBezTo>
                    <a:pt x="187" y="478"/>
                    <a:pt x="187" y="478"/>
                    <a:pt x="187" y="478"/>
                  </a:cubicBezTo>
                  <a:cubicBezTo>
                    <a:pt x="70" y="500"/>
                    <a:pt x="70" y="500"/>
                    <a:pt x="70" y="500"/>
                  </a:cubicBezTo>
                  <a:cubicBezTo>
                    <a:pt x="61" y="533"/>
                    <a:pt x="55" y="569"/>
                    <a:pt x="55" y="569"/>
                  </a:cubicBezTo>
                  <a:cubicBezTo>
                    <a:pt x="55" y="570"/>
                    <a:pt x="48" y="605"/>
                    <a:pt x="45" y="640"/>
                  </a:cubicBezTo>
                  <a:cubicBezTo>
                    <a:pt x="143" y="698"/>
                    <a:pt x="143" y="698"/>
                    <a:pt x="143" y="698"/>
                  </a:cubicBezTo>
                  <a:cubicBezTo>
                    <a:pt x="144" y="709"/>
                    <a:pt x="144" y="709"/>
                    <a:pt x="144" y="709"/>
                  </a:cubicBezTo>
                  <a:cubicBezTo>
                    <a:pt x="146" y="752"/>
                    <a:pt x="154" y="794"/>
                    <a:pt x="167" y="834"/>
                  </a:cubicBezTo>
                  <a:cubicBezTo>
                    <a:pt x="170" y="846"/>
                    <a:pt x="170" y="846"/>
                    <a:pt x="170" y="846"/>
                  </a:cubicBezTo>
                  <a:cubicBezTo>
                    <a:pt x="97" y="935"/>
                    <a:pt x="97" y="935"/>
                    <a:pt x="97" y="935"/>
                  </a:cubicBezTo>
                  <a:cubicBezTo>
                    <a:pt x="112" y="966"/>
                    <a:pt x="130" y="997"/>
                    <a:pt x="130" y="998"/>
                  </a:cubicBezTo>
                  <a:cubicBezTo>
                    <a:pt x="130" y="998"/>
                    <a:pt x="148" y="1029"/>
                    <a:pt x="168" y="1058"/>
                  </a:cubicBezTo>
                  <a:cubicBezTo>
                    <a:pt x="290" y="1038"/>
                    <a:pt x="290" y="1038"/>
                    <a:pt x="290" y="1038"/>
                  </a:cubicBezTo>
                  <a:cubicBezTo>
                    <a:pt x="298" y="1045"/>
                    <a:pt x="298" y="1045"/>
                    <a:pt x="298" y="1045"/>
                  </a:cubicBezTo>
                  <a:cubicBezTo>
                    <a:pt x="324" y="1072"/>
                    <a:pt x="354" y="1095"/>
                    <a:pt x="386" y="1115"/>
                  </a:cubicBezTo>
                  <a:cubicBezTo>
                    <a:pt x="396" y="1121"/>
                    <a:pt x="396" y="1121"/>
                    <a:pt x="396" y="1121"/>
                  </a:cubicBezTo>
                  <a:cubicBezTo>
                    <a:pt x="397" y="1250"/>
                    <a:pt x="397" y="1250"/>
                    <a:pt x="397" y="1250"/>
                  </a:cubicBezTo>
                  <a:cubicBezTo>
                    <a:pt x="429" y="1265"/>
                    <a:pt x="463" y="1278"/>
                    <a:pt x="463" y="1278"/>
                  </a:cubicBezTo>
                  <a:cubicBezTo>
                    <a:pt x="463" y="1278"/>
                    <a:pt x="498" y="1290"/>
                    <a:pt x="531" y="1299"/>
                  </a:cubicBezTo>
                  <a:cubicBezTo>
                    <a:pt x="619" y="1197"/>
                    <a:pt x="619" y="1197"/>
                    <a:pt x="619" y="1197"/>
                  </a:cubicBezTo>
                  <a:cubicBezTo>
                    <a:pt x="630" y="1198"/>
                    <a:pt x="630" y="1198"/>
                    <a:pt x="630" y="1198"/>
                  </a:cubicBezTo>
                  <a:cubicBezTo>
                    <a:pt x="647" y="1199"/>
                    <a:pt x="665" y="1200"/>
                    <a:pt x="681" y="1200"/>
                  </a:cubicBezTo>
                  <a:cubicBezTo>
                    <a:pt x="698" y="1200"/>
                    <a:pt x="714" y="1199"/>
                    <a:pt x="731" y="1198"/>
                  </a:cubicBezTo>
                  <a:lnTo>
                    <a:pt x="742" y="1197"/>
                  </a:lnTo>
                  <a:close/>
                </a:path>
              </a:pathLst>
            </a:custGeom>
            <a:solidFill>
              <a:srgbClr val="4F81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296" tIns="41148" rIns="82296" bIns="41148" numCol="1" anchor="t" anchorCtr="0" compatLnSpc="1">
              <a:prstTxWarp prst="textNoShape">
                <a:avLst/>
              </a:prstTxWarp>
            </a:bodyPr>
            <a:lstStyle/>
            <a:p>
              <a:pPr defTabSz="761970">
                <a:defRPr/>
              </a:pPr>
              <a:endParaRPr lang="en-US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1" name="Oval 7"/>
            <p:cNvSpPr>
              <a:spLocks noChangeArrowheads="1"/>
            </p:cNvSpPr>
            <p:nvPr/>
          </p:nvSpPr>
          <p:spPr bwMode="auto">
            <a:xfrm>
              <a:off x="2789" y="1864"/>
              <a:ext cx="703" cy="703"/>
            </a:xfrm>
            <a:prstGeom prst="ellipse">
              <a:avLst/>
            </a:prstGeom>
            <a:solidFill>
              <a:srgbClr val="1F49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296" tIns="41148" rIns="82296" bIns="41148" numCol="1" anchor="t" anchorCtr="0" compatLnSpc="1">
              <a:prstTxWarp prst="textNoShape">
                <a:avLst/>
              </a:prstTxWarp>
            </a:bodyPr>
            <a:lstStyle/>
            <a:p>
              <a:pPr defTabSz="761970">
                <a:defRPr/>
              </a:pPr>
              <a:endParaRPr lang="en-US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2" name="Freeform 8"/>
            <p:cNvSpPr>
              <a:spLocks noEditPoints="1"/>
            </p:cNvSpPr>
            <p:nvPr/>
          </p:nvSpPr>
          <p:spPr bwMode="auto">
            <a:xfrm>
              <a:off x="2343" y="1418"/>
              <a:ext cx="1594" cy="1595"/>
            </a:xfrm>
            <a:custGeom>
              <a:avLst/>
              <a:gdLst>
                <a:gd name="T0" fmla="*/ 425 w 851"/>
                <a:gd name="T1" fmla="*/ 851 h 851"/>
                <a:gd name="T2" fmla="*/ 0 w 851"/>
                <a:gd name="T3" fmla="*/ 426 h 851"/>
                <a:gd name="T4" fmla="*/ 425 w 851"/>
                <a:gd name="T5" fmla="*/ 0 h 851"/>
                <a:gd name="T6" fmla="*/ 851 w 851"/>
                <a:gd name="T7" fmla="*/ 426 h 851"/>
                <a:gd name="T8" fmla="*/ 425 w 851"/>
                <a:gd name="T9" fmla="*/ 851 h 851"/>
                <a:gd name="T10" fmla="*/ 425 w 851"/>
                <a:gd name="T11" fmla="*/ 44 h 851"/>
                <a:gd name="T12" fmla="*/ 44 w 851"/>
                <a:gd name="T13" fmla="*/ 426 h 851"/>
                <a:gd name="T14" fmla="*/ 425 w 851"/>
                <a:gd name="T15" fmla="*/ 807 h 851"/>
                <a:gd name="T16" fmla="*/ 807 w 851"/>
                <a:gd name="T17" fmla="*/ 426 h 851"/>
                <a:gd name="T18" fmla="*/ 425 w 851"/>
                <a:gd name="T19" fmla="*/ 44 h 8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1" h="851">
                  <a:moveTo>
                    <a:pt x="425" y="851"/>
                  </a:moveTo>
                  <a:cubicBezTo>
                    <a:pt x="191" y="851"/>
                    <a:pt x="0" y="660"/>
                    <a:pt x="0" y="426"/>
                  </a:cubicBezTo>
                  <a:cubicBezTo>
                    <a:pt x="0" y="191"/>
                    <a:pt x="191" y="0"/>
                    <a:pt x="425" y="0"/>
                  </a:cubicBezTo>
                  <a:cubicBezTo>
                    <a:pt x="660" y="0"/>
                    <a:pt x="851" y="191"/>
                    <a:pt x="851" y="426"/>
                  </a:cubicBezTo>
                  <a:cubicBezTo>
                    <a:pt x="851" y="660"/>
                    <a:pt x="660" y="851"/>
                    <a:pt x="425" y="851"/>
                  </a:cubicBezTo>
                  <a:close/>
                  <a:moveTo>
                    <a:pt x="425" y="44"/>
                  </a:moveTo>
                  <a:cubicBezTo>
                    <a:pt x="215" y="44"/>
                    <a:pt x="44" y="216"/>
                    <a:pt x="44" y="426"/>
                  </a:cubicBezTo>
                  <a:cubicBezTo>
                    <a:pt x="44" y="636"/>
                    <a:pt x="215" y="807"/>
                    <a:pt x="425" y="807"/>
                  </a:cubicBezTo>
                  <a:cubicBezTo>
                    <a:pt x="636" y="807"/>
                    <a:pt x="807" y="636"/>
                    <a:pt x="807" y="426"/>
                  </a:cubicBezTo>
                  <a:cubicBezTo>
                    <a:pt x="807" y="216"/>
                    <a:pt x="636" y="44"/>
                    <a:pt x="425" y="44"/>
                  </a:cubicBezTo>
                  <a:close/>
                </a:path>
              </a:pathLst>
            </a:custGeom>
            <a:solidFill>
              <a:srgbClr val="4F81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296" tIns="41148" rIns="82296" bIns="41148" numCol="1" anchor="t" anchorCtr="0" compatLnSpc="1">
              <a:prstTxWarp prst="textNoShape">
                <a:avLst/>
              </a:prstTxWarp>
            </a:bodyPr>
            <a:lstStyle/>
            <a:p>
              <a:pPr defTabSz="761970">
                <a:defRPr/>
              </a:pPr>
              <a:endParaRPr lang="en-US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93" name="Group 192"/>
          <p:cNvGrpSpPr>
            <a:grpSpLocks noChangeAspect="1"/>
          </p:cNvGrpSpPr>
          <p:nvPr/>
        </p:nvGrpSpPr>
        <p:grpSpPr>
          <a:xfrm>
            <a:off x="4103687" y="4105969"/>
            <a:ext cx="548132" cy="548640"/>
            <a:chOff x="5273799" y="2606040"/>
            <a:chExt cx="1644396" cy="1645920"/>
          </a:xfrm>
        </p:grpSpPr>
        <p:sp>
          <p:nvSpPr>
            <p:cNvPr id="194" name="AutoShape 8">
              <a:extLst>
                <a:ext uri="{FF2B5EF4-FFF2-40B4-BE49-F238E27FC236}">
                  <a16:creationId xmlns="" xmlns:a16="http://schemas.microsoft.com/office/drawing/2014/main" id="{6CBFDBB9-C441-4D83-B46F-EF3E6F33725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799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195" name="Group 194"/>
            <p:cNvGrpSpPr/>
            <p:nvPr/>
          </p:nvGrpSpPr>
          <p:grpSpPr>
            <a:xfrm>
              <a:off x="5497065" y="2719578"/>
              <a:ext cx="1197864" cy="1361694"/>
              <a:chOff x="5497065" y="2719578"/>
              <a:chExt cx="1197864" cy="1361694"/>
            </a:xfrm>
          </p:grpSpPr>
          <p:sp>
            <p:nvSpPr>
              <p:cNvPr id="196" name="Freeform 10">
                <a:extLst>
                  <a:ext uri="{FF2B5EF4-FFF2-40B4-BE49-F238E27FC236}">
                    <a16:creationId xmlns="" xmlns:a16="http://schemas.microsoft.com/office/drawing/2014/main" id="{690C1839-07CD-4A5B-A99B-E8EDAA80698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97065" y="3014091"/>
                <a:ext cx="1197864" cy="1067181"/>
              </a:xfrm>
              <a:custGeom>
                <a:avLst/>
                <a:gdLst>
                  <a:gd name="T0" fmla="*/ 1656 w 1678"/>
                  <a:gd name="T1" fmla="*/ 1332 h 1494"/>
                  <a:gd name="T2" fmla="*/ 1568 w 1678"/>
                  <a:gd name="T3" fmla="*/ 1332 h 1494"/>
                  <a:gd name="T4" fmla="*/ 1568 w 1678"/>
                  <a:gd name="T5" fmla="*/ 1288 h 1494"/>
                  <a:gd name="T6" fmla="*/ 1546 w 1678"/>
                  <a:gd name="T7" fmla="*/ 1266 h 1494"/>
                  <a:gd name="T8" fmla="*/ 132 w 1678"/>
                  <a:gd name="T9" fmla="*/ 1266 h 1494"/>
                  <a:gd name="T10" fmla="*/ 110 w 1678"/>
                  <a:gd name="T11" fmla="*/ 1288 h 1494"/>
                  <a:gd name="T12" fmla="*/ 110 w 1678"/>
                  <a:gd name="T13" fmla="*/ 1332 h 1494"/>
                  <a:gd name="T14" fmla="*/ 22 w 1678"/>
                  <a:gd name="T15" fmla="*/ 1332 h 1494"/>
                  <a:gd name="T16" fmla="*/ 0 w 1678"/>
                  <a:gd name="T17" fmla="*/ 1354 h 1494"/>
                  <a:gd name="T18" fmla="*/ 0 w 1678"/>
                  <a:gd name="T19" fmla="*/ 1472 h 1494"/>
                  <a:gd name="T20" fmla="*/ 22 w 1678"/>
                  <a:gd name="T21" fmla="*/ 1494 h 1494"/>
                  <a:gd name="T22" fmla="*/ 1656 w 1678"/>
                  <a:gd name="T23" fmla="*/ 1494 h 1494"/>
                  <a:gd name="T24" fmla="*/ 1678 w 1678"/>
                  <a:gd name="T25" fmla="*/ 1472 h 1494"/>
                  <a:gd name="T26" fmla="*/ 1678 w 1678"/>
                  <a:gd name="T27" fmla="*/ 1354 h 1494"/>
                  <a:gd name="T28" fmla="*/ 1656 w 1678"/>
                  <a:gd name="T29" fmla="*/ 1332 h 1494"/>
                  <a:gd name="T30" fmla="*/ 1645 w 1678"/>
                  <a:gd name="T31" fmla="*/ 375 h 1494"/>
                  <a:gd name="T32" fmla="*/ 1314 w 1678"/>
                  <a:gd name="T33" fmla="*/ 375 h 1494"/>
                  <a:gd name="T34" fmla="*/ 1147 w 1678"/>
                  <a:gd name="T35" fmla="*/ 109 h 1494"/>
                  <a:gd name="T36" fmla="*/ 839 w 1678"/>
                  <a:gd name="T37" fmla="*/ 0 h 1494"/>
                  <a:gd name="T38" fmla="*/ 532 w 1678"/>
                  <a:gd name="T39" fmla="*/ 108 h 1494"/>
                  <a:gd name="T40" fmla="*/ 364 w 1678"/>
                  <a:gd name="T41" fmla="*/ 375 h 1494"/>
                  <a:gd name="T42" fmla="*/ 33 w 1678"/>
                  <a:gd name="T43" fmla="*/ 375 h 1494"/>
                  <a:gd name="T44" fmla="*/ 11 w 1678"/>
                  <a:gd name="T45" fmla="*/ 397 h 1494"/>
                  <a:gd name="T46" fmla="*/ 11 w 1678"/>
                  <a:gd name="T47" fmla="*/ 528 h 1494"/>
                  <a:gd name="T48" fmla="*/ 33 w 1678"/>
                  <a:gd name="T49" fmla="*/ 550 h 1494"/>
                  <a:gd name="T50" fmla="*/ 1645 w 1678"/>
                  <a:gd name="T51" fmla="*/ 550 h 1494"/>
                  <a:gd name="T52" fmla="*/ 1667 w 1678"/>
                  <a:gd name="T53" fmla="*/ 528 h 1494"/>
                  <a:gd name="T54" fmla="*/ 1667 w 1678"/>
                  <a:gd name="T55" fmla="*/ 397 h 1494"/>
                  <a:gd name="T56" fmla="*/ 1645 w 1678"/>
                  <a:gd name="T57" fmla="*/ 375 h 1494"/>
                  <a:gd name="T58" fmla="*/ 839 w 1678"/>
                  <a:gd name="T59" fmla="*/ 44 h 1494"/>
                  <a:gd name="T60" fmla="*/ 1269 w 1678"/>
                  <a:gd name="T61" fmla="*/ 375 h 1494"/>
                  <a:gd name="T62" fmla="*/ 409 w 1678"/>
                  <a:gd name="T63" fmla="*/ 375 h 1494"/>
                  <a:gd name="T64" fmla="*/ 839 w 1678"/>
                  <a:gd name="T65" fmla="*/ 44 h 1494"/>
                  <a:gd name="T66" fmla="*/ 1623 w 1678"/>
                  <a:gd name="T67" fmla="*/ 506 h 1494"/>
                  <a:gd name="T68" fmla="*/ 55 w 1678"/>
                  <a:gd name="T69" fmla="*/ 506 h 1494"/>
                  <a:gd name="T70" fmla="*/ 55 w 1678"/>
                  <a:gd name="T71" fmla="*/ 419 h 1494"/>
                  <a:gd name="T72" fmla="*/ 1623 w 1678"/>
                  <a:gd name="T73" fmla="*/ 419 h 1494"/>
                  <a:gd name="T74" fmla="*/ 1623 w 1678"/>
                  <a:gd name="T75" fmla="*/ 506 h 14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678" h="1494">
                    <a:moveTo>
                      <a:pt x="1656" y="1332"/>
                    </a:moveTo>
                    <a:cubicBezTo>
                      <a:pt x="1568" y="1332"/>
                      <a:pt x="1568" y="1332"/>
                      <a:pt x="1568" y="1332"/>
                    </a:cubicBezTo>
                    <a:cubicBezTo>
                      <a:pt x="1568" y="1288"/>
                      <a:pt x="1568" y="1288"/>
                      <a:pt x="1568" y="1288"/>
                    </a:cubicBezTo>
                    <a:cubicBezTo>
                      <a:pt x="1568" y="1276"/>
                      <a:pt x="1558" y="1266"/>
                      <a:pt x="1546" y="1266"/>
                    </a:cubicBezTo>
                    <a:cubicBezTo>
                      <a:pt x="132" y="1266"/>
                      <a:pt x="132" y="1266"/>
                      <a:pt x="132" y="1266"/>
                    </a:cubicBezTo>
                    <a:cubicBezTo>
                      <a:pt x="120" y="1266"/>
                      <a:pt x="110" y="1276"/>
                      <a:pt x="110" y="1288"/>
                    </a:cubicBezTo>
                    <a:cubicBezTo>
                      <a:pt x="110" y="1332"/>
                      <a:pt x="110" y="1332"/>
                      <a:pt x="110" y="1332"/>
                    </a:cubicBezTo>
                    <a:cubicBezTo>
                      <a:pt x="22" y="1332"/>
                      <a:pt x="22" y="1332"/>
                      <a:pt x="22" y="1332"/>
                    </a:cubicBezTo>
                    <a:cubicBezTo>
                      <a:pt x="10" y="1332"/>
                      <a:pt x="0" y="1342"/>
                      <a:pt x="0" y="1354"/>
                    </a:cubicBezTo>
                    <a:cubicBezTo>
                      <a:pt x="0" y="1472"/>
                      <a:pt x="0" y="1472"/>
                      <a:pt x="0" y="1472"/>
                    </a:cubicBezTo>
                    <a:cubicBezTo>
                      <a:pt x="0" y="1484"/>
                      <a:pt x="10" y="1494"/>
                      <a:pt x="22" y="1494"/>
                    </a:cubicBezTo>
                    <a:cubicBezTo>
                      <a:pt x="1656" y="1494"/>
                      <a:pt x="1656" y="1494"/>
                      <a:pt x="1656" y="1494"/>
                    </a:cubicBezTo>
                    <a:cubicBezTo>
                      <a:pt x="1668" y="1494"/>
                      <a:pt x="1678" y="1484"/>
                      <a:pt x="1678" y="1472"/>
                    </a:cubicBezTo>
                    <a:cubicBezTo>
                      <a:pt x="1678" y="1354"/>
                      <a:pt x="1678" y="1354"/>
                      <a:pt x="1678" y="1354"/>
                    </a:cubicBezTo>
                    <a:cubicBezTo>
                      <a:pt x="1678" y="1342"/>
                      <a:pt x="1668" y="1332"/>
                      <a:pt x="1656" y="1332"/>
                    </a:cubicBezTo>
                    <a:close/>
                    <a:moveTo>
                      <a:pt x="1645" y="375"/>
                    </a:moveTo>
                    <a:cubicBezTo>
                      <a:pt x="1314" y="375"/>
                      <a:pt x="1314" y="375"/>
                      <a:pt x="1314" y="375"/>
                    </a:cubicBezTo>
                    <a:cubicBezTo>
                      <a:pt x="1289" y="271"/>
                      <a:pt x="1230" y="177"/>
                      <a:pt x="1147" y="109"/>
                    </a:cubicBezTo>
                    <a:cubicBezTo>
                      <a:pt x="1060" y="38"/>
                      <a:pt x="951" y="0"/>
                      <a:pt x="839" y="0"/>
                    </a:cubicBezTo>
                    <a:cubicBezTo>
                      <a:pt x="728" y="0"/>
                      <a:pt x="619" y="38"/>
                      <a:pt x="532" y="108"/>
                    </a:cubicBezTo>
                    <a:cubicBezTo>
                      <a:pt x="448" y="176"/>
                      <a:pt x="389" y="271"/>
                      <a:pt x="364" y="375"/>
                    </a:cubicBezTo>
                    <a:cubicBezTo>
                      <a:pt x="33" y="375"/>
                      <a:pt x="33" y="375"/>
                      <a:pt x="33" y="375"/>
                    </a:cubicBezTo>
                    <a:cubicBezTo>
                      <a:pt x="21" y="375"/>
                      <a:pt x="11" y="385"/>
                      <a:pt x="11" y="397"/>
                    </a:cubicBezTo>
                    <a:cubicBezTo>
                      <a:pt x="11" y="528"/>
                      <a:pt x="11" y="528"/>
                      <a:pt x="11" y="528"/>
                    </a:cubicBezTo>
                    <a:cubicBezTo>
                      <a:pt x="11" y="540"/>
                      <a:pt x="21" y="550"/>
                      <a:pt x="33" y="550"/>
                    </a:cubicBezTo>
                    <a:cubicBezTo>
                      <a:pt x="1645" y="550"/>
                      <a:pt x="1645" y="550"/>
                      <a:pt x="1645" y="550"/>
                    </a:cubicBezTo>
                    <a:cubicBezTo>
                      <a:pt x="1657" y="550"/>
                      <a:pt x="1667" y="540"/>
                      <a:pt x="1667" y="528"/>
                    </a:cubicBezTo>
                    <a:cubicBezTo>
                      <a:pt x="1667" y="397"/>
                      <a:pt x="1667" y="397"/>
                      <a:pt x="1667" y="397"/>
                    </a:cubicBezTo>
                    <a:cubicBezTo>
                      <a:pt x="1667" y="385"/>
                      <a:pt x="1657" y="375"/>
                      <a:pt x="1645" y="375"/>
                    </a:cubicBezTo>
                    <a:close/>
                    <a:moveTo>
                      <a:pt x="839" y="44"/>
                    </a:moveTo>
                    <a:cubicBezTo>
                      <a:pt x="1040" y="44"/>
                      <a:pt x="1218" y="182"/>
                      <a:pt x="1269" y="375"/>
                    </a:cubicBezTo>
                    <a:cubicBezTo>
                      <a:pt x="409" y="375"/>
                      <a:pt x="409" y="375"/>
                      <a:pt x="409" y="375"/>
                    </a:cubicBezTo>
                    <a:cubicBezTo>
                      <a:pt x="460" y="179"/>
                      <a:pt x="635" y="44"/>
                      <a:pt x="839" y="44"/>
                    </a:cubicBezTo>
                    <a:close/>
                    <a:moveTo>
                      <a:pt x="1623" y="506"/>
                    </a:moveTo>
                    <a:cubicBezTo>
                      <a:pt x="55" y="506"/>
                      <a:pt x="55" y="506"/>
                      <a:pt x="55" y="506"/>
                    </a:cubicBezTo>
                    <a:cubicBezTo>
                      <a:pt x="55" y="419"/>
                      <a:pt x="55" y="419"/>
                      <a:pt x="55" y="419"/>
                    </a:cubicBezTo>
                    <a:cubicBezTo>
                      <a:pt x="1623" y="419"/>
                      <a:pt x="1623" y="419"/>
                      <a:pt x="1623" y="419"/>
                    </a:cubicBezTo>
                    <a:lnTo>
                      <a:pt x="1623" y="506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7" name="Freeform 11">
                <a:extLst>
                  <a:ext uri="{FF2B5EF4-FFF2-40B4-BE49-F238E27FC236}">
                    <a16:creationId xmlns="" xmlns:a16="http://schemas.microsoft.com/office/drawing/2014/main" id="{D28EC961-55AD-42D5-BE87-6917C8C8FF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94982" y="2719578"/>
                <a:ext cx="1002030" cy="1155954"/>
              </a:xfrm>
              <a:custGeom>
                <a:avLst/>
                <a:gdLst>
                  <a:gd name="T0" fmla="*/ 12 w 1404"/>
                  <a:gd name="T1" fmla="*/ 1032 h 1618"/>
                  <a:gd name="T2" fmla="*/ 105 w 1404"/>
                  <a:gd name="T3" fmla="*/ 1022 h 1618"/>
                  <a:gd name="T4" fmla="*/ 127 w 1404"/>
                  <a:gd name="T5" fmla="*/ 1608 h 1618"/>
                  <a:gd name="T6" fmla="*/ 10 w 1404"/>
                  <a:gd name="T7" fmla="*/ 1618 h 1618"/>
                  <a:gd name="T8" fmla="*/ 1031 w 1404"/>
                  <a:gd name="T9" fmla="*/ 1618 h 1618"/>
                  <a:gd name="T10" fmla="*/ 1149 w 1404"/>
                  <a:gd name="T11" fmla="*/ 1608 h 1618"/>
                  <a:gd name="T12" fmla="*/ 1127 w 1404"/>
                  <a:gd name="T13" fmla="*/ 1022 h 1618"/>
                  <a:gd name="T14" fmla="*/ 1033 w 1404"/>
                  <a:gd name="T15" fmla="*/ 1032 h 1618"/>
                  <a:gd name="T16" fmla="*/ 1031 w 1404"/>
                  <a:gd name="T17" fmla="*/ 1618 h 1618"/>
                  <a:gd name="T18" fmla="*/ 1394 w 1404"/>
                  <a:gd name="T19" fmla="*/ 1618 h 1618"/>
                  <a:gd name="T20" fmla="*/ 1392 w 1404"/>
                  <a:gd name="T21" fmla="*/ 1032 h 1618"/>
                  <a:gd name="T22" fmla="*/ 1299 w 1404"/>
                  <a:gd name="T23" fmla="*/ 1022 h 1618"/>
                  <a:gd name="T24" fmla="*/ 1277 w 1404"/>
                  <a:gd name="T25" fmla="*/ 1608 h 1618"/>
                  <a:gd name="T26" fmla="*/ 776 w 1404"/>
                  <a:gd name="T27" fmla="*/ 1618 h 1618"/>
                  <a:gd name="T28" fmla="*/ 894 w 1404"/>
                  <a:gd name="T29" fmla="*/ 1608 h 1618"/>
                  <a:gd name="T30" fmla="*/ 871 w 1404"/>
                  <a:gd name="T31" fmla="*/ 1022 h 1618"/>
                  <a:gd name="T32" fmla="*/ 778 w 1404"/>
                  <a:gd name="T33" fmla="*/ 1032 h 1618"/>
                  <a:gd name="T34" fmla="*/ 776 w 1404"/>
                  <a:gd name="T35" fmla="*/ 1618 h 1618"/>
                  <a:gd name="T36" fmla="*/ 628 w 1404"/>
                  <a:gd name="T37" fmla="*/ 1618 h 1618"/>
                  <a:gd name="T38" fmla="*/ 626 w 1404"/>
                  <a:gd name="T39" fmla="*/ 1032 h 1618"/>
                  <a:gd name="T40" fmla="*/ 533 w 1404"/>
                  <a:gd name="T41" fmla="*/ 1022 h 1618"/>
                  <a:gd name="T42" fmla="*/ 510 w 1404"/>
                  <a:gd name="T43" fmla="*/ 1608 h 1618"/>
                  <a:gd name="T44" fmla="*/ 265 w 1404"/>
                  <a:gd name="T45" fmla="*/ 1618 h 1618"/>
                  <a:gd name="T46" fmla="*/ 383 w 1404"/>
                  <a:gd name="T47" fmla="*/ 1608 h 1618"/>
                  <a:gd name="T48" fmla="*/ 361 w 1404"/>
                  <a:gd name="T49" fmla="*/ 1022 h 1618"/>
                  <a:gd name="T50" fmla="*/ 267 w 1404"/>
                  <a:gd name="T51" fmla="*/ 1032 h 1618"/>
                  <a:gd name="T52" fmla="*/ 265 w 1404"/>
                  <a:gd name="T53" fmla="*/ 1618 h 1618"/>
                  <a:gd name="T54" fmla="*/ 702 w 1404"/>
                  <a:gd name="T55" fmla="*/ 368 h 1618"/>
                  <a:gd name="T56" fmla="*/ 727 w 1404"/>
                  <a:gd name="T57" fmla="*/ 200 h 1618"/>
                  <a:gd name="T58" fmla="*/ 1036 w 1404"/>
                  <a:gd name="T59" fmla="*/ 193 h 1618"/>
                  <a:gd name="T60" fmla="*/ 959 w 1404"/>
                  <a:gd name="T61" fmla="*/ 101 h 1618"/>
                  <a:gd name="T62" fmla="*/ 1040 w 1404"/>
                  <a:gd name="T63" fmla="*/ 11 h 1618"/>
                  <a:gd name="T64" fmla="*/ 720 w 1404"/>
                  <a:gd name="T65" fmla="*/ 0 h 1618"/>
                  <a:gd name="T66" fmla="*/ 681 w 1404"/>
                  <a:gd name="T67" fmla="*/ 0 h 1618"/>
                  <a:gd name="T68" fmla="*/ 675 w 1404"/>
                  <a:gd name="T69" fmla="*/ 193 h 1618"/>
                  <a:gd name="T70" fmla="*/ 675 w 1404"/>
                  <a:gd name="T71" fmla="*/ 368 h 16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04" h="1618">
                    <a:moveTo>
                      <a:pt x="0" y="1608"/>
                    </a:moveTo>
                    <a:cubicBezTo>
                      <a:pt x="12" y="1032"/>
                      <a:pt x="12" y="1032"/>
                      <a:pt x="12" y="1032"/>
                    </a:cubicBezTo>
                    <a:cubicBezTo>
                      <a:pt x="12" y="1027"/>
                      <a:pt x="16" y="1022"/>
                      <a:pt x="22" y="1022"/>
                    </a:cubicBezTo>
                    <a:cubicBezTo>
                      <a:pt x="105" y="1022"/>
                      <a:pt x="105" y="1022"/>
                      <a:pt x="105" y="1022"/>
                    </a:cubicBezTo>
                    <a:cubicBezTo>
                      <a:pt x="111" y="1022"/>
                      <a:pt x="115" y="1027"/>
                      <a:pt x="115" y="1032"/>
                    </a:cubicBezTo>
                    <a:cubicBezTo>
                      <a:pt x="127" y="1608"/>
                      <a:pt x="127" y="1608"/>
                      <a:pt x="127" y="1608"/>
                    </a:cubicBezTo>
                    <a:cubicBezTo>
                      <a:pt x="127" y="1613"/>
                      <a:pt x="123" y="1618"/>
                      <a:pt x="117" y="1618"/>
                    </a:cubicBezTo>
                    <a:cubicBezTo>
                      <a:pt x="10" y="1618"/>
                      <a:pt x="10" y="1618"/>
                      <a:pt x="10" y="1618"/>
                    </a:cubicBezTo>
                    <a:cubicBezTo>
                      <a:pt x="4" y="1618"/>
                      <a:pt x="0" y="1613"/>
                      <a:pt x="0" y="1608"/>
                    </a:cubicBezTo>
                    <a:close/>
                    <a:moveTo>
                      <a:pt x="1031" y="1618"/>
                    </a:moveTo>
                    <a:cubicBezTo>
                      <a:pt x="1139" y="1618"/>
                      <a:pt x="1139" y="1618"/>
                      <a:pt x="1139" y="1618"/>
                    </a:cubicBezTo>
                    <a:cubicBezTo>
                      <a:pt x="1144" y="1618"/>
                      <a:pt x="1149" y="1613"/>
                      <a:pt x="1149" y="1608"/>
                    </a:cubicBezTo>
                    <a:cubicBezTo>
                      <a:pt x="1137" y="1032"/>
                      <a:pt x="1137" y="1032"/>
                      <a:pt x="1137" y="1032"/>
                    </a:cubicBezTo>
                    <a:cubicBezTo>
                      <a:pt x="1137" y="1027"/>
                      <a:pt x="1132" y="1022"/>
                      <a:pt x="1127" y="1022"/>
                    </a:cubicBezTo>
                    <a:cubicBezTo>
                      <a:pt x="1043" y="1022"/>
                      <a:pt x="1043" y="1022"/>
                      <a:pt x="1043" y="1022"/>
                    </a:cubicBezTo>
                    <a:cubicBezTo>
                      <a:pt x="1038" y="1022"/>
                      <a:pt x="1033" y="1027"/>
                      <a:pt x="1033" y="1032"/>
                    </a:cubicBezTo>
                    <a:cubicBezTo>
                      <a:pt x="1021" y="1608"/>
                      <a:pt x="1021" y="1608"/>
                      <a:pt x="1021" y="1608"/>
                    </a:cubicBezTo>
                    <a:cubicBezTo>
                      <a:pt x="1021" y="1613"/>
                      <a:pt x="1026" y="1618"/>
                      <a:pt x="1031" y="1618"/>
                    </a:cubicBezTo>
                    <a:close/>
                    <a:moveTo>
                      <a:pt x="1287" y="1618"/>
                    </a:moveTo>
                    <a:cubicBezTo>
                      <a:pt x="1394" y="1618"/>
                      <a:pt x="1394" y="1618"/>
                      <a:pt x="1394" y="1618"/>
                    </a:cubicBezTo>
                    <a:cubicBezTo>
                      <a:pt x="1400" y="1618"/>
                      <a:pt x="1404" y="1613"/>
                      <a:pt x="1404" y="1608"/>
                    </a:cubicBezTo>
                    <a:cubicBezTo>
                      <a:pt x="1392" y="1032"/>
                      <a:pt x="1392" y="1032"/>
                      <a:pt x="1392" y="1032"/>
                    </a:cubicBezTo>
                    <a:cubicBezTo>
                      <a:pt x="1392" y="1027"/>
                      <a:pt x="1388" y="1022"/>
                      <a:pt x="1382" y="1022"/>
                    </a:cubicBezTo>
                    <a:cubicBezTo>
                      <a:pt x="1299" y="1022"/>
                      <a:pt x="1299" y="1022"/>
                      <a:pt x="1299" y="1022"/>
                    </a:cubicBezTo>
                    <a:cubicBezTo>
                      <a:pt x="1293" y="1022"/>
                      <a:pt x="1289" y="1027"/>
                      <a:pt x="1289" y="1032"/>
                    </a:cubicBezTo>
                    <a:cubicBezTo>
                      <a:pt x="1277" y="1608"/>
                      <a:pt x="1277" y="1608"/>
                      <a:pt x="1277" y="1608"/>
                    </a:cubicBezTo>
                    <a:cubicBezTo>
                      <a:pt x="1277" y="1613"/>
                      <a:pt x="1281" y="1618"/>
                      <a:pt x="1287" y="1618"/>
                    </a:cubicBezTo>
                    <a:close/>
                    <a:moveTo>
                      <a:pt x="776" y="1618"/>
                    </a:moveTo>
                    <a:cubicBezTo>
                      <a:pt x="883" y="1618"/>
                      <a:pt x="883" y="1618"/>
                      <a:pt x="883" y="1618"/>
                    </a:cubicBezTo>
                    <a:cubicBezTo>
                      <a:pt x="889" y="1618"/>
                      <a:pt x="894" y="1613"/>
                      <a:pt x="894" y="1608"/>
                    </a:cubicBezTo>
                    <a:cubicBezTo>
                      <a:pt x="881" y="1032"/>
                      <a:pt x="881" y="1032"/>
                      <a:pt x="881" y="1032"/>
                    </a:cubicBezTo>
                    <a:cubicBezTo>
                      <a:pt x="881" y="1027"/>
                      <a:pt x="877" y="1022"/>
                      <a:pt x="871" y="1022"/>
                    </a:cubicBezTo>
                    <a:cubicBezTo>
                      <a:pt x="788" y="1022"/>
                      <a:pt x="788" y="1022"/>
                      <a:pt x="788" y="1022"/>
                    </a:cubicBezTo>
                    <a:cubicBezTo>
                      <a:pt x="782" y="1022"/>
                      <a:pt x="778" y="1027"/>
                      <a:pt x="778" y="1032"/>
                    </a:cubicBezTo>
                    <a:cubicBezTo>
                      <a:pt x="766" y="1608"/>
                      <a:pt x="766" y="1608"/>
                      <a:pt x="766" y="1608"/>
                    </a:cubicBezTo>
                    <a:cubicBezTo>
                      <a:pt x="766" y="1613"/>
                      <a:pt x="770" y="1618"/>
                      <a:pt x="776" y="1618"/>
                    </a:cubicBezTo>
                    <a:close/>
                    <a:moveTo>
                      <a:pt x="521" y="1618"/>
                    </a:moveTo>
                    <a:cubicBezTo>
                      <a:pt x="628" y="1618"/>
                      <a:pt x="628" y="1618"/>
                      <a:pt x="628" y="1618"/>
                    </a:cubicBezTo>
                    <a:cubicBezTo>
                      <a:pt x="634" y="1618"/>
                      <a:pt x="638" y="1613"/>
                      <a:pt x="638" y="1608"/>
                    </a:cubicBezTo>
                    <a:cubicBezTo>
                      <a:pt x="626" y="1032"/>
                      <a:pt x="626" y="1032"/>
                      <a:pt x="626" y="1032"/>
                    </a:cubicBezTo>
                    <a:cubicBezTo>
                      <a:pt x="626" y="1027"/>
                      <a:pt x="622" y="1022"/>
                      <a:pt x="616" y="1022"/>
                    </a:cubicBezTo>
                    <a:cubicBezTo>
                      <a:pt x="533" y="1022"/>
                      <a:pt x="533" y="1022"/>
                      <a:pt x="533" y="1022"/>
                    </a:cubicBezTo>
                    <a:cubicBezTo>
                      <a:pt x="527" y="1022"/>
                      <a:pt x="523" y="1027"/>
                      <a:pt x="523" y="1032"/>
                    </a:cubicBezTo>
                    <a:cubicBezTo>
                      <a:pt x="510" y="1608"/>
                      <a:pt x="510" y="1608"/>
                      <a:pt x="510" y="1608"/>
                    </a:cubicBezTo>
                    <a:cubicBezTo>
                      <a:pt x="510" y="1613"/>
                      <a:pt x="515" y="1618"/>
                      <a:pt x="521" y="1618"/>
                    </a:cubicBezTo>
                    <a:close/>
                    <a:moveTo>
                      <a:pt x="265" y="1618"/>
                    </a:moveTo>
                    <a:cubicBezTo>
                      <a:pt x="373" y="1618"/>
                      <a:pt x="373" y="1618"/>
                      <a:pt x="373" y="1618"/>
                    </a:cubicBezTo>
                    <a:cubicBezTo>
                      <a:pt x="378" y="1618"/>
                      <a:pt x="383" y="1613"/>
                      <a:pt x="383" y="1608"/>
                    </a:cubicBezTo>
                    <a:cubicBezTo>
                      <a:pt x="371" y="1032"/>
                      <a:pt x="371" y="1032"/>
                      <a:pt x="371" y="1032"/>
                    </a:cubicBezTo>
                    <a:cubicBezTo>
                      <a:pt x="371" y="1027"/>
                      <a:pt x="366" y="1022"/>
                      <a:pt x="361" y="1022"/>
                    </a:cubicBezTo>
                    <a:cubicBezTo>
                      <a:pt x="277" y="1022"/>
                      <a:pt x="277" y="1022"/>
                      <a:pt x="277" y="1022"/>
                    </a:cubicBezTo>
                    <a:cubicBezTo>
                      <a:pt x="272" y="1022"/>
                      <a:pt x="267" y="1027"/>
                      <a:pt x="267" y="1032"/>
                    </a:cubicBezTo>
                    <a:cubicBezTo>
                      <a:pt x="255" y="1608"/>
                      <a:pt x="255" y="1608"/>
                      <a:pt x="255" y="1608"/>
                    </a:cubicBezTo>
                    <a:cubicBezTo>
                      <a:pt x="255" y="1613"/>
                      <a:pt x="260" y="1618"/>
                      <a:pt x="265" y="1618"/>
                    </a:cubicBezTo>
                    <a:close/>
                    <a:moveTo>
                      <a:pt x="675" y="368"/>
                    </a:moveTo>
                    <a:cubicBezTo>
                      <a:pt x="684" y="368"/>
                      <a:pt x="693" y="368"/>
                      <a:pt x="702" y="368"/>
                    </a:cubicBezTo>
                    <a:cubicBezTo>
                      <a:pt x="710" y="368"/>
                      <a:pt x="718" y="368"/>
                      <a:pt x="727" y="368"/>
                    </a:cubicBezTo>
                    <a:cubicBezTo>
                      <a:pt x="727" y="200"/>
                      <a:pt x="727" y="200"/>
                      <a:pt x="727" y="200"/>
                    </a:cubicBezTo>
                    <a:cubicBezTo>
                      <a:pt x="727" y="196"/>
                      <a:pt x="730" y="193"/>
                      <a:pt x="733" y="193"/>
                    </a:cubicBezTo>
                    <a:cubicBezTo>
                      <a:pt x="1036" y="193"/>
                      <a:pt x="1036" y="193"/>
                      <a:pt x="1036" y="193"/>
                    </a:cubicBezTo>
                    <a:cubicBezTo>
                      <a:pt x="1042" y="193"/>
                      <a:pt x="1044" y="186"/>
                      <a:pt x="1040" y="182"/>
                    </a:cubicBezTo>
                    <a:cubicBezTo>
                      <a:pt x="959" y="101"/>
                      <a:pt x="959" y="101"/>
                      <a:pt x="959" y="101"/>
                    </a:cubicBezTo>
                    <a:cubicBezTo>
                      <a:pt x="957" y="99"/>
                      <a:pt x="957" y="95"/>
                      <a:pt x="959" y="92"/>
                    </a:cubicBezTo>
                    <a:cubicBezTo>
                      <a:pt x="1040" y="11"/>
                      <a:pt x="1040" y="11"/>
                      <a:pt x="1040" y="11"/>
                    </a:cubicBezTo>
                    <a:cubicBezTo>
                      <a:pt x="1044" y="7"/>
                      <a:pt x="1042" y="0"/>
                      <a:pt x="1036" y="0"/>
                    </a:cubicBezTo>
                    <a:cubicBezTo>
                      <a:pt x="720" y="0"/>
                      <a:pt x="720" y="0"/>
                      <a:pt x="720" y="0"/>
                    </a:cubicBezTo>
                    <a:cubicBezTo>
                      <a:pt x="681" y="0"/>
                      <a:pt x="681" y="0"/>
                      <a:pt x="681" y="0"/>
                    </a:cubicBezTo>
                    <a:cubicBezTo>
                      <a:pt x="681" y="0"/>
                      <a:pt x="681" y="0"/>
                      <a:pt x="681" y="0"/>
                    </a:cubicBezTo>
                    <a:cubicBezTo>
                      <a:pt x="678" y="0"/>
                      <a:pt x="675" y="3"/>
                      <a:pt x="675" y="7"/>
                    </a:cubicBezTo>
                    <a:cubicBezTo>
                      <a:pt x="675" y="193"/>
                      <a:pt x="675" y="193"/>
                      <a:pt x="675" y="193"/>
                    </a:cubicBezTo>
                    <a:cubicBezTo>
                      <a:pt x="675" y="193"/>
                      <a:pt x="675" y="193"/>
                      <a:pt x="675" y="193"/>
                    </a:cubicBezTo>
                    <a:lnTo>
                      <a:pt x="675" y="368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188" name="Group 187"/>
          <p:cNvGrpSpPr>
            <a:grpSpLocks noChangeAspect="1"/>
          </p:cNvGrpSpPr>
          <p:nvPr/>
        </p:nvGrpSpPr>
        <p:grpSpPr>
          <a:xfrm>
            <a:off x="6691913" y="2827669"/>
            <a:ext cx="548641" cy="548640"/>
            <a:chOff x="5273040" y="2606040"/>
            <a:chExt cx="1645920" cy="1645920"/>
          </a:xfrm>
        </p:grpSpPr>
        <p:sp>
          <p:nvSpPr>
            <p:cNvPr id="189" name="AutoShape 3"/>
            <p:cNvSpPr>
              <a:spLocks noChangeAspect="1" noChangeArrowheads="1" noTextEdit="1"/>
            </p:cNvSpPr>
            <p:nvPr/>
          </p:nvSpPr>
          <p:spPr bwMode="auto">
            <a:xfrm>
              <a:off x="5273040" y="2606040"/>
              <a:ext cx="1645920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2296" tIns="41148" rIns="82296" bIns="41148" numCol="1" anchor="t" anchorCtr="0" compatLnSpc="1">
              <a:prstTxWarp prst="textNoShape">
                <a:avLst/>
              </a:prstTxWarp>
            </a:bodyPr>
            <a:lstStyle/>
            <a:p>
              <a:pPr defTabSz="761970">
                <a:defRPr/>
              </a:pPr>
              <a:endParaRPr lang="en-US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90" name="Group 189"/>
            <p:cNvGrpSpPr/>
            <p:nvPr/>
          </p:nvGrpSpPr>
          <p:grpSpPr>
            <a:xfrm>
              <a:off x="5389627" y="2809112"/>
              <a:ext cx="1412747" cy="1240154"/>
              <a:chOff x="5389626" y="2809113"/>
              <a:chExt cx="1412748" cy="1240155"/>
            </a:xfrm>
          </p:grpSpPr>
          <p:sp>
            <p:nvSpPr>
              <p:cNvPr id="191" name="Freeform 190"/>
              <p:cNvSpPr>
                <a:spLocks/>
              </p:cNvSpPr>
              <p:nvPr/>
            </p:nvSpPr>
            <p:spPr bwMode="auto">
              <a:xfrm>
                <a:off x="5546598" y="2809113"/>
                <a:ext cx="1094613" cy="1074420"/>
              </a:xfrm>
              <a:custGeom>
                <a:avLst/>
                <a:gdLst>
                  <a:gd name="connsiteX0" fmla="*/ 4247806 w 4560888"/>
                  <a:gd name="connsiteY0" fmla="*/ 3752848 h 4476748"/>
                  <a:gd name="connsiteX1" fmla="*/ 4531071 w 4560888"/>
                  <a:gd name="connsiteY1" fmla="*/ 3752848 h 4476748"/>
                  <a:gd name="connsiteX2" fmla="*/ 4560888 w 4560888"/>
                  <a:gd name="connsiteY2" fmla="*/ 3782666 h 4476748"/>
                  <a:gd name="connsiteX3" fmla="*/ 4560888 w 4560888"/>
                  <a:gd name="connsiteY3" fmla="*/ 4065931 h 4476748"/>
                  <a:gd name="connsiteX4" fmla="*/ 4531071 w 4560888"/>
                  <a:gd name="connsiteY4" fmla="*/ 4095748 h 4476748"/>
                  <a:gd name="connsiteX5" fmla="*/ 4247806 w 4560888"/>
                  <a:gd name="connsiteY5" fmla="*/ 4095748 h 4476748"/>
                  <a:gd name="connsiteX6" fmla="*/ 4217988 w 4560888"/>
                  <a:gd name="connsiteY6" fmla="*/ 4065931 h 4476748"/>
                  <a:gd name="connsiteX7" fmla="*/ 4217988 w 4560888"/>
                  <a:gd name="connsiteY7" fmla="*/ 3782666 h 4476748"/>
                  <a:gd name="connsiteX8" fmla="*/ 4247806 w 4560888"/>
                  <a:gd name="connsiteY8" fmla="*/ 3752848 h 4476748"/>
                  <a:gd name="connsiteX9" fmla="*/ 3757130 w 4560888"/>
                  <a:gd name="connsiteY9" fmla="*/ 3752848 h 4476748"/>
                  <a:gd name="connsiteX10" fmla="*/ 4039084 w 4560888"/>
                  <a:gd name="connsiteY10" fmla="*/ 3752848 h 4476748"/>
                  <a:gd name="connsiteX11" fmla="*/ 4068763 w 4560888"/>
                  <a:gd name="connsiteY11" fmla="*/ 3782666 h 4476748"/>
                  <a:gd name="connsiteX12" fmla="*/ 4068763 w 4560888"/>
                  <a:gd name="connsiteY12" fmla="*/ 4065931 h 4476748"/>
                  <a:gd name="connsiteX13" fmla="*/ 4039084 w 4560888"/>
                  <a:gd name="connsiteY13" fmla="*/ 4095748 h 4476748"/>
                  <a:gd name="connsiteX14" fmla="*/ 3757130 w 4560888"/>
                  <a:gd name="connsiteY14" fmla="*/ 4095748 h 4476748"/>
                  <a:gd name="connsiteX15" fmla="*/ 3727450 w 4560888"/>
                  <a:gd name="connsiteY15" fmla="*/ 4065931 h 4476748"/>
                  <a:gd name="connsiteX16" fmla="*/ 3727450 w 4560888"/>
                  <a:gd name="connsiteY16" fmla="*/ 3782666 h 4476748"/>
                  <a:gd name="connsiteX17" fmla="*/ 3757130 w 4560888"/>
                  <a:gd name="connsiteY17" fmla="*/ 3752848 h 4476748"/>
                  <a:gd name="connsiteX18" fmla="*/ 3261968 w 4560888"/>
                  <a:gd name="connsiteY18" fmla="*/ 3752848 h 4476748"/>
                  <a:gd name="connsiteX19" fmla="*/ 3545233 w 4560888"/>
                  <a:gd name="connsiteY19" fmla="*/ 3752848 h 4476748"/>
                  <a:gd name="connsiteX20" fmla="*/ 3575050 w 4560888"/>
                  <a:gd name="connsiteY20" fmla="*/ 3782666 h 4476748"/>
                  <a:gd name="connsiteX21" fmla="*/ 3575050 w 4560888"/>
                  <a:gd name="connsiteY21" fmla="*/ 4065931 h 4476748"/>
                  <a:gd name="connsiteX22" fmla="*/ 3545233 w 4560888"/>
                  <a:gd name="connsiteY22" fmla="*/ 4095748 h 4476748"/>
                  <a:gd name="connsiteX23" fmla="*/ 3261968 w 4560888"/>
                  <a:gd name="connsiteY23" fmla="*/ 4095748 h 4476748"/>
                  <a:gd name="connsiteX24" fmla="*/ 3232150 w 4560888"/>
                  <a:gd name="connsiteY24" fmla="*/ 4065931 h 4476748"/>
                  <a:gd name="connsiteX25" fmla="*/ 3232150 w 4560888"/>
                  <a:gd name="connsiteY25" fmla="*/ 3782666 h 4476748"/>
                  <a:gd name="connsiteX26" fmla="*/ 3261968 w 4560888"/>
                  <a:gd name="connsiteY26" fmla="*/ 3752848 h 4476748"/>
                  <a:gd name="connsiteX27" fmla="*/ 1015517 w 4560888"/>
                  <a:gd name="connsiteY27" fmla="*/ 3752848 h 4476748"/>
                  <a:gd name="connsiteX28" fmla="*/ 1297471 w 4560888"/>
                  <a:gd name="connsiteY28" fmla="*/ 3752848 h 4476748"/>
                  <a:gd name="connsiteX29" fmla="*/ 1327151 w 4560888"/>
                  <a:gd name="connsiteY29" fmla="*/ 3782666 h 4476748"/>
                  <a:gd name="connsiteX30" fmla="*/ 1327151 w 4560888"/>
                  <a:gd name="connsiteY30" fmla="*/ 4065931 h 4476748"/>
                  <a:gd name="connsiteX31" fmla="*/ 1297471 w 4560888"/>
                  <a:gd name="connsiteY31" fmla="*/ 4095748 h 4476748"/>
                  <a:gd name="connsiteX32" fmla="*/ 1015517 w 4560888"/>
                  <a:gd name="connsiteY32" fmla="*/ 4095748 h 4476748"/>
                  <a:gd name="connsiteX33" fmla="*/ 985838 w 4560888"/>
                  <a:gd name="connsiteY33" fmla="*/ 4065931 h 4476748"/>
                  <a:gd name="connsiteX34" fmla="*/ 985838 w 4560888"/>
                  <a:gd name="connsiteY34" fmla="*/ 3782666 h 4476748"/>
                  <a:gd name="connsiteX35" fmla="*/ 1015517 w 4560888"/>
                  <a:gd name="connsiteY35" fmla="*/ 3752848 h 4476748"/>
                  <a:gd name="connsiteX36" fmla="*/ 523547 w 4560888"/>
                  <a:gd name="connsiteY36" fmla="*/ 3752848 h 4476748"/>
                  <a:gd name="connsiteX37" fmla="*/ 809954 w 4560888"/>
                  <a:gd name="connsiteY37" fmla="*/ 3752848 h 4476748"/>
                  <a:gd name="connsiteX38" fmla="*/ 839788 w 4560888"/>
                  <a:gd name="connsiteY38" fmla="*/ 3782666 h 4476748"/>
                  <a:gd name="connsiteX39" fmla="*/ 839788 w 4560888"/>
                  <a:gd name="connsiteY39" fmla="*/ 4065931 h 4476748"/>
                  <a:gd name="connsiteX40" fmla="*/ 809954 w 4560888"/>
                  <a:gd name="connsiteY40" fmla="*/ 4095748 h 4476748"/>
                  <a:gd name="connsiteX41" fmla="*/ 523547 w 4560888"/>
                  <a:gd name="connsiteY41" fmla="*/ 4095748 h 4476748"/>
                  <a:gd name="connsiteX42" fmla="*/ 493713 w 4560888"/>
                  <a:gd name="connsiteY42" fmla="*/ 4065931 h 4476748"/>
                  <a:gd name="connsiteX43" fmla="*/ 493713 w 4560888"/>
                  <a:gd name="connsiteY43" fmla="*/ 3782666 h 4476748"/>
                  <a:gd name="connsiteX44" fmla="*/ 523547 w 4560888"/>
                  <a:gd name="connsiteY44" fmla="*/ 3752848 h 4476748"/>
                  <a:gd name="connsiteX45" fmla="*/ 29817 w 4560888"/>
                  <a:gd name="connsiteY45" fmla="*/ 3752848 h 4476748"/>
                  <a:gd name="connsiteX46" fmla="*/ 313082 w 4560888"/>
                  <a:gd name="connsiteY46" fmla="*/ 3752848 h 4476748"/>
                  <a:gd name="connsiteX47" fmla="*/ 342900 w 4560888"/>
                  <a:gd name="connsiteY47" fmla="*/ 3782666 h 4476748"/>
                  <a:gd name="connsiteX48" fmla="*/ 342900 w 4560888"/>
                  <a:gd name="connsiteY48" fmla="*/ 4065931 h 4476748"/>
                  <a:gd name="connsiteX49" fmla="*/ 313082 w 4560888"/>
                  <a:gd name="connsiteY49" fmla="*/ 4095748 h 4476748"/>
                  <a:gd name="connsiteX50" fmla="*/ 29817 w 4560888"/>
                  <a:gd name="connsiteY50" fmla="*/ 4095748 h 4476748"/>
                  <a:gd name="connsiteX51" fmla="*/ 0 w 4560888"/>
                  <a:gd name="connsiteY51" fmla="*/ 4065931 h 4476748"/>
                  <a:gd name="connsiteX52" fmla="*/ 0 w 4560888"/>
                  <a:gd name="connsiteY52" fmla="*/ 3782666 h 4476748"/>
                  <a:gd name="connsiteX53" fmla="*/ 29817 w 4560888"/>
                  <a:gd name="connsiteY53" fmla="*/ 3752848 h 4476748"/>
                  <a:gd name="connsiteX54" fmla="*/ 4247806 w 4560888"/>
                  <a:gd name="connsiteY54" fmla="*/ 3267073 h 4476748"/>
                  <a:gd name="connsiteX55" fmla="*/ 4531071 w 4560888"/>
                  <a:gd name="connsiteY55" fmla="*/ 3267073 h 4476748"/>
                  <a:gd name="connsiteX56" fmla="*/ 4560888 w 4560888"/>
                  <a:gd name="connsiteY56" fmla="*/ 3296907 h 4476748"/>
                  <a:gd name="connsiteX57" fmla="*/ 4560888 w 4560888"/>
                  <a:gd name="connsiteY57" fmla="*/ 3583314 h 4476748"/>
                  <a:gd name="connsiteX58" fmla="*/ 4531071 w 4560888"/>
                  <a:gd name="connsiteY58" fmla="*/ 3613148 h 4476748"/>
                  <a:gd name="connsiteX59" fmla="*/ 4247806 w 4560888"/>
                  <a:gd name="connsiteY59" fmla="*/ 3613148 h 4476748"/>
                  <a:gd name="connsiteX60" fmla="*/ 4217988 w 4560888"/>
                  <a:gd name="connsiteY60" fmla="*/ 3583314 h 4476748"/>
                  <a:gd name="connsiteX61" fmla="*/ 4217988 w 4560888"/>
                  <a:gd name="connsiteY61" fmla="*/ 3296907 h 4476748"/>
                  <a:gd name="connsiteX62" fmla="*/ 4247806 w 4560888"/>
                  <a:gd name="connsiteY62" fmla="*/ 3267073 h 4476748"/>
                  <a:gd name="connsiteX63" fmla="*/ 3757130 w 4560888"/>
                  <a:gd name="connsiteY63" fmla="*/ 3267073 h 4476748"/>
                  <a:gd name="connsiteX64" fmla="*/ 4039084 w 4560888"/>
                  <a:gd name="connsiteY64" fmla="*/ 3267073 h 4476748"/>
                  <a:gd name="connsiteX65" fmla="*/ 4068763 w 4560888"/>
                  <a:gd name="connsiteY65" fmla="*/ 3296907 h 4476748"/>
                  <a:gd name="connsiteX66" fmla="*/ 4068763 w 4560888"/>
                  <a:gd name="connsiteY66" fmla="*/ 3583314 h 4476748"/>
                  <a:gd name="connsiteX67" fmla="*/ 4039084 w 4560888"/>
                  <a:gd name="connsiteY67" fmla="*/ 3613148 h 4476748"/>
                  <a:gd name="connsiteX68" fmla="*/ 3757130 w 4560888"/>
                  <a:gd name="connsiteY68" fmla="*/ 3613148 h 4476748"/>
                  <a:gd name="connsiteX69" fmla="*/ 3727450 w 4560888"/>
                  <a:gd name="connsiteY69" fmla="*/ 3583314 h 4476748"/>
                  <a:gd name="connsiteX70" fmla="*/ 3727450 w 4560888"/>
                  <a:gd name="connsiteY70" fmla="*/ 3296907 h 4476748"/>
                  <a:gd name="connsiteX71" fmla="*/ 3757130 w 4560888"/>
                  <a:gd name="connsiteY71" fmla="*/ 3267073 h 4476748"/>
                  <a:gd name="connsiteX72" fmla="*/ 3261968 w 4560888"/>
                  <a:gd name="connsiteY72" fmla="*/ 3267073 h 4476748"/>
                  <a:gd name="connsiteX73" fmla="*/ 3545233 w 4560888"/>
                  <a:gd name="connsiteY73" fmla="*/ 3267073 h 4476748"/>
                  <a:gd name="connsiteX74" fmla="*/ 3575050 w 4560888"/>
                  <a:gd name="connsiteY74" fmla="*/ 3296907 h 4476748"/>
                  <a:gd name="connsiteX75" fmla="*/ 3575050 w 4560888"/>
                  <a:gd name="connsiteY75" fmla="*/ 3583314 h 4476748"/>
                  <a:gd name="connsiteX76" fmla="*/ 3545233 w 4560888"/>
                  <a:gd name="connsiteY76" fmla="*/ 3613148 h 4476748"/>
                  <a:gd name="connsiteX77" fmla="*/ 3261968 w 4560888"/>
                  <a:gd name="connsiteY77" fmla="*/ 3613148 h 4476748"/>
                  <a:gd name="connsiteX78" fmla="*/ 3232150 w 4560888"/>
                  <a:gd name="connsiteY78" fmla="*/ 3583314 h 4476748"/>
                  <a:gd name="connsiteX79" fmla="*/ 3232150 w 4560888"/>
                  <a:gd name="connsiteY79" fmla="*/ 3296907 h 4476748"/>
                  <a:gd name="connsiteX80" fmla="*/ 3261968 w 4560888"/>
                  <a:gd name="connsiteY80" fmla="*/ 3267073 h 4476748"/>
                  <a:gd name="connsiteX81" fmla="*/ 1015517 w 4560888"/>
                  <a:gd name="connsiteY81" fmla="*/ 3267073 h 4476748"/>
                  <a:gd name="connsiteX82" fmla="*/ 1297471 w 4560888"/>
                  <a:gd name="connsiteY82" fmla="*/ 3267073 h 4476748"/>
                  <a:gd name="connsiteX83" fmla="*/ 1327151 w 4560888"/>
                  <a:gd name="connsiteY83" fmla="*/ 3296907 h 4476748"/>
                  <a:gd name="connsiteX84" fmla="*/ 1327151 w 4560888"/>
                  <a:gd name="connsiteY84" fmla="*/ 3583314 h 4476748"/>
                  <a:gd name="connsiteX85" fmla="*/ 1297471 w 4560888"/>
                  <a:gd name="connsiteY85" fmla="*/ 3613148 h 4476748"/>
                  <a:gd name="connsiteX86" fmla="*/ 1015517 w 4560888"/>
                  <a:gd name="connsiteY86" fmla="*/ 3613148 h 4476748"/>
                  <a:gd name="connsiteX87" fmla="*/ 985838 w 4560888"/>
                  <a:gd name="connsiteY87" fmla="*/ 3583314 h 4476748"/>
                  <a:gd name="connsiteX88" fmla="*/ 985838 w 4560888"/>
                  <a:gd name="connsiteY88" fmla="*/ 3296907 h 4476748"/>
                  <a:gd name="connsiteX89" fmla="*/ 1015517 w 4560888"/>
                  <a:gd name="connsiteY89" fmla="*/ 3267073 h 4476748"/>
                  <a:gd name="connsiteX90" fmla="*/ 523547 w 4560888"/>
                  <a:gd name="connsiteY90" fmla="*/ 3267073 h 4476748"/>
                  <a:gd name="connsiteX91" fmla="*/ 809954 w 4560888"/>
                  <a:gd name="connsiteY91" fmla="*/ 3267073 h 4476748"/>
                  <a:gd name="connsiteX92" fmla="*/ 839788 w 4560888"/>
                  <a:gd name="connsiteY92" fmla="*/ 3296907 h 4476748"/>
                  <a:gd name="connsiteX93" fmla="*/ 839788 w 4560888"/>
                  <a:gd name="connsiteY93" fmla="*/ 3583314 h 4476748"/>
                  <a:gd name="connsiteX94" fmla="*/ 809954 w 4560888"/>
                  <a:gd name="connsiteY94" fmla="*/ 3613148 h 4476748"/>
                  <a:gd name="connsiteX95" fmla="*/ 523547 w 4560888"/>
                  <a:gd name="connsiteY95" fmla="*/ 3613148 h 4476748"/>
                  <a:gd name="connsiteX96" fmla="*/ 493713 w 4560888"/>
                  <a:gd name="connsiteY96" fmla="*/ 3583314 h 4476748"/>
                  <a:gd name="connsiteX97" fmla="*/ 493713 w 4560888"/>
                  <a:gd name="connsiteY97" fmla="*/ 3296907 h 4476748"/>
                  <a:gd name="connsiteX98" fmla="*/ 523547 w 4560888"/>
                  <a:gd name="connsiteY98" fmla="*/ 3267073 h 4476748"/>
                  <a:gd name="connsiteX99" fmla="*/ 29817 w 4560888"/>
                  <a:gd name="connsiteY99" fmla="*/ 3267073 h 4476748"/>
                  <a:gd name="connsiteX100" fmla="*/ 313082 w 4560888"/>
                  <a:gd name="connsiteY100" fmla="*/ 3267073 h 4476748"/>
                  <a:gd name="connsiteX101" fmla="*/ 342900 w 4560888"/>
                  <a:gd name="connsiteY101" fmla="*/ 3296907 h 4476748"/>
                  <a:gd name="connsiteX102" fmla="*/ 342900 w 4560888"/>
                  <a:gd name="connsiteY102" fmla="*/ 3583314 h 4476748"/>
                  <a:gd name="connsiteX103" fmla="*/ 313082 w 4560888"/>
                  <a:gd name="connsiteY103" fmla="*/ 3613148 h 4476748"/>
                  <a:gd name="connsiteX104" fmla="*/ 29817 w 4560888"/>
                  <a:gd name="connsiteY104" fmla="*/ 3613148 h 4476748"/>
                  <a:gd name="connsiteX105" fmla="*/ 0 w 4560888"/>
                  <a:gd name="connsiteY105" fmla="*/ 3583314 h 4476748"/>
                  <a:gd name="connsiteX106" fmla="*/ 0 w 4560888"/>
                  <a:gd name="connsiteY106" fmla="*/ 3296907 h 4476748"/>
                  <a:gd name="connsiteX107" fmla="*/ 29817 w 4560888"/>
                  <a:gd name="connsiteY107" fmla="*/ 3267073 h 4476748"/>
                  <a:gd name="connsiteX108" fmla="*/ 2286000 w 4560888"/>
                  <a:gd name="connsiteY108" fmla="*/ 3255960 h 4476748"/>
                  <a:gd name="connsiteX109" fmla="*/ 2705100 w 4560888"/>
                  <a:gd name="connsiteY109" fmla="*/ 3532871 h 4476748"/>
                  <a:gd name="connsiteX110" fmla="*/ 2705100 w 4560888"/>
                  <a:gd name="connsiteY110" fmla="*/ 4476748 h 4476748"/>
                  <a:gd name="connsiteX111" fmla="*/ 1866900 w 4560888"/>
                  <a:gd name="connsiteY111" fmla="*/ 4476748 h 4476748"/>
                  <a:gd name="connsiteX112" fmla="*/ 1866900 w 4560888"/>
                  <a:gd name="connsiteY112" fmla="*/ 3532871 h 4476748"/>
                  <a:gd name="connsiteX113" fmla="*/ 2286000 w 4560888"/>
                  <a:gd name="connsiteY113" fmla="*/ 3255960 h 4476748"/>
                  <a:gd name="connsiteX114" fmla="*/ 3757130 w 4560888"/>
                  <a:gd name="connsiteY114" fmla="*/ 2633660 h 4476748"/>
                  <a:gd name="connsiteX115" fmla="*/ 4039084 w 4560888"/>
                  <a:gd name="connsiteY115" fmla="*/ 2633660 h 4476748"/>
                  <a:gd name="connsiteX116" fmla="*/ 4068763 w 4560888"/>
                  <a:gd name="connsiteY116" fmla="*/ 2663443 h 4476748"/>
                  <a:gd name="connsiteX117" fmla="*/ 4068763 w 4560888"/>
                  <a:gd name="connsiteY117" fmla="*/ 2940427 h 4476748"/>
                  <a:gd name="connsiteX118" fmla="*/ 4039084 w 4560888"/>
                  <a:gd name="connsiteY118" fmla="*/ 2970210 h 4476748"/>
                  <a:gd name="connsiteX119" fmla="*/ 3757130 w 4560888"/>
                  <a:gd name="connsiteY119" fmla="*/ 2970210 h 4476748"/>
                  <a:gd name="connsiteX120" fmla="*/ 3727450 w 4560888"/>
                  <a:gd name="connsiteY120" fmla="*/ 2940427 h 4476748"/>
                  <a:gd name="connsiteX121" fmla="*/ 3727450 w 4560888"/>
                  <a:gd name="connsiteY121" fmla="*/ 2663443 h 4476748"/>
                  <a:gd name="connsiteX122" fmla="*/ 3757130 w 4560888"/>
                  <a:gd name="connsiteY122" fmla="*/ 2633660 h 4476748"/>
                  <a:gd name="connsiteX123" fmla="*/ 3274530 w 4560888"/>
                  <a:gd name="connsiteY123" fmla="*/ 2633660 h 4476748"/>
                  <a:gd name="connsiteX124" fmla="*/ 3556484 w 4560888"/>
                  <a:gd name="connsiteY124" fmla="*/ 2633660 h 4476748"/>
                  <a:gd name="connsiteX125" fmla="*/ 3586163 w 4560888"/>
                  <a:gd name="connsiteY125" fmla="*/ 2663443 h 4476748"/>
                  <a:gd name="connsiteX126" fmla="*/ 3586163 w 4560888"/>
                  <a:gd name="connsiteY126" fmla="*/ 2940427 h 4476748"/>
                  <a:gd name="connsiteX127" fmla="*/ 3556484 w 4560888"/>
                  <a:gd name="connsiteY127" fmla="*/ 2970210 h 4476748"/>
                  <a:gd name="connsiteX128" fmla="*/ 3274530 w 4560888"/>
                  <a:gd name="connsiteY128" fmla="*/ 2970210 h 4476748"/>
                  <a:gd name="connsiteX129" fmla="*/ 3244850 w 4560888"/>
                  <a:gd name="connsiteY129" fmla="*/ 2940427 h 4476748"/>
                  <a:gd name="connsiteX130" fmla="*/ 3244850 w 4560888"/>
                  <a:gd name="connsiteY130" fmla="*/ 2663443 h 4476748"/>
                  <a:gd name="connsiteX131" fmla="*/ 3274530 w 4560888"/>
                  <a:gd name="connsiteY131" fmla="*/ 2633660 h 4476748"/>
                  <a:gd name="connsiteX132" fmla="*/ 2774468 w 4560888"/>
                  <a:gd name="connsiteY132" fmla="*/ 2633660 h 4476748"/>
                  <a:gd name="connsiteX133" fmla="*/ 3056422 w 4560888"/>
                  <a:gd name="connsiteY133" fmla="*/ 2633660 h 4476748"/>
                  <a:gd name="connsiteX134" fmla="*/ 3086101 w 4560888"/>
                  <a:gd name="connsiteY134" fmla="*/ 2663443 h 4476748"/>
                  <a:gd name="connsiteX135" fmla="*/ 3086101 w 4560888"/>
                  <a:gd name="connsiteY135" fmla="*/ 2940427 h 4476748"/>
                  <a:gd name="connsiteX136" fmla="*/ 3056422 w 4560888"/>
                  <a:gd name="connsiteY136" fmla="*/ 2970210 h 4476748"/>
                  <a:gd name="connsiteX137" fmla="*/ 2774468 w 4560888"/>
                  <a:gd name="connsiteY137" fmla="*/ 2970210 h 4476748"/>
                  <a:gd name="connsiteX138" fmla="*/ 2744788 w 4560888"/>
                  <a:gd name="connsiteY138" fmla="*/ 2940427 h 4476748"/>
                  <a:gd name="connsiteX139" fmla="*/ 2744788 w 4560888"/>
                  <a:gd name="connsiteY139" fmla="*/ 2663443 h 4476748"/>
                  <a:gd name="connsiteX140" fmla="*/ 2774468 w 4560888"/>
                  <a:gd name="connsiteY140" fmla="*/ 2633660 h 4476748"/>
                  <a:gd name="connsiteX141" fmla="*/ 1526847 w 4560888"/>
                  <a:gd name="connsiteY141" fmla="*/ 2633660 h 4476748"/>
                  <a:gd name="connsiteX142" fmla="*/ 1813254 w 4560888"/>
                  <a:gd name="connsiteY142" fmla="*/ 2633660 h 4476748"/>
                  <a:gd name="connsiteX143" fmla="*/ 1843088 w 4560888"/>
                  <a:gd name="connsiteY143" fmla="*/ 2663443 h 4476748"/>
                  <a:gd name="connsiteX144" fmla="*/ 1843088 w 4560888"/>
                  <a:gd name="connsiteY144" fmla="*/ 2940427 h 4476748"/>
                  <a:gd name="connsiteX145" fmla="*/ 1813254 w 4560888"/>
                  <a:gd name="connsiteY145" fmla="*/ 2970210 h 4476748"/>
                  <a:gd name="connsiteX146" fmla="*/ 1526847 w 4560888"/>
                  <a:gd name="connsiteY146" fmla="*/ 2970210 h 4476748"/>
                  <a:gd name="connsiteX147" fmla="*/ 1497013 w 4560888"/>
                  <a:gd name="connsiteY147" fmla="*/ 2940427 h 4476748"/>
                  <a:gd name="connsiteX148" fmla="*/ 1497013 w 4560888"/>
                  <a:gd name="connsiteY148" fmla="*/ 2663443 h 4476748"/>
                  <a:gd name="connsiteX149" fmla="*/ 1526847 w 4560888"/>
                  <a:gd name="connsiteY149" fmla="*/ 2633660 h 4476748"/>
                  <a:gd name="connsiteX150" fmla="*/ 1039329 w 4560888"/>
                  <a:gd name="connsiteY150" fmla="*/ 2633660 h 4476748"/>
                  <a:gd name="connsiteX151" fmla="*/ 1321283 w 4560888"/>
                  <a:gd name="connsiteY151" fmla="*/ 2633660 h 4476748"/>
                  <a:gd name="connsiteX152" fmla="*/ 1350963 w 4560888"/>
                  <a:gd name="connsiteY152" fmla="*/ 2663443 h 4476748"/>
                  <a:gd name="connsiteX153" fmla="*/ 1350963 w 4560888"/>
                  <a:gd name="connsiteY153" fmla="*/ 2940427 h 4476748"/>
                  <a:gd name="connsiteX154" fmla="*/ 1321283 w 4560888"/>
                  <a:gd name="connsiteY154" fmla="*/ 2970210 h 4476748"/>
                  <a:gd name="connsiteX155" fmla="*/ 1039329 w 4560888"/>
                  <a:gd name="connsiteY155" fmla="*/ 2970210 h 4476748"/>
                  <a:gd name="connsiteX156" fmla="*/ 1009650 w 4560888"/>
                  <a:gd name="connsiteY156" fmla="*/ 2940427 h 4476748"/>
                  <a:gd name="connsiteX157" fmla="*/ 1009650 w 4560888"/>
                  <a:gd name="connsiteY157" fmla="*/ 2663443 h 4476748"/>
                  <a:gd name="connsiteX158" fmla="*/ 1039329 w 4560888"/>
                  <a:gd name="connsiteY158" fmla="*/ 2633660 h 4476748"/>
                  <a:gd name="connsiteX159" fmla="*/ 544167 w 4560888"/>
                  <a:gd name="connsiteY159" fmla="*/ 2633660 h 4476748"/>
                  <a:gd name="connsiteX160" fmla="*/ 827432 w 4560888"/>
                  <a:gd name="connsiteY160" fmla="*/ 2633660 h 4476748"/>
                  <a:gd name="connsiteX161" fmla="*/ 857250 w 4560888"/>
                  <a:gd name="connsiteY161" fmla="*/ 2663443 h 4476748"/>
                  <a:gd name="connsiteX162" fmla="*/ 857250 w 4560888"/>
                  <a:gd name="connsiteY162" fmla="*/ 2940427 h 4476748"/>
                  <a:gd name="connsiteX163" fmla="*/ 827432 w 4560888"/>
                  <a:gd name="connsiteY163" fmla="*/ 2970210 h 4476748"/>
                  <a:gd name="connsiteX164" fmla="*/ 544167 w 4560888"/>
                  <a:gd name="connsiteY164" fmla="*/ 2970210 h 4476748"/>
                  <a:gd name="connsiteX165" fmla="*/ 514350 w 4560888"/>
                  <a:gd name="connsiteY165" fmla="*/ 2940427 h 4476748"/>
                  <a:gd name="connsiteX166" fmla="*/ 514350 w 4560888"/>
                  <a:gd name="connsiteY166" fmla="*/ 2663443 h 4476748"/>
                  <a:gd name="connsiteX167" fmla="*/ 544167 w 4560888"/>
                  <a:gd name="connsiteY167" fmla="*/ 2633660 h 4476748"/>
                  <a:gd name="connsiteX168" fmla="*/ 3757130 w 4560888"/>
                  <a:gd name="connsiteY168" fmla="*/ 2157410 h 4476748"/>
                  <a:gd name="connsiteX169" fmla="*/ 4039084 w 4560888"/>
                  <a:gd name="connsiteY169" fmla="*/ 2157410 h 4476748"/>
                  <a:gd name="connsiteX170" fmla="*/ 4068763 w 4560888"/>
                  <a:gd name="connsiteY170" fmla="*/ 2187228 h 4476748"/>
                  <a:gd name="connsiteX171" fmla="*/ 4068763 w 4560888"/>
                  <a:gd name="connsiteY171" fmla="*/ 2470493 h 4476748"/>
                  <a:gd name="connsiteX172" fmla="*/ 4039084 w 4560888"/>
                  <a:gd name="connsiteY172" fmla="*/ 2500310 h 4476748"/>
                  <a:gd name="connsiteX173" fmla="*/ 3757130 w 4560888"/>
                  <a:gd name="connsiteY173" fmla="*/ 2500310 h 4476748"/>
                  <a:gd name="connsiteX174" fmla="*/ 3727450 w 4560888"/>
                  <a:gd name="connsiteY174" fmla="*/ 2470493 h 4476748"/>
                  <a:gd name="connsiteX175" fmla="*/ 3727450 w 4560888"/>
                  <a:gd name="connsiteY175" fmla="*/ 2187228 h 4476748"/>
                  <a:gd name="connsiteX176" fmla="*/ 3757130 w 4560888"/>
                  <a:gd name="connsiteY176" fmla="*/ 2157410 h 4476748"/>
                  <a:gd name="connsiteX177" fmla="*/ 3274530 w 4560888"/>
                  <a:gd name="connsiteY177" fmla="*/ 2157410 h 4476748"/>
                  <a:gd name="connsiteX178" fmla="*/ 3556484 w 4560888"/>
                  <a:gd name="connsiteY178" fmla="*/ 2157410 h 4476748"/>
                  <a:gd name="connsiteX179" fmla="*/ 3586163 w 4560888"/>
                  <a:gd name="connsiteY179" fmla="*/ 2187228 h 4476748"/>
                  <a:gd name="connsiteX180" fmla="*/ 3586163 w 4560888"/>
                  <a:gd name="connsiteY180" fmla="*/ 2470493 h 4476748"/>
                  <a:gd name="connsiteX181" fmla="*/ 3556484 w 4560888"/>
                  <a:gd name="connsiteY181" fmla="*/ 2500310 h 4476748"/>
                  <a:gd name="connsiteX182" fmla="*/ 3274530 w 4560888"/>
                  <a:gd name="connsiteY182" fmla="*/ 2500310 h 4476748"/>
                  <a:gd name="connsiteX183" fmla="*/ 3244850 w 4560888"/>
                  <a:gd name="connsiteY183" fmla="*/ 2470493 h 4476748"/>
                  <a:gd name="connsiteX184" fmla="*/ 3244850 w 4560888"/>
                  <a:gd name="connsiteY184" fmla="*/ 2187228 h 4476748"/>
                  <a:gd name="connsiteX185" fmla="*/ 3274530 w 4560888"/>
                  <a:gd name="connsiteY185" fmla="*/ 2157410 h 4476748"/>
                  <a:gd name="connsiteX186" fmla="*/ 2774468 w 4560888"/>
                  <a:gd name="connsiteY186" fmla="*/ 2157410 h 4476748"/>
                  <a:gd name="connsiteX187" fmla="*/ 3056422 w 4560888"/>
                  <a:gd name="connsiteY187" fmla="*/ 2157410 h 4476748"/>
                  <a:gd name="connsiteX188" fmla="*/ 3086101 w 4560888"/>
                  <a:gd name="connsiteY188" fmla="*/ 2187228 h 4476748"/>
                  <a:gd name="connsiteX189" fmla="*/ 3086101 w 4560888"/>
                  <a:gd name="connsiteY189" fmla="*/ 2470493 h 4476748"/>
                  <a:gd name="connsiteX190" fmla="*/ 3056422 w 4560888"/>
                  <a:gd name="connsiteY190" fmla="*/ 2500310 h 4476748"/>
                  <a:gd name="connsiteX191" fmla="*/ 2774468 w 4560888"/>
                  <a:gd name="connsiteY191" fmla="*/ 2500310 h 4476748"/>
                  <a:gd name="connsiteX192" fmla="*/ 2744788 w 4560888"/>
                  <a:gd name="connsiteY192" fmla="*/ 2470493 h 4476748"/>
                  <a:gd name="connsiteX193" fmla="*/ 2744788 w 4560888"/>
                  <a:gd name="connsiteY193" fmla="*/ 2187228 h 4476748"/>
                  <a:gd name="connsiteX194" fmla="*/ 2774468 w 4560888"/>
                  <a:gd name="connsiteY194" fmla="*/ 2157410 h 4476748"/>
                  <a:gd name="connsiteX195" fmla="*/ 1526847 w 4560888"/>
                  <a:gd name="connsiteY195" fmla="*/ 2157410 h 4476748"/>
                  <a:gd name="connsiteX196" fmla="*/ 1813254 w 4560888"/>
                  <a:gd name="connsiteY196" fmla="*/ 2157410 h 4476748"/>
                  <a:gd name="connsiteX197" fmla="*/ 1843088 w 4560888"/>
                  <a:gd name="connsiteY197" fmla="*/ 2187228 h 4476748"/>
                  <a:gd name="connsiteX198" fmla="*/ 1843088 w 4560888"/>
                  <a:gd name="connsiteY198" fmla="*/ 2470493 h 4476748"/>
                  <a:gd name="connsiteX199" fmla="*/ 1813254 w 4560888"/>
                  <a:gd name="connsiteY199" fmla="*/ 2500310 h 4476748"/>
                  <a:gd name="connsiteX200" fmla="*/ 1526847 w 4560888"/>
                  <a:gd name="connsiteY200" fmla="*/ 2500310 h 4476748"/>
                  <a:gd name="connsiteX201" fmla="*/ 1497013 w 4560888"/>
                  <a:gd name="connsiteY201" fmla="*/ 2470493 h 4476748"/>
                  <a:gd name="connsiteX202" fmla="*/ 1497013 w 4560888"/>
                  <a:gd name="connsiteY202" fmla="*/ 2187228 h 4476748"/>
                  <a:gd name="connsiteX203" fmla="*/ 1526847 w 4560888"/>
                  <a:gd name="connsiteY203" fmla="*/ 2157410 h 4476748"/>
                  <a:gd name="connsiteX204" fmla="*/ 1039329 w 4560888"/>
                  <a:gd name="connsiteY204" fmla="*/ 2157410 h 4476748"/>
                  <a:gd name="connsiteX205" fmla="*/ 1321283 w 4560888"/>
                  <a:gd name="connsiteY205" fmla="*/ 2157410 h 4476748"/>
                  <a:gd name="connsiteX206" fmla="*/ 1350963 w 4560888"/>
                  <a:gd name="connsiteY206" fmla="*/ 2187228 h 4476748"/>
                  <a:gd name="connsiteX207" fmla="*/ 1350963 w 4560888"/>
                  <a:gd name="connsiteY207" fmla="*/ 2470493 h 4476748"/>
                  <a:gd name="connsiteX208" fmla="*/ 1321283 w 4560888"/>
                  <a:gd name="connsiteY208" fmla="*/ 2500310 h 4476748"/>
                  <a:gd name="connsiteX209" fmla="*/ 1039329 w 4560888"/>
                  <a:gd name="connsiteY209" fmla="*/ 2500310 h 4476748"/>
                  <a:gd name="connsiteX210" fmla="*/ 1009650 w 4560888"/>
                  <a:gd name="connsiteY210" fmla="*/ 2470493 h 4476748"/>
                  <a:gd name="connsiteX211" fmla="*/ 1009650 w 4560888"/>
                  <a:gd name="connsiteY211" fmla="*/ 2187228 h 4476748"/>
                  <a:gd name="connsiteX212" fmla="*/ 1039329 w 4560888"/>
                  <a:gd name="connsiteY212" fmla="*/ 2157410 h 4476748"/>
                  <a:gd name="connsiteX213" fmla="*/ 544167 w 4560888"/>
                  <a:gd name="connsiteY213" fmla="*/ 2157410 h 4476748"/>
                  <a:gd name="connsiteX214" fmla="*/ 827432 w 4560888"/>
                  <a:gd name="connsiteY214" fmla="*/ 2157410 h 4476748"/>
                  <a:gd name="connsiteX215" fmla="*/ 857250 w 4560888"/>
                  <a:gd name="connsiteY215" fmla="*/ 2187228 h 4476748"/>
                  <a:gd name="connsiteX216" fmla="*/ 857250 w 4560888"/>
                  <a:gd name="connsiteY216" fmla="*/ 2470493 h 4476748"/>
                  <a:gd name="connsiteX217" fmla="*/ 827432 w 4560888"/>
                  <a:gd name="connsiteY217" fmla="*/ 2500310 h 4476748"/>
                  <a:gd name="connsiteX218" fmla="*/ 544167 w 4560888"/>
                  <a:gd name="connsiteY218" fmla="*/ 2500310 h 4476748"/>
                  <a:gd name="connsiteX219" fmla="*/ 514350 w 4560888"/>
                  <a:gd name="connsiteY219" fmla="*/ 2470493 h 4476748"/>
                  <a:gd name="connsiteX220" fmla="*/ 514350 w 4560888"/>
                  <a:gd name="connsiteY220" fmla="*/ 2187228 h 4476748"/>
                  <a:gd name="connsiteX221" fmla="*/ 544167 w 4560888"/>
                  <a:gd name="connsiteY221" fmla="*/ 2157410 h 4476748"/>
                  <a:gd name="connsiteX222" fmla="*/ 2274189 w 4560888"/>
                  <a:gd name="connsiteY222" fmla="*/ 1470023 h 4476748"/>
                  <a:gd name="connsiteX223" fmla="*/ 2238375 w 4560888"/>
                  <a:gd name="connsiteY223" fmla="*/ 1505687 h 4476748"/>
                  <a:gd name="connsiteX224" fmla="*/ 2238375 w 4560888"/>
                  <a:gd name="connsiteY224" fmla="*/ 1689948 h 4476748"/>
                  <a:gd name="connsiteX225" fmla="*/ 2274189 w 4560888"/>
                  <a:gd name="connsiteY225" fmla="*/ 1725611 h 4476748"/>
                  <a:gd name="connsiteX226" fmla="*/ 2429384 w 4560888"/>
                  <a:gd name="connsiteY226" fmla="*/ 1725611 h 4476748"/>
                  <a:gd name="connsiteX227" fmla="*/ 2462213 w 4560888"/>
                  <a:gd name="connsiteY227" fmla="*/ 1689948 h 4476748"/>
                  <a:gd name="connsiteX228" fmla="*/ 2429384 w 4560888"/>
                  <a:gd name="connsiteY228" fmla="*/ 1654284 h 4476748"/>
                  <a:gd name="connsiteX229" fmla="*/ 2310003 w 4560888"/>
                  <a:gd name="connsiteY229" fmla="*/ 1654284 h 4476748"/>
                  <a:gd name="connsiteX230" fmla="*/ 2310003 w 4560888"/>
                  <a:gd name="connsiteY230" fmla="*/ 1505687 h 4476748"/>
                  <a:gd name="connsiteX231" fmla="*/ 2274189 w 4560888"/>
                  <a:gd name="connsiteY231" fmla="*/ 1470023 h 4476748"/>
                  <a:gd name="connsiteX232" fmla="*/ 2286000 w 4560888"/>
                  <a:gd name="connsiteY232" fmla="*/ 1389060 h 4476748"/>
                  <a:gd name="connsiteX233" fmla="*/ 2571750 w 4560888"/>
                  <a:gd name="connsiteY233" fmla="*/ 1677985 h 4476748"/>
                  <a:gd name="connsiteX234" fmla="*/ 2286000 w 4560888"/>
                  <a:gd name="connsiteY234" fmla="*/ 1966910 h 4476748"/>
                  <a:gd name="connsiteX235" fmla="*/ 2000250 w 4560888"/>
                  <a:gd name="connsiteY235" fmla="*/ 1677985 h 4476748"/>
                  <a:gd name="connsiteX236" fmla="*/ 2286000 w 4560888"/>
                  <a:gd name="connsiteY236" fmla="*/ 1389060 h 4476748"/>
                  <a:gd name="connsiteX237" fmla="*/ 2232618 w 4560888"/>
                  <a:gd name="connsiteY237" fmla="*/ 0 h 4476748"/>
                  <a:gd name="connsiteX238" fmla="*/ 2327848 w 4560888"/>
                  <a:gd name="connsiteY238" fmla="*/ 0 h 4476748"/>
                  <a:gd name="connsiteX239" fmla="*/ 3119444 w 4560888"/>
                  <a:gd name="connsiteY239" fmla="*/ 0 h 4476748"/>
                  <a:gd name="connsiteX240" fmla="*/ 3131348 w 4560888"/>
                  <a:gd name="connsiteY240" fmla="*/ 29720 h 4476748"/>
                  <a:gd name="connsiteX241" fmla="*/ 2928985 w 4560888"/>
                  <a:gd name="connsiteY241" fmla="*/ 231817 h 4476748"/>
                  <a:gd name="connsiteX242" fmla="*/ 2928985 w 4560888"/>
                  <a:gd name="connsiteY242" fmla="*/ 255593 h 4476748"/>
                  <a:gd name="connsiteX243" fmla="*/ 3131348 w 4560888"/>
                  <a:gd name="connsiteY243" fmla="*/ 457689 h 4476748"/>
                  <a:gd name="connsiteX244" fmla="*/ 3119444 w 4560888"/>
                  <a:gd name="connsiteY244" fmla="*/ 487409 h 4476748"/>
                  <a:gd name="connsiteX245" fmla="*/ 2360583 w 4560888"/>
                  <a:gd name="connsiteY245" fmla="*/ 487409 h 4476748"/>
                  <a:gd name="connsiteX246" fmla="*/ 2345703 w 4560888"/>
                  <a:gd name="connsiteY246" fmla="*/ 502270 h 4476748"/>
                  <a:gd name="connsiteX247" fmla="*/ 2345703 w 4560888"/>
                  <a:gd name="connsiteY247" fmla="*/ 894575 h 4476748"/>
                  <a:gd name="connsiteX248" fmla="*/ 2324872 w 4560888"/>
                  <a:gd name="connsiteY248" fmla="*/ 879715 h 4476748"/>
                  <a:gd name="connsiteX249" fmla="*/ 2250473 w 4560888"/>
                  <a:gd name="connsiteY249" fmla="*/ 879715 h 4476748"/>
                  <a:gd name="connsiteX250" fmla="*/ 2217738 w 4560888"/>
                  <a:gd name="connsiteY250" fmla="*/ 906463 h 4476748"/>
                  <a:gd name="connsiteX251" fmla="*/ 2217738 w 4560888"/>
                  <a:gd name="connsiteY251" fmla="*/ 487409 h 4476748"/>
                  <a:gd name="connsiteX252" fmla="*/ 2217738 w 4560888"/>
                  <a:gd name="connsiteY252" fmla="*/ 17832 h 4476748"/>
                  <a:gd name="connsiteX253" fmla="*/ 2232618 w 4560888"/>
                  <a:gd name="connsiteY253" fmla="*/ 0 h 4476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</a:cxnLst>
                <a:rect l="l" t="t" r="r" b="b"/>
                <a:pathLst>
                  <a:path w="4560888" h="4476748">
                    <a:moveTo>
                      <a:pt x="4247806" y="3752848"/>
                    </a:moveTo>
                    <a:cubicBezTo>
                      <a:pt x="4531071" y="3752848"/>
                      <a:pt x="4531071" y="3752848"/>
                      <a:pt x="4531071" y="3752848"/>
                    </a:cubicBezTo>
                    <a:cubicBezTo>
                      <a:pt x="4548961" y="3752848"/>
                      <a:pt x="4560888" y="3767757"/>
                      <a:pt x="4560888" y="3782666"/>
                    </a:cubicBezTo>
                    <a:cubicBezTo>
                      <a:pt x="4560888" y="4065931"/>
                      <a:pt x="4560888" y="4065931"/>
                      <a:pt x="4560888" y="4065931"/>
                    </a:cubicBezTo>
                    <a:cubicBezTo>
                      <a:pt x="4560888" y="4083821"/>
                      <a:pt x="4548961" y="4095748"/>
                      <a:pt x="4531071" y="4095748"/>
                    </a:cubicBezTo>
                    <a:cubicBezTo>
                      <a:pt x="4247806" y="4095748"/>
                      <a:pt x="4247806" y="4095748"/>
                      <a:pt x="4247806" y="4095748"/>
                    </a:cubicBezTo>
                    <a:cubicBezTo>
                      <a:pt x="4229915" y="4095748"/>
                      <a:pt x="4217988" y="4083821"/>
                      <a:pt x="4217988" y="4065931"/>
                    </a:cubicBezTo>
                    <a:cubicBezTo>
                      <a:pt x="4217988" y="3782666"/>
                      <a:pt x="4217988" y="3782666"/>
                      <a:pt x="4217988" y="3782666"/>
                    </a:cubicBezTo>
                    <a:cubicBezTo>
                      <a:pt x="4217988" y="3767757"/>
                      <a:pt x="4229915" y="3752848"/>
                      <a:pt x="4247806" y="3752848"/>
                    </a:cubicBezTo>
                    <a:close/>
                    <a:moveTo>
                      <a:pt x="3757130" y="3752848"/>
                    </a:moveTo>
                    <a:cubicBezTo>
                      <a:pt x="4039084" y="3752848"/>
                      <a:pt x="4039084" y="3752848"/>
                      <a:pt x="4039084" y="3752848"/>
                    </a:cubicBezTo>
                    <a:cubicBezTo>
                      <a:pt x="4056891" y="3752848"/>
                      <a:pt x="4068763" y="3767757"/>
                      <a:pt x="4068763" y="3782666"/>
                    </a:cubicBezTo>
                    <a:cubicBezTo>
                      <a:pt x="4068763" y="4065931"/>
                      <a:pt x="4068763" y="4065931"/>
                      <a:pt x="4068763" y="4065931"/>
                    </a:cubicBezTo>
                    <a:cubicBezTo>
                      <a:pt x="4068763" y="4083821"/>
                      <a:pt x="4056891" y="4095748"/>
                      <a:pt x="4039084" y="4095748"/>
                    </a:cubicBezTo>
                    <a:cubicBezTo>
                      <a:pt x="3757130" y="4095748"/>
                      <a:pt x="3757130" y="4095748"/>
                      <a:pt x="3757130" y="4095748"/>
                    </a:cubicBezTo>
                    <a:cubicBezTo>
                      <a:pt x="3742290" y="4095748"/>
                      <a:pt x="3727450" y="4083821"/>
                      <a:pt x="3727450" y="4065931"/>
                    </a:cubicBezTo>
                    <a:cubicBezTo>
                      <a:pt x="3727450" y="3782666"/>
                      <a:pt x="3727450" y="3782666"/>
                      <a:pt x="3727450" y="3782666"/>
                    </a:cubicBezTo>
                    <a:cubicBezTo>
                      <a:pt x="3727450" y="3767757"/>
                      <a:pt x="3742290" y="3752848"/>
                      <a:pt x="3757130" y="3752848"/>
                    </a:cubicBezTo>
                    <a:close/>
                    <a:moveTo>
                      <a:pt x="3261968" y="3752848"/>
                    </a:moveTo>
                    <a:cubicBezTo>
                      <a:pt x="3545233" y="3752848"/>
                      <a:pt x="3545233" y="3752848"/>
                      <a:pt x="3545233" y="3752848"/>
                    </a:cubicBezTo>
                    <a:cubicBezTo>
                      <a:pt x="3560142" y="3752848"/>
                      <a:pt x="3575050" y="3767757"/>
                      <a:pt x="3575050" y="3782666"/>
                    </a:cubicBezTo>
                    <a:cubicBezTo>
                      <a:pt x="3575050" y="4065931"/>
                      <a:pt x="3575050" y="4065931"/>
                      <a:pt x="3575050" y="4065931"/>
                    </a:cubicBezTo>
                    <a:cubicBezTo>
                      <a:pt x="3575050" y="4083821"/>
                      <a:pt x="3560142" y="4095748"/>
                      <a:pt x="3545233" y="4095748"/>
                    </a:cubicBezTo>
                    <a:cubicBezTo>
                      <a:pt x="3261968" y="4095748"/>
                      <a:pt x="3261968" y="4095748"/>
                      <a:pt x="3261968" y="4095748"/>
                    </a:cubicBezTo>
                    <a:cubicBezTo>
                      <a:pt x="3244077" y="4095748"/>
                      <a:pt x="3232150" y="4083821"/>
                      <a:pt x="3232150" y="4065931"/>
                    </a:cubicBezTo>
                    <a:cubicBezTo>
                      <a:pt x="3232150" y="3782666"/>
                      <a:pt x="3232150" y="3782666"/>
                      <a:pt x="3232150" y="3782666"/>
                    </a:cubicBezTo>
                    <a:cubicBezTo>
                      <a:pt x="3232150" y="3767757"/>
                      <a:pt x="3244077" y="3752848"/>
                      <a:pt x="3261968" y="3752848"/>
                    </a:cubicBezTo>
                    <a:close/>
                    <a:moveTo>
                      <a:pt x="1015517" y="3752848"/>
                    </a:moveTo>
                    <a:cubicBezTo>
                      <a:pt x="1297471" y="3752848"/>
                      <a:pt x="1297471" y="3752848"/>
                      <a:pt x="1297471" y="3752848"/>
                    </a:cubicBezTo>
                    <a:cubicBezTo>
                      <a:pt x="1315279" y="3752848"/>
                      <a:pt x="1327151" y="3767757"/>
                      <a:pt x="1327151" y="3782666"/>
                    </a:cubicBezTo>
                    <a:cubicBezTo>
                      <a:pt x="1327151" y="4065931"/>
                      <a:pt x="1327151" y="4065931"/>
                      <a:pt x="1327151" y="4065931"/>
                    </a:cubicBezTo>
                    <a:cubicBezTo>
                      <a:pt x="1327151" y="4083821"/>
                      <a:pt x="1315279" y="4095748"/>
                      <a:pt x="1297471" y="4095748"/>
                    </a:cubicBezTo>
                    <a:cubicBezTo>
                      <a:pt x="1015517" y="4095748"/>
                      <a:pt x="1015517" y="4095748"/>
                      <a:pt x="1015517" y="4095748"/>
                    </a:cubicBezTo>
                    <a:cubicBezTo>
                      <a:pt x="1000677" y="4095748"/>
                      <a:pt x="985838" y="4083821"/>
                      <a:pt x="985838" y="4065931"/>
                    </a:cubicBezTo>
                    <a:cubicBezTo>
                      <a:pt x="985838" y="3782666"/>
                      <a:pt x="985838" y="3782666"/>
                      <a:pt x="985838" y="3782666"/>
                    </a:cubicBezTo>
                    <a:cubicBezTo>
                      <a:pt x="985838" y="3767757"/>
                      <a:pt x="1000677" y="3752848"/>
                      <a:pt x="1015517" y="3752848"/>
                    </a:cubicBezTo>
                    <a:close/>
                    <a:moveTo>
                      <a:pt x="523547" y="3752848"/>
                    </a:moveTo>
                    <a:cubicBezTo>
                      <a:pt x="809954" y="3752848"/>
                      <a:pt x="809954" y="3752848"/>
                      <a:pt x="809954" y="3752848"/>
                    </a:cubicBezTo>
                    <a:cubicBezTo>
                      <a:pt x="824871" y="3752848"/>
                      <a:pt x="839788" y="3767757"/>
                      <a:pt x="839788" y="3782666"/>
                    </a:cubicBezTo>
                    <a:cubicBezTo>
                      <a:pt x="839788" y="4065931"/>
                      <a:pt x="839788" y="4065931"/>
                      <a:pt x="839788" y="4065931"/>
                    </a:cubicBezTo>
                    <a:cubicBezTo>
                      <a:pt x="839788" y="4083821"/>
                      <a:pt x="824871" y="4095748"/>
                      <a:pt x="809954" y="4095748"/>
                    </a:cubicBezTo>
                    <a:cubicBezTo>
                      <a:pt x="523547" y="4095748"/>
                      <a:pt x="523547" y="4095748"/>
                      <a:pt x="523547" y="4095748"/>
                    </a:cubicBezTo>
                    <a:cubicBezTo>
                      <a:pt x="505646" y="4095748"/>
                      <a:pt x="493713" y="4083821"/>
                      <a:pt x="493713" y="4065931"/>
                    </a:cubicBezTo>
                    <a:cubicBezTo>
                      <a:pt x="493713" y="3782666"/>
                      <a:pt x="493713" y="3782666"/>
                      <a:pt x="493713" y="3782666"/>
                    </a:cubicBezTo>
                    <a:cubicBezTo>
                      <a:pt x="493713" y="3767757"/>
                      <a:pt x="505646" y="3752848"/>
                      <a:pt x="523547" y="3752848"/>
                    </a:cubicBezTo>
                    <a:close/>
                    <a:moveTo>
                      <a:pt x="29817" y="3752848"/>
                    </a:moveTo>
                    <a:cubicBezTo>
                      <a:pt x="313082" y="3752848"/>
                      <a:pt x="313082" y="3752848"/>
                      <a:pt x="313082" y="3752848"/>
                    </a:cubicBezTo>
                    <a:cubicBezTo>
                      <a:pt x="330973" y="3752848"/>
                      <a:pt x="342900" y="3767757"/>
                      <a:pt x="342900" y="3782666"/>
                    </a:cubicBezTo>
                    <a:cubicBezTo>
                      <a:pt x="342900" y="4065931"/>
                      <a:pt x="342900" y="4065931"/>
                      <a:pt x="342900" y="4065931"/>
                    </a:cubicBezTo>
                    <a:cubicBezTo>
                      <a:pt x="342900" y="4083821"/>
                      <a:pt x="330973" y="4095748"/>
                      <a:pt x="313082" y="4095748"/>
                    </a:cubicBezTo>
                    <a:cubicBezTo>
                      <a:pt x="29817" y="4095748"/>
                      <a:pt x="29817" y="4095748"/>
                      <a:pt x="29817" y="4095748"/>
                    </a:cubicBezTo>
                    <a:cubicBezTo>
                      <a:pt x="14909" y="4095748"/>
                      <a:pt x="0" y="4083821"/>
                      <a:pt x="0" y="4065931"/>
                    </a:cubicBezTo>
                    <a:cubicBezTo>
                      <a:pt x="0" y="3782666"/>
                      <a:pt x="0" y="3782666"/>
                      <a:pt x="0" y="3782666"/>
                    </a:cubicBezTo>
                    <a:cubicBezTo>
                      <a:pt x="0" y="3767757"/>
                      <a:pt x="14909" y="3752848"/>
                      <a:pt x="29817" y="3752848"/>
                    </a:cubicBezTo>
                    <a:close/>
                    <a:moveTo>
                      <a:pt x="4247806" y="3267073"/>
                    </a:moveTo>
                    <a:cubicBezTo>
                      <a:pt x="4531071" y="3267073"/>
                      <a:pt x="4531071" y="3267073"/>
                      <a:pt x="4531071" y="3267073"/>
                    </a:cubicBezTo>
                    <a:cubicBezTo>
                      <a:pt x="4548961" y="3267073"/>
                      <a:pt x="4560888" y="3281990"/>
                      <a:pt x="4560888" y="3296907"/>
                    </a:cubicBezTo>
                    <a:cubicBezTo>
                      <a:pt x="4560888" y="3583314"/>
                      <a:pt x="4560888" y="3583314"/>
                      <a:pt x="4560888" y="3583314"/>
                    </a:cubicBezTo>
                    <a:cubicBezTo>
                      <a:pt x="4560888" y="3601215"/>
                      <a:pt x="4548961" y="3613148"/>
                      <a:pt x="4531071" y="3613148"/>
                    </a:cubicBezTo>
                    <a:cubicBezTo>
                      <a:pt x="4247806" y="3613148"/>
                      <a:pt x="4247806" y="3613148"/>
                      <a:pt x="4247806" y="3613148"/>
                    </a:cubicBezTo>
                    <a:cubicBezTo>
                      <a:pt x="4229915" y="3613148"/>
                      <a:pt x="4217988" y="3601215"/>
                      <a:pt x="4217988" y="3583314"/>
                    </a:cubicBezTo>
                    <a:cubicBezTo>
                      <a:pt x="4217988" y="3296907"/>
                      <a:pt x="4217988" y="3296907"/>
                      <a:pt x="4217988" y="3296907"/>
                    </a:cubicBezTo>
                    <a:cubicBezTo>
                      <a:pt x="4217988" y="3281990"/>
                      <a:pt x="4229915" y="3267073"/>
                      <a:pt x="4247806" y="3267073"/>
                    </a:cubicBezTo>
                    <a:close/>
                    <a:moveTo>
                      <a:pt x="3757130" y="3267073"/>
                    </a:moveTo>
                    <a:cubicBezTo>
                      <a:pt x="4039084" y="3267073"/>
                      <a:pt x="4039084" y="3267073"/>
                      <a:pt x="4039084" y="3267073"/>
                    </a:cubicBezTo>
                    <a:cubicBezTo>
                      <a:pt x="4056891" y="3267073"/>
                      <a:pt x="4068763" y="3281990"/>
                      <a:pt x="4068763" y="3296907"/>
                    </a:cubicBezTo>
                    <a:cubicBezTo>
                      <a:pt x="4068763" y="3583314"/>
                      <a:pt x="4068763" y="3583314"/>
                      <a:pt x="4068763" y="3583314"/>
                    </a:cubicBezTo>
                    <a:cubicBezTo>
                      <a:pt x="4068763" y="3601215"/>
                      <a:pt x="4056891" y="3613148"/>
                      <a:pt x="4039084" y="3613148"/>
                    </a:cubicBezTo>
                    <a:cubicBezTo>
                      <a:pt x="3757130" y="3613148"/>
                      <a:pt x="3757130" y="3613148"/>
                      <a:pt x="3757130" y="3613148"/>
                    </a:cubicBezTo>
                    <a:cubicBezTo>
                      <a:pt x="3742290" y="3613148"/>
                      <a:pt x="3727450" y="3601215"/>
                      <a:pt x="3727450" y="3583314"/>
                    </a:cubicBezTo>
                    <a:cubicBezTo>
                      <a:pt x="3727450" y="3296907"/>
                      <a:pt x="3727450" y="3296907"/>
                      <a:pt x="3727450" y="3296907"/>
                    </a:cubicBezTo>
                    <a:cubicBezTo>
                      <a:pt x="3727450" y="3281990"/>
                      <a:pt x="3742290" y="3267073"/>
                      <a:pt x="3757130" y="3267073"/>
                    </a:cubicBezTo>
                    <a:close/>
                    <a:moveTo>
                      <a:pt x="3261968" y="3267073"/>
                    </a:moveTo>
                    <a:cubicBezTo>
                      <a:pt x="3545233" y="3267073"/>
                      <a:pt x="3545233" y="3267073"/>
                      <a:pt x="3545233" y="3267073"/>
                    </a:cubicBezTo>
                    <a:cubicBezTo>
                      <a:pt x="3560142" y="3267073"/>
                      <a:pt x="3575050" y="3281990"/>
                      <a:pt x="3575050" y="3296907"/>
                    </a:cubicBezTo>
                    <a:cubicBezTo>
                      <a:pt x="3575050" y="3583314"/>
                      <a:pt x="3575050" y="3583314"/>
                      <a:pt x="3575050" y="3583314"/>
                    </a:cubicBezTo>
                    <a:cubicBezTo>
                      <a:pt x="3575050" y="3601215"/>
                      <a:pt x="3560142" y="3613148"/>
                      <a:pt x="3545233" y="3613148"/>
                    </a:cubicBezTo>
                    <a:cubicBezTo>
                      <a:pt x="3261968" y="3613148"/>
                      <a:pt x="3261968" y="3613148"/>
                      <a:pt x="3261968" y="3613148"/>
                    </a:cubicBezTo>
                    <a:cubicBezTo>
                      <a:pt x="3244077" y="3613148"/>
                      <a:pt x="3232150" y="3601215"/>
                      <a:pt x="3232150" y="3583314"/>
                    </a:cubicBezTo>
                    <a:cubicBezTo>
                      <a:pt x="3232150" y="3296907"/>
                      <a:pt x="3232150" y="3296907"/>
                      <a:pt x="3232150" y="3296907"/>
                    </a:cubicBezTo>
                    <a:cubicBezTo>
                      <a:pt x="3232150" y="3281990"/>
                      <a:pt x="3244077" y="3267073"/>
                      <a:pt x="3261968" y="3267073"/>
                    </a:cubicBezTo>
                    <a:close/>
                    <a:moveTo>
                      <a:pt x="1015517" y="3267073"/>
                    </a:moveTo>
                    <a:cubicBezTo>
                      <a:pt x="1297471" y="3267073"/>
                      <a:pt x="1297471" y="3267073"/>
                      <a:pt x="1297471" y="3267073"/>
                    </a:cubicBezTo>
                    <a:cubicBezTo>
                      <a:pt x="1315279" y="3267073"/>
                      <a:pt x="1327151" y="3281990"/>
                      <a:pt x="1327151" y="3296907"/>
                    </a:cubicBezTo>
                    <a:cubicBezTo>
                      <a:pt x="1327151" y="3583314"/>
                      <a:pt x="1327151" y="3583314"/>
                      <a:pt x="1327151" y="3583314"/>
                    </a:cubicBezTo>
                    <a:cubicBezTo>
                      <a:pt x="1327151" y="3601215"/>
                      <a:pt x="1315279" y="3613148"/>
                      <a:pt x="1297471" y="3613148"/>
                    </a:cubicBezTo>
                    <a:cubicBezTo>
                      <a:pt x="1015517" y="3613148"/>
                      <a:pt x="1015517" y="3613148"/>
                      <a:pt x="1015517" y="3613148"/>
                    </a:cubicBezTo>
                    <a:cubicBezTo>
                      <a:pt x="1000677" y="3613148"/>
                      <a:pt x="985838" y="3601215"/>
                      <a:pt x="985838" y="3583314"/>
                    </a:cubicBezTo>
                    <a:cubicBezTo>
                      <a:pt x="985838" y="3296907"/>
                      <a:pt x="985838" y="3296907"/>
                      <a:pt x="985838" y="3296907"/>
                    </a:cubicBezTo>
                    <a:cubicBezTo>
                      <a:pt x="985838" y="3281990"/>
                      <a:pt x="1000677" y="3267073"/>
                      <a:pt x="1015517" y="3267073"/>
                    </a:cubicBezTo>
                    <a:close/>
                    <a:moveTo>
                      <a:pt x="523547" y="3267073"/>
                    </a:moveTo>
                    <a:cubicBezTo>
                      <a:pt x="809954" y="3267073"/>
                      <a:pt x="809954" y="3267073"/>
                      <a:pt x="809954" y="3267073"/>
                    </a:cubicBezTo>
                    <a:cubicBezTo>
                      <a:pt x="824871" y="3267073"/>
                      <a:pt x="839788" y="3281990"/>
                      <a:pt x="839788" y="3296907"/>
                    </a:cubicBezTo>
                    <a:cubicBezTo>
                      <a:pt x="839788" y="3583314"/>
                      <a:pt x="839788" y="3583314"/>
                      <a:pt x="839788" y="3583314"/>
                    </a:cubicBezTo>
                    <a:cubicBezTo>
                      <a:pt x="839788" y="3601215"/>
                      <a:pt x="824871" y="3613148"/>
                      <a:pt x="809954" y="3613148"/>
                    </a:cubicBezTo>
                    <a:cubicBezTo>
                      <a:pt x="523547" y="3613148"/>
                      <a:pt x="523547" y="3613148"/>
                      <a:pt x="523547" y="3613148"/>
                    </a:cubicBezTo>
                    <a:cubicBezTo>
                      <a:pt x="505646" y="3613148"/>
                      <a:pt x="493713" y="3601215"/>
                      <a:pt x="493713" y="3583314"/>
                    </a:cubicBezTo>
                    <a:cubicBezTo>
                      <a:pt x="493713" y="3296907"/>
                      <a:pt x="493713" y="3296907"/>
                      <a:pt x="493713" y="3296907"/>
                    </a:cubicBezTo>
                    <a:cubicBezTo>
                      <a:pt x="493713" y="3281990"/>
                      <a:pt x="505646" y="3267073"/>
                      <a:pt x="523547" y="3267073"/>
                    </a:cubicBezTo>
                    <a:close/>
                    <a:moveTo>
                      <a:pt x="29817" y="3267073"/>
                    </a:moveTo>
                    <a:cubicBezTo>
                      <a:pt x="313082" y="3267073"/>
                      <a:pt x="313082" y="3267073"/>
                      <a:pt x="313082" y="3267073"/>
                    </a:cubicBezTo>
                    <a:cubicBezTo>
                      <a:pt x="330973" y="3267073"/>
                      <a:pt x="342900" y="3281990"/>
                      <a:pt x="342900" y="3296907"/>
                    </a:cubicBezTo>
                    <a:cubicBezTo>
                      <a:pt x="342900" y="3583314"/>
                      <a:pt x="342900" y="3583314"/>
                      <a:pt x="342900" y="3583314"/>
                    </a:cubicBezTo>
                    <a:cubicBezTo>
                      <a:pt x="342900" y="3601215"/>
                      <a:pt x="330973" y="3613148"/>
                      <a:pt x="313082" y="3613148"/>
                    </a:cubicBezTo>
                    <a:cubicBezTo>
                      <a:pt x="29817" y="3613148"/>
                      <a:pt x="29817" y="3613148"/>
                      <a:pt x="29817" y="3613148"/>
                    </a:cubicBezTo>
                    <a:cubicBezTo>
                      <a:pt x="14909" y="3613148"/>
                      <a:pt x="0" y="3601215"/>
                      <a:pt x="0" y="3583314"/>
                    </a:cubicBezTo>
                    <a:cubicBezTo>
                      <a:pt x="0" y="3296907"/>
                      <a:pt x="0" y="3296907"/>
                      <a:pt x="0" y="3296907"/>
                    </a:cubicBezTo>
                    <a:cubicBezTo>
                      <a:pt x="0" y="3281990"/>
                      <a:pt x="14909" y="3267073"/>
                      <a:pt x="29817" y="3267073"/>
                    </a:cubicBezTo>
                    <a:close/>
                    <a:moveTo>
                      <a:pt x="2286000" y="3255960"/>
                    </a:moveTo>
                    <a:cubicBezTo>
                      <a:pt x="2517843" y="3255960"/>
                      <a:pt x="2705100" y="3381017"/>
                      <a:pt x="2705100" y="3532871"/>
                    </a:cubicBezTo>
                    <a:cubicBezTo>
                      <a:pt x="2705100" y="4476748"/>
                      <a:pt x="2705100" y="4476748"/>
                      <a:pt x="2705100" y="4476748"/>
                    </a:cubicBezTo>
                    <a:cubicBezTo>
                      <a:pt x="1866900" y="4476748"/>
                      <a:pt x="1866900" y="4476748"/>
                      <a:pt x="1866900" y="4476748"/>
                    </a:cubicBezTo>
                    <a:cubicBezTo>
                      <a:pt x="1866900" y="3532871"/>
                      <a:pt x="1866900" y="3532871"/>
                      <a:pt x="1866900" y="3532871"/>
                    </a:cubicBezTo>
                    <a:cubicBezTo>
                      <a:pt x="1866900" y="3381017"/>
                      <a:pt x="2054157" y="3255960"/>
                      <a:pt x="2286000" y="3255960"/>
                    </a:cubicBezTo>
                    <a:close/>
                    <a:moveTo>
                      <a:pt x="3757130" y="2633660"/>
                    </a:moveTo>
                    <a:cubicBezTo>
                      <a:pt x="4039084" y="2633660"/>
                      <a:pt x="4039084" y="2633660"/>
                      <a:pt x="4039084" y="2633660"/>
                    </a:cubicBezTo>
                    <a:cubicBezTo>
                      <a:pt x="4056891" y="2633660"/>
                      <a:pt x="4068763" y="2648552"/>
                      <a:pt x="4068763" y="2663443"/>
                    </a:cubicBezTo>
                    <a:cubicBezTo>
                      <a:pt x="4068763" y="2940427"/>
                      <a:pt x="4068763" y="2940427"/>
                      <a:pt x="4068763" y="2940427"/>
                    </a:cubicBezTo>
                    <a:cubicBezTo>
                      <a:pt x="4068763" y="2958297"/>
                      <a:pt x="4056891" y="2970210"/>
                      <a:pt x="4039084" y="2970210"/>
                    </a:cubicBezTo>
                    <a:cubicBezTo>
                      <a:pt x="3757130" y="2970210"/>
                      <a:pt x="3757130" y="2970210"/>
                      <a:pt x="3757130" y="2970210"/>
                    </a:cubicBezTo>
                    <a:cubicBezTo>
                      <a:pt x="3742290" y="2970210"/>
                      <a:pt x="3727450" y="2958297"/>
                      <a:pt x="3727450" y="2940427"/>
                    </a:cubicBezTo>
                    <a:cubicBezTo>
                      <a:pt x="3727450" y="2663443"/>
                      <a:pt x="3727450" y="2663443"/>
                      <a:pt x="3727450" y="2663443"/>
                    </a:cubicBezTo>
                    <a:cubicBezTo>
                      <a:pt x="3727450" y="2648552"/>
                      <a:pt x="3742290" y="2633660"/>
                      <a:pt x="3757130" y="2633660"/>
                    </a:cubicBezTo>
                    <a:close/>
                    <a:moveTo>
                      <a:pt x="3274530" y="2633660"/>
                    </a:moveTo>
                    <a:cubicBezTo>
                      <a:pt x="3556484" y="2633660"/>
                      <a:pt x="3556484" y="2633660"/>
                      <a:pt x="3556484" y="2633660"/>
                    </a:cubicBezTo>
                    <a:cubicBezTo>
                      <a:pt x="3571324" y="2633660"/>
                      <a:pt x="3586163" y="2648552"/>
                      <a:pt x="3586163" y="2663443"/>
                    </a:cubicBezTo>
                    <a:cubicBezTo>
                      <a:pt x="3586163" y="2940427"/>
                      <a:pt x="3586163" y="2940427"/>
                      <a:pt x="3586163" y="2940427"/>
                    </a:cubicBezTo>
                    <a:cubicBezTo>
                      <a:pt x="3586163" y="2958297"/>
                      <a:pt x="3571324" y="2970210"/>
                      <a:pt x="3556484" y="2970210"/>
                    </a:cubicBezTo>
                    <a:cubicBezTo>
                      <a:pt x="3274530" y="2970210"/>
                      <a:pt x="3274530" y="2970210"/>
                      <a:pt x="3274530" y="2970210"/>
                    </a:cubicBezTo>
                    <a:cubicBezTo>
                      <a:pt x="3256722" y="2970210"/>
                      <a:pt x="3244850" y="2958297"/>
                      <a:pt x="3244850" y="2940427"/>
                    </a:cubicBezTo>
                    <a:cubicBezTo>
                      <a:pt x="3244850" y="2663443"/>
                      <a:pt x="3244850" y="2663443"/>
                      <a:pt x="3244850" y="2663443"/>
                    </a:cubicBezTo>
                    <a:cubicBezTo>
                      <a:pt x="3244850" y="2648552"/>
                      <a:pt x="3256722" y="2633660"/>
                      <a:pt x="3274530" y="2633660"/>
                    </a:cubicBezTo>
                    <a:close/>
                    <a:moveTo>
                      <a:pt x="2774468" y="2633660"/>
                    </a:moveTo>
                    <a:cubicBezTo>
                      <a:pt x="3056422" y="2633660"/>
                      <a:pt x="3056422" y="2633660"/>
                      <a:pt x="3056422" y="2633660"/>
                    </a:cubicBezTo>
                    <a:cubicBezTo>
                      <a:pt x="3074229" y="2633660"/>
                      <a:pt x="3086101" y="2648552"/>
                      <a:pt x="3086101" y="2663443"/>
                    </a:cubicBezTo>
                    <a:cubicBezTo>
                      <a:pt x="3086101" y="2940427"/>
                      <a:pt x="3086101" y="2940427"/>
                      <a:pt x="3086101" y="2940427"/>
                    </a:cubicBezTo>
                    <a:cubicBezTo>
                      <a:pt x="3086101" y="2958297"/>
                      <a:pt x="3074229" y="2970210"/>
                      <a:pt x="3056422" y="2970210"/>
                    </a:cubicBezTo>
                    <a:cubicBezTo>
                      <a:pt x="2774468" y="2970210"/>
                      <a:pt x="2774468" y="2970210"/>
                      <a:pt x="2774468" y="2970210"/>
                    </a:cubicBezTo>
                    <a:cubicBezTo>
                      <a:pt x="2759628" y="2970210"/>
                      <a:pt x="2744788" y="2958297"/>
                      <a:pt x="2744788" y="2940427"/>
                    </a:cubicBezTo>
                    <a:cubicBezTo>
                      <a:pt x="2744788" y="2663443"/>
                      <a:pt x="2744788" y="2663443"/>
                      <a:pt x="2744788" y="2663443"/>
                    </a:cubicBezTo>
                    <a:cubicBezTo>
                      <a:pt x="2744788" y="2648552"/>
                      <a:pt x="2759628" y="2633660"/>
                      <a:pt x="2774468" y="2633660"/>
                    </a:cubicBezTo>
                    <a:close/>
                    <a:moveTo>
                      <a:pt x="1526847" y="2633660"/>
                    </a:moveTo>
                    <a:cubicBezTo>
                      <a:pt x="1813254" y="2633660"/>
                      <a:pt x="1813254" y="2633660"/>
                      <a:pt x="1813254" y="2633660"/>
                    </a:cubicBezTo>
                    <a:cubicBezTo>
                      <a:pt x="1828171" y="2633660"/>
                      <a:pt x="1843088" y="2648552"/>
                      <a:pt x="1843088" y="2663443"/>
                    </a:cubicBezTo>
                    <a:cubicBezTo>
                      <a:pt x="1843088" y="2940427"/>
                      <a:pt x="1843088" y="2940427"/>
                      <a:pt x="1843088" y="2940427"/>
                    </a:cubicBezTo>
                    <a:cubicBezTo>
                      <a:pt x="1843088" y="2958297"/>
                      <a:pt x="1828171" y="2970210"/>
                      <a:pt x="1813254" y="2970210"/>
                    </a:cubicBezTo>
                    <a:cubicBezTo>
                      <a:pt x="1526847" y="2970210"/>
                      <a:pt x="1526847" y="2970210"/>
                      <a:pt x="1526847" y="2970210"/>
                    </a:cubicBezTo>
                    <a:cubicBezTo>
                      <a:pt x="1508946" y="2970210"/>
                      <a:pt x="1497013" y="2958297"/>
                      <a:pt x="1497013" y="2940427"/>
                    </a:cubicBezTo>
                    <a:cubicBezTo>
                      <a:pt x="1497013" y="2663443"/>
                      <a:pt x="1497013" y="2663443"/>
                      <a:pt x="1497013" y="2663443"/>
                    </a:cubicBezTo>
                    <a:cubicBezTo>
                      <a:pt x="1497013" y="2648552"/>
                      <a:pt x="1508946" y="2633660"/>
                      <a:pt x="1526847" y="2633660"/>
                    </a:cubicBezTo>
                    <a:close/>
                    <a:moveTo>
                      <a:pt x="1039329" y="2633660"/>
                    </a:moveTo>
                    <a:cubicBezTo>
                      <a:pt x="1321283" y="2633660"/>
                      <a:pt x="1321283" y="2633660"/>
                      <a:pt x="1321283" y="2633660"/>
                    </a:cubicBezTo>
                    <a:cubicBezTo>
                      <a:pt x="1339091" y="2633660"/>
                      <a:pt x="1350963" y="2648552"/>
                      <a:pt x="1350963" y="2663443"/>
                    </a:cubicBezTo>
                    <a:cubicBezTo>
                      <a:pt x="1350963" y="2940427"/>
                      <a:pt x="1350963" y="2940427"/>
                      <a:pt x="1350963" y="2940427"/>
                    </a:cubicBezTo>
                    <a:cubicBezTo>
                      <a:pt x="1350963" y="2958297"/>
                      <a:pt x="1339091" y="2970210"/>
                      <a:pt x="1321283" y="2970210"/>
                    </a:cubicBezTo>
                    <a:cubicBezTo>
                      <a:pt x="1039329" y="2970210"/>
                      <a:pt x="1039329" y="2970210"/>
                      <a:pt x="1039329" y="2970210"/>
                    </a:cubicBezTo>
                    <a:cubicBezTo>
                      <a:pt x="1024489" y="2970210"/>
                      <a:pt x="1009650" y="2958297"/>
                      <a:pt x="1009650" y="2940427"/>
                    </a:cubicBezTo>
                    <a:cubicBezTo>
                      <a:pt x="1009650" y="2663443"/>
                      <a:pt x="1009650" y="2663443"/>
                      <a:pt x="1009650" y="2663443"/>
                    </a:cubicBezTo>
                    <a:cubicBezTo>
                      <a:pt x="1009650" y="2648552"/>
                      <a:pt x="1024489" y="2633660"/>
                      <a:pt x="1039329" y="2633660"/>
                    </a:cubicBezTo>
                    <a:close/>
                    <a:moveTo>
                      <a:pt x="544167" y="2633660"/>
                    </a:moveTo>
                    <a:cubicBezTo>
                      <a:pt x="827432" y="2633660"/>
                      <a:pt x="827432" y="2633660"/>
                      <a:pt x="827432" y="2633660"/>
                    </a:cubicBezTo>
                    <a:cubicBezTo>
                      <a:pt x="842341" y="2633660"/>
                      <a:pt x="857250" y="2648552"/>
                      <a:pt x="857250" y="2663443"/>
                    </a:cubicBezTo>
                    <a:cubicBezTo>
                      <a:pt x="857250" y="2940427"/>
                      <a:pt x="857250" y="2940427"/>
                      <a:pt x="857250" y="2940427"/>
                    </a:cubicBezTo>
                    <a:cubicBezTo>
                      <a:pt x="857250" y="2958297"/>
                      <a:pt x="842341" y="2970210"/>
                      <a:pt x="827432" y="2970210"/>
                    </a:cubicBezTo>
                    <a:cubicBezTo>
                      <a:pt x="544167" y="2970210"/>
                      <a:pt x="544167" y="2970210"/>
                      <a:pt x="544167" y="2970210"/>
                    </a:cubicBezTo>
                    <a:cubicBezTo>
                      <a:pt x="526277" y="2970210"/>
                      <a:pt x="514350" y="2958297"/>
                      <a:pt x="514350" y="2940427"/>
                    </a:cubicBezTo>
                    <a:cubicBezTo>
                      <a:pt x="514350" y="2663443"/>
                      <a:pt x="514350" y="2663443"/>
                      <a:pt x="514350" y="2663443"/>
                    </a:cubicBezTo>
                    <a:cubicBezTo>
                      <a:pt x="514350" y="2648552"/>
                      <a:pt x="526277" y="2633660"/>
                      <a:pt x="544167" y="2633660"/>
                    </a:cubicBezTo>
                    <a:close/>
                    <a:moveTo>
                      <a:pt x="3757130" y="2157410"/>
                    </a:moveTo>
                    <a:cubicBezTo>
                      <a:pt x="4039084" y="2157410"/>
                      <a:pt x="4039084" y="2157410"/>
                      <a:pt x="4039084" y="2157410"/>
                    </a:cubicBezTo>
                    <a:cubicBezTo>
                      <a:pt x="4056891" y="2157410"/>
                      <a:pt x="4068763" y="2169337"/>
                      <a:pt x="4068763" y="2187228"/>
                    </a:cubicBezTo>
                    <a:cubicBezTo>
                      <a:pt x="4068763" y="2470493"/>
                      <a:pt x="4068763" y="2470493"/>
                      <a:pt x="4068763" y="2470493"/>
                    </a:cubicBezTo>
                    <a:cubicBezTo>
                      <a:pt x="4068763" y="2485401"/>
                      <a:pt x="4056891" y="2500310"/>
                      <a:pt x="4039084" y="2500310"/>
                    </a:cubicBezTo>
                    <a:cubicBezTo>
                      <a:pt x="3757130" y="2500310"/>
                      <a:pt x="3757130" y="2500310"/>
                      <a:pt x="3757130" y="2500310"/>
                    </a:cubicBezTo>
                    <a:cubicBezTo>
                      <a:pt x="3742290" y="2500310"/>
                      <a:pt x="3727450" y="2485401"/>
                      <a:pt x="3727450" y="2470493"/>
                    </a:cubicBezTo>
                    <a:cubicBezTo>
                      <a:pt x="3727450" y="2187228"/>
                      <a:pt x="3727450" y="2187228"/>
                      <a:pt x="3727450" y="2187228"/>
                    </a:cubicBezTo>
                    <a:cubicBezTo>
                      <a:pt x="3727450" y="2169337"/>
                      <a:pt x="3742290" y="2157410"/>
                      <a:pt x="3757130" y="2157410"/>
                    </a:cubicBezTo>
                    <a:close/>
                    <a:moveTo>
                      <a:pt x="3274530" y="2157410"/>
                    </a:moveTo>
                    <a:cubicBezTo>
                      <a:pt x="3556484" y="2157410"/>
                      <a:pt x="3556484" y="2157410"/>
                      <a:pt x="3556484" y="2157410"/>
                    </a:cubicBezTo>
                    <a:cubicBezTo>
                      <a:pt x="3571324" y="2157410"/>
                      <a:pt x="3586163" y="2169337"/>
                      <a:pt x="3586163" y="2187228"/>
                    </a:cubicBezTo>
                    <a:cubicBezTo>
                      <a:pt x="3586163" y="2470493"/>
                      <a:pt x="3586163" y="2470493"/>
                      <a:pt x="3586163" y="2470493"/>
                    </a:cubicBezTo>
                    <a:cubicBezTo>
                      <a:pt x="3586163" y="2485401"/>
                      <a:pt x="3571324" y="2500310"/>
                      <a:pt x="3556484" y="2500310"/>
                    </a:cubicBezTo>
                    <a:cubicBezTo>
                      <a:pt x="3274530" y="2500310"/>
                      <a:pt x="3274530" y="2500310"/>
                      <a:pt x="3274530" y="2500310"/>
                    </a:cubicBezTo>
                    <a:cubicBezTo>
                      <a:pt x="3256722" y="2500310"/>
                      <a:pt x="3244850" y="2485401"/>
                      <a:pt x="3244850" y="2470493"/>
                    </a:cubicBezTo>
                    <a:cubicBezTo>
                      <a:pt x="3244850" y="2187228"/>
                      <a:pt x="3244850" y="2187228"/>
                      <a:pt x="3244850" y="2187228"/>
                    </a:cubicBezTo>
                    <a:cubicBezTo>
                      <a:pt x="3244850" y="2169337"/>
                      <a:pt x="3256722" y="2157410"/>
                      <a:pt x="3274530" y="2157410"/>
                    </a:cubicBezTo>
                    <a:close/>
                    <a:moveTo>
                      <a:pt x="2774468" y="2157410"/>
                    </a:moveTo>
                    <a:cubicBezTo>
                      <a:pt x="3056422" y="2157410"/>
                      <a:pt x="3056422" y="2157410"/>
                      <a:pt x="3056422" y="2157410"/>
                    </a:cubicBezTo>
                    <a:cubicBezTo>
                      <a:pt x="3074229" y="2157410"/>
                      <a:pt x="3086101" y="2169337"/>
                      <a:pt x="3086101" y="2187228"/>
                    </a:cubicBezTo>
                    <a:cubicBezTo>
                      <a:pt x="3086101" y="2470493"/>
                      <a:pt x="3086101" y="2470493"/>
                      <a:pt x="3086101" y="2470493"/>
                    </a:cubicBezTo>
                    <a:cubicBezTo>
                      <a:pt x="3086101" y="2485401"/>
                      <a:pt x="3074229" y="2500310"/>
                      <a:pt x="3056422" y="2500310"/>
                    </a:cubicBezTo>
                    <a:cubicBezTo>
                      <a:pt x="2774468" y="2500310"/>
                      <a:pt x="2774468" y="2500310"/>
                      <a:pt x="2774468" y="2500310"/>
                    </a:cubicBezTo>
                    <a:cubicBezTo>
                      <a:pt x="2759628" y="2500310"/>
                      <a:pt x="2744788" y="2485401"/>
                      <a:pt x="2744788" y="2470493"/>
                    </a:cubicBezTo>
                    <a:cubicBezTo>
                      <a:pt x="2744788" y="2187228"/>
                      <a:pt x="2744788" y="2187228"/>
                      <a:pt x="2744788" y="2187228"/>
                    </a:cubicBezTo>
                    <a:cubicBezTo>
                      <a:pt x="2744788" y="2169337"/>
                      <a:pt x="2759628" y="2157410"/>
                      <a:pt x="2774468" y="2157410"/>
                    </a:cubicBezTo>
                    <a:close/>
                    <a:moveTo>
                      <a:pt x="1526847" y="2157410"/>
                    </a:moveTo>
                    <a:cubicBezTo>
                      <a:pt x="1813254" y="2157410"/>
                      <a:pt x="1813254" y="2157410"/>
                      <a:pt x="1813254" y="2157410"/>
                    </a:cubicBezTo>
                    <a:cubicBezTo>
                      <a:pt x="1828171" y="2157410"/>
                      <a:pt x="1843088" y="2169337"/>
                      <a:pt x="1843088" y="2187228"/>
                    </a:cubicBezTo>
                    <a:cubicBezTo>
                      <a:pt x="1843088" y="2470493"/>
                      <a:pt x="1843088" y="2470493"/>
                      <a:pt x="1843088" y="2470493"/>
                    </a:cubicBezTo>
                    <a:cubicBezTo>
                      <a:pt x="1843088" y="2485401"/>
                      <a:pt x="1828171" y="2500310"/>
                      <a:pt x="1813254" y="2500310"/>
                    </a:cubicBezTo>
                    <a:cubicBezTo>
                      <a:pt x="1526847" y="2500310"/>
                      <a:pt x="1526847" y="2500310"/>
                      <a:pt x="1526847" y="2500310"/>
                    </a:cubicBezTo>
                    <a:cubicBezTo>
                      <a:pt x="1508946" y="2500310"/>
                      <a:pt x="1497013" y="2485401"/>
                      <a:pt x="1497013" y="2470493"/>
                    </a:cubicBezTo>
                    <a:cubicBezTo>
                      <a:pt x="1497013" y="2187228"/>
                      <a:pt x="1497013" y="2187228"/>
                      <a:pt x="1497013" y="2187228"/>
                    </a:cubicBezTo>
                    <a:cubicBezTo>
                      <a:pt x="1497013" y="2169337"/>
                      <a:pt x="1508946" y="2157410"/>
                      <a:pt x="1526847" y="2157410"/>
                    </a:cubicBezTo>
                    <a:close/>
                    <a:moveTo>
                      <a:pt x="1039329" y="2157410"/>
                    </a:moveTo>
                    <a:cubicBezTo>
                      <a:pt x="1321283" y="2157410"/>
                      <a:pt x="1321283" y="2157410"/>
                      <a:pt x="1321283" y="2157410"/>
                    </a:cubicBezTo>
                    <a:cubicBezTo>
                      <a:pt x="1339091" y="2157410"/>
                      <a:pt x="1350963" y="2169337"/>
                      <a:pt x="1350963" y="2187228"/>
                    </a:cubicBezTo>
                    <a:cubicBezTo>
                      <a:pt x="1350963" y="2470493"/>
                      <a:pt x="1350963" y="2470493"/>
                      <a:pt x="1350963" y="2470493"/>
                    </a:cubicBezTo>
                    <a:cubicBezTo>
                      <a:pt x="1350963" y="2485401"/>
                      <a:pt x="1339091" y="2500310"/>
                      <a:pt x="1321283" y="2500310"/>
                    </a:cubicBezTo>
                    <a:cubicBezTo>
                      <a:pt x="1039329" y="2500310"/>
                      <a:pt x="1039329" y="2500310"/>
                      <a:pt x="1039329" y="2500310"/>
                    </a:cubicBezTo>
                    <a:cubicBezTo>
                      <a:pt x="1024489" y="2500310"/>
                      <a:pt x="1009650" y="2485401"/>
                      <a:pt x="1009650" y="2470493"/>
                    </a:cubicBezTo>
                    <a:cubicBezTo>
                      <a:pt x="1009650" y="2187228"/>
                      <a:pt x="1009650" y="2187228"/>
                      <a:pt x="1009650" y="2187228"/>
                    </a:cubicBezTo>
                    <a:cubicBezTo>
                      <a:pt x="1009650" y="2169337"/>
                      <a:pt x="1024489" y="2157410"/>
                      <a:pt x="1039329" y="2157410"/>
                    </a:cubicBezTo>
                    <a:close/>
                    <a:moveTo>
                      <a:pt x="544167" y="2157410"/>
                    </a:moveTo>
                    <a:cubicBezTo>
                      <a:pt x="827432" y="2157410"/>
                      <a:pt x="827432" y="2157410"/>
                      <a:pt x="827432" y="2157410"/>
                    </a:cubicBezTo>
                    <a:cubicBezTo>
                      <a:pt x="842341" y="2157410"/>
                      <a:pt x="857250" y="2169337"/>
                      <a:pt x="857250" y="2187228"/>
                    </a:cubicBezTo>
                    <a:cubicBezTo>
                      <a:pt x="857250" y="2470493"/>
                      <a:pt x="857250" y="2470493"/>
                      <a:pt x="857250" y="2470493"/>
                    </a:cubicBezTo>
                    <a:cubicBezTo>
                      <a:pt x="857250" y="2485401"/>
                      <a:pt x="842341" y="2500310"/>
                      <a:pt x="827432" y="2500310"/>
                    </a:cubicBezTo>
                    <a:cubicBezTo>
                      <a:pt x="544167" y="2500310"/>
                      <a:pt x="544167" y="2500310"/>
                      <a:pt x="544167" y="2500310"/>
                    </a:cubicBezTo>
                    <a:cubicBezTo>
                      <a:pt x="526277" y="2500310"/>
                      <a:pt x="514350" y="2485401"/>
                      <a:pt x="514350" y="2470493"/>
                    </a:cubicBezTo>
                    <a:cubicBezTo>
                      <a:pt x="514350" y="2187228"/>
                      <a:pt x="514350" y="2187228"/>
                      <a:pt x="514350" y="2187228"/>
                    </a:cubicBezTo>
                    <a:cubicBezTo>
                      <a:pt x="514350" y="2169337"/>
                      <a:pt x="526277" y="2157410"/>
                      <a:pt x="544167" y="2157410"/>
                    </a:cubicBezTo>
                    <a:close/>
                    <a:moveTo>
                      <a:pt x="2274189" y="1470023"/>
                    </a:moveTo>
                    <a:cubicBezTo>
                      <a:pt x="2253298" y="1470023"/>
                      <a:pt x="2238375" y="1484883"/>
                      <a:pt x="2238375" y="1505687"/>
                    </a:cubicBezTo>
                    <a:cubicBezTo>
                      <a:pt x="2238375" y="1505687"/>
                      <a:pt x="2238375" y="1505687"/>
                      <a:pt x="2238375" y="1689948"/>
                    </a:cubicBezTo>
                    <a:cubicBezTo>
                      <a:pt x="2238375" y="1710751"/>
                      <a:pt x="2253298" y="1725611"/>
                      <a:pt x="2274189" y="1725611"/>
                    </a:cubicBezTo>
                    <a:cubicBezTo>
                      <a:pt x="2274189" y="1725611"/>
                      <a:pt x="2274189" y="1725611"/>
                      <a:pt x="2429384" y="1725611"/>
                    </a:cubicBezTo>
                    <a:cubicBezTo>
                      <a:pt x="2444306" y="1725611"/>
                      <a:pt x="2462213" y="1710751"/>
                      <a:pt x="2462213" y="1689948"/>
                    </a:cubicBezTo>
                    <a:cubicBezTo>
                      <a:pt x="2462213" y="1669144"/>
                      <a:pt x="2444306" y="1654284"/>
                      <a:pt x="2429384" y="1654284"/>
                    </a:cubicBezTo>
                    <a:cubicBezTo>
                      <a:pt x="2429384" y="1654284"/>
                      <a:pt x="2429384" y="1654284"/>
                      <a:pt x="2310003" y="1654284"/>
                    </a:cubicBezTo>
                    <a:cubicBezTo>
                      <a:pt x="2310003" y="1654284"/>
                      <a:pt x="2310003" y="1654284"/>
                      <a:pt x="2310003" y="1505687"/>
                    </a:cubicBezTo>
                    <a:cubicBezTo>
                      <a:pt x="2310003" y="1484883"/>
                      <a:pt x="2295081" y="1470023"/>
                      <a:pt x="2274189" y="1470023"/>
                    </a:cubicBezTo>
                    <a:close/>
                    <a:moveTo>
                      <a:pt x="2286000" y="1389060"/>
                    </a:moveTo>
                    <a:cubicBezTo>
                      <a:pt x="2443815" y="1389060"/>
                      <a:pt x="2571750" y="1518416"/>
                      <a:pt x="2571750" y="1677985"/>
                    </a:cubicBezTo>
                    <a:cubicBezTo>
                      <a:pt x="2571750" y="1837554"/>
                      <a:pt x="2443815" y="1966910"/>
                      <a:pt x="2286000" y="1966910"/>
                    </a:cubicBezTo>
                    <a:cubicBezTo>
                      <a:pt x="2128185" y="1966910"/>
                      <a:pt x="2000250" y="1837554"/>
                      <a:pt x="2000250" y="1677985"/>
                    </a:cubicBezTo>
                    <a:cubicBezTo>
                      <a:pt x="2000250" y="1518416"/>
                      <a:pt x="2128185" y="1389060"/>
                      <a:pt x="2286000" y="1389060"/>
                    </a:cubicBezTo>
                    <a:close/>
                    <a:moveTo>
                      <a:pt x="2232618" y="0"/>
                    </a:moveTo>
                    <a:cubicBezTo>
                      <a:pt x="2232618" y="0"/>
                      <a:pt x="2232618" y="0"/>
                      <a:pt x="2327848" y="0"/>
                    </a:cubicBezTo>
                    <a:cubicBezTo>
                      <a:pt x="2327848" y="0"/>
                      <a:pt x="2327848" y="0"/>
                      <a:pt x="3119444" y="0"/>
                    </a:cubicBezTo>
                    <a:cubicBezTo>
                      <a:pt x="3134323" y="0"/>
                      <a:pt x="3143251" y="17832"/>
                      <a:pt x="3131348" y="29720"/>
                    </a:cubicBezTo>
                    <a:cubicBezTo>
                      <a:pt x="3131348" y="29720"/>
                      <a:pt x="3131348" y="29720"/>
                      <a:pt x="2928985" y="231817"/>
                    </a:cubicBezTo>
                    <a:cubicBezTo>
                      <a:pt x="2923033" y="237761"/>
                      <a:pt x="2923033" y="249649"/>
                      <a:pt x="2928985" y="255593"/>
                    </a:cubicBezTo>
                    <a:cubicBezTo>
                      <a:pt x="2928985" y="255593"/>
                      <a:pt x="2928985" y="255593"/>
                      <a:pt x="3131348" y="457689"/>
                    </a:cubicBezTo>
                    <a:cubicBezTo>
                      <a:pt x="3143251" y="469577"/>
                      <a:pt x="3134323" y="487409"/>
                      <a:pt x="3119444" y="487409"/>
                    </a:cubicBezTo>
                    <a:cubicBezTo>
                      <a:pt x="3119444" y="487409"/>
                      <a:pt x="3119444" y="487409"/>
                      <a:pt x="2360583" y="487409"/>
                    </a:cubicBezTo>
                    <a:cubicBezTo>
                      <a:pt x="2351655" y="487409"/>
                      <a:pt x="2345703" y="493353"/>
                      <a:pt x="2345703" y="502270"/>
                    </a:cubicBezTo>
                    <a:cubicBezTo>
                      <a:pt x="2345703" y="502270"/>
                      <a:pt x="2345703" y="502270"/>
                      <a:pt x="2345703" y="894575"/>
                    </a:cubicBezTo>
                    <a:cubicBezTo>
                      <a:pt x="2345703" y="894575"/>
                      <a:pt x="2345703" y="894575"/>
                      <a:pt x="2324872" y="879715"/>
                    </a:cubicBezTo>
                    <a:cubicBezTo>
                      <a:pt x="2304040" y="861883"/>
                      <a:pt x="2271305" y="861883"/>
                      <a:pt x="2250473" y="879715"/>
                    </a:cubicBezTo>
                    <a:cubicBezTo>
                      <a:pt x="2250473" y="879715"/>
                      <a:pt x="2250473" y="879715"/>
                      <a:pt x="2217738" y="906463"/>
                    </a:cubicBezTo>
                    <a:cubicBezTo>
                      <a:pt x="2217738" y="906463"/>
                      <a:pt x="2217738" y="906463"/>
                      <a:pt x="2217738" y="487409"/>
                    </a:cubicBezTo>
                    <a:cubicBezTo>
                      <a:pt x="2217738" y="487409"/>
                      <a:pt x="2217738" y="487409"/>
                      <a:pt x="2217738" y="17832"/>
                    </a:cubicBezTo>
                    <a:cubicBezTo>
                      <a:pt x="2217738" y="8916"/>
                      <a:pt x="2223690" y="0"/>
                      <a:pt x="2232618" y="0"/>
                    </a:cubicBezTo>
                    <a:close/>
                  </a:path>
                </a:pathLst>
              </a:custGeom>
              <a:solidFill>
                <a:srgbClr val="1F497D"/>
              </a:solidFill>
              <a:ln>
                <a:noFill/>
              </a:ln>
            </p:spPr>
            <p:txBody>
              <a:bodyPr vert="horz" wrap="square" lIns="82296" tIns="41148" rIns="82296" bIns="41148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761970">
                  <a:defRPr/>
                </a:pPr>
                <a:endParaRPr lang="en-US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2" name="Freeform 191"/>
              <p:cNvSpPr>
                <a:spLocks/>
              </p:cNvSpPr>
              <p:nvPr/>
            </p:nvSpPr>
            <p:spPr bwMode="auto">
              <a:xfrm>
                <a:off x="5389626" y="3034438"/>
                <a:ext cx="1412748" cy="1014830"/>
              </a:xfrm>
              <a:custGeom>
                <a:avLst/>
                <a:gdLst>
                  <a:gd name="connsiteX0" fmla="*/ 65471 w 5886450"/>
                  <a:gd name="connsiteY0" fmla="*/ 3918893 h 4228456"/>
                  <a:gd name="connsiteX1" fmla="*/ 5820979 w 5886450"/>
                  <a:gd name="connsiteY1" fmla="*/ 3918893 h 4228456"/>
                  <a:gd name="connsiteX2" fmla="*/ 5886450 w 5886450"/>
                  <a:gd name="connsiteY2" fmla="*/ 3984378 h 4228456"/>
                  <a:gd name="connsiteX3" fmla="*/ 5886450 w 5886450"/>
                  <a:gd name="connsiteY3" fmla="*/ 4162972 h 4228456"/>
                  <a:gd name="connsiteX4" fmla="*/ 5820979 w 5886450"/>
                  <a:gd name="connsiteY4" fmla="*/ 4228456 h 4228456"/>
                  <a:gd name="connsiteX5" fmla="*/ 65471 w 5886450"/>
                  <a:gd name="connsiteY5" fmla="*/ 4228456 h 4228456"/>
                  <a:gd name="connsiteX6" fmla="*/ 0 w 5886450"/>
                  <a:gd name="connsiteY6" fmla="*/ 4162972 h 4228456"/>
                  <a:gd name="connsiteX7" fmla="*/ 0 w 5886450"/>
                  <a:gd name="connsiteY7" fmla="*/ 3984378 h 4228456"/>
                  <a:gd name="connsiteX8" fmla="*/ 65471 w 5886450"/>
                  <a:gd name="connsiteY8" fmla="*/ 3918893 h 4228456"/>
                  <a:gd name="connsiteX9" fmla="*/ 2931122 w 5886450"/>
                  <a:gd name="connsiteY9" fmla="*/ 137468 h 4228456"/>
                  <a:gd name="connsiteX10" fmla="*/ 1020597 w 5886450"/>
                  <a:gd name="connsiteY10" fmla="*/ 1087152 h 4228456"/>
                  <a:gd name="connsiteX11" fmla="*/ 1020597 w 5886450"/>
                  <a:gd name="connsiteY11" fmla="*/ 2033858 h 4228456"/>
                  <a:gd name="connsiteX12" fmla="*/ 282575 w 5886450"/>
                  <a:gd name="connsiteY12" fmla="*/ 2033858 h 4228456"/>
                  <a:gd name="connsiteX13" fmla="*/ 282575 w 5886450"/>
                  <a:gd name="connsiteY13" fmla="*/ 3671243 h 4228456"/>
                  <a:gd name="connsiteX14" fmla="*/ 5597525 w 5886450"/>
                  <a:gd name="connsiteY14" fmla="*/ 3671243 h 4228456"/>
                  <a:gd name="connsiteX15" fmla="*/ 5597525 w 5886450"/>
                  <a:gd name="connsiteY15" fmla="*/ 2033858 h 4228456"/>
                  <a:gd name="connsiteX16" fmla="*/ 4859503 w 5886450"/>
                  <a:gd name="connsiteY16" fmla="*/ 2033858 h 4228456"/>
                  <a:gd name="connsiteX17" fmla="*/ 4859503 w 5886450"/>
                  <a:gd name="connsiteY17" fmla="*/ 1087152 h 4228456"/>
                  <a:gd name="connsiteX18" fmla="*/ 2931122 w 5886450"/>
                  <a:gd name="connsiteY18" fmla="*/ 137468 h 4228456"/>
                  <a:gd name="connsiteX19" fmla="*/ 2932609 w 5886450"/>
                  <a:gd name="connsiteY19" fmla="*/ 0 h 4228456"/>
                  <a:gd name="connsiteX20" fmla="*/ 2960888 w 5886450"/>
                  <a:gd name="connsiteY20" fmla="*/ 6697 h 4228456"/>
                  <a:gd name="connsiteX21" fmla="*/ 4913652 w 5886450"/>
                  <a:gd name="connsiteY21" fmla="*/ 965050 h 4228456"/>
                  <a:gd name="connsiteX22" fmla="*/ 4916629 w 5886450"/>
                  <a:gd name="connsiteY22" fmla="*/ 968026 h 4228456"/>
                  <a:gd name="connsiteX23" fmla="*/ 4991048 w 5886450"/>
                  <a:gd name="connsiteY23" fmla="*/ 1087076 h 4228456"/>
                  <a:gd name="connsiteX24" fmla="*/ 4991048 w 5886450"/>
                  <a:gd name="connsiteY24" fmla="*/ 1902569 h 4228456"/>
                  <a:gd name="connsiteX25" fmla="*/ 5598310 w 5886450"/>
                  <a:gd name="connsiteY25" fmla="*/ 1902569 h 4228456"/>
                  <a:gd name="connsiteX26" fmla="*/ 5729288 w 5886450"/>
                  <a:gd name="connsiteY26" fmla="*/ 2033525 h 4228456"/>
                  <a:gd name="connsiteX27" fmla="*/ 5729288 w 5886450"/>
                  <a:gd name="connsiteY27" fmla="*/ 3670463 h 4228456"/>
                  <a:gd name="connsiteX28" fmla="*/ 5598310 w 5886450"/>
                  <a:gd name="connsiteY28" fmla="*/ 3801418 h 4228456"/>
                  <a:gd name="connsiteX29" fmla="*/ 281791 w 5886450"/>
                  <a:gd name="connsiteY29" fmla="*/ 3801418 h 4228456"/>
                  <a:gd name="connsiteX30" fmla="*/ 150813 w 5886450"/>
                  <a:gd name="connsiteY30" fmla="*/ 3670463 h 4228456"/>
                  <a:gd name="connsiteX31" fmla="*/ 150813 w 5886450"/>
                  <a:gd name="connsiteY31" fmla="*/ 2033525 h 4228456"/>
                  <a:gd name="connsiteX32" fmla="*/ 281791 w 5886450"/>
                  <a:gd name="connsiteY32" fmla="*/ 1902569 h 4228456"/>
                  <a:gd name="connsiteX33" fmla="*/ 889053 w 5886450"/>
                  <a:gd name="connsiteY33" fmla="*/ 1902569 h 4228456"/>
                  <a:gd name="connsiteX34" fmla="*/ 889053 w 5886450"/>
                  <a:gd name="connsiteY34" fmla="*/ 1087076 h 4228456"/>
                  <a:gd name="connsiteX35" fmla="*/ 963473 w 5886450"/>
                  <a:gd name="connsiteY35" fmla="*/ 968026 h 4228456"/>
                  <a:gd name="connsiteX36" fmla="*/ 966449 w 5886450"/>
                  <a:gd name="connsiteY36" fmla="*/ 968026 h 4228456"/>
                  <a:gd name="connsiteX37" fmla="*/ 2904329 w 5886450"/>
                  <a:gd name="connsiteY37" fmla="*/ 6697 h 4228456"/>
                  <a:gd name="connsiteX38" fmla="*/ 2932609 w 5886450"/>
                  <a:gd name="connsiteY38" fmla="*/ 0 h 4228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5886450" h="4228456">
                    <a:moveTo>
                      <a:pt x="65471" y="3918893"/>
                    </a:moveTo>
                    <a:cubicBezTo>
                      <a:pt x="5820979" y="3918893"/>
                      <a:pt x="5820979" y="3918893"/>
                      <a:pt x="5820979" y="3918893"/>
                    </a:cubicBezTo>
                    <a:cubicBezTo>
                      <a:pt x="5856691" y="3918893"/>
                      <a:pt x="5886450" y="3945682"/>
                      <a:pt x="5886450" y="3984378"/>
                    </a:cubicBezTo>
                    <a:cubicBezTo>
                      <a:pt x="5886450" y="4162972"/>
                      <a:pt x="5886450" y="4162972"/>
                      <a:pt x="5886450" y="4162972"/>
                    </a:cubicBezTo>
                    <a:cubicBezTo>
                      <a:pt x="5886450" y="4198691"/>
                      <a:pt x="5856691" y="4228456"/>
                      <a:pt x="5820979" y="4228456"/>
                    </a:cubicBezTo>
                    <a:cubicBezTo>
                      <a:pt x="65471" y="4228456"/>
                      <a:pt x="65471" y="4228456"/>
                      <a:pt x="65471" y="4228456"/>
                    </a:cubicBezTo>
                    <a:cubicBezTo>
                      <a:pt x="29760" y="4228456"/>
                      <a:pt x="0" y="4198691"/>
                      <a:pt x="0" y="4162972"/>
                    </a:cubicBezTo>
                    <a:cubicBezTo>
                      <a:pt x="0" y="3984378"/>
                      <a:pt x="0" y="3984378"/>
                      <a:pt x="0" y="3984378"/>
                    </a:cubicBezTo>
                    <a:cubicBezTo>
                      <a:pt x="0" y="3945682"/>
                      <a:pt x="29760" y="3918893"/>
                      <a:pt x="65471" y="3918893"/>
                    </a:cubicBezTo>
                    <a:close/>
                    <a:moveTo>
                      <a:pt x="2931122" y="137468"/>
                    </a:moveTo>
                    <a:cubicBezTo>
                      <a:pt x="2931122" y="137468"/>
                      <a:pt x="2931122" y="137468"/>
                      <a:pt x="1020597" y="1087152"/>
                    </a:cubicBezTo>
                    <a:cubicBezTo>
                      <a:pt x="1020597" y="1087152"/>
                      <a:pt x="1020597" y="1087152"/>
                      <a:pt x="1020597" y="2033858"/>
                    </a:cubicBezTo>
                    <a:cubicBezTo>
                      <a:pt x="1020597" y="2033858"/>
                      <a:pt x="1020597" y="2033858"/>
                      <a:pt x="282575" y="2033858"/>
                    </a:cubicBezTo>
                    <a:cubicBezTo>
                      <a:pt x="282575" y="2033858"/>
                      <a:pt x="282575" y="2033858"/>
                      <a:pt x="282575" y="3671243"/>
                    </a:cubicBezTo>
                    <a:cubicBezTo>
                      <a:pt x="282575" y="3671243"/>
                      <a:pt x="282575" y="3671243"/>
                      <a:pt x="5597525" y="3671243"/>
                    </a:cubicBezTo>
                    <a:cubicBezTo>
                      <a:pt x="5597525" y="3671243"/>
                      <a:pt x="5597525" y="3671243"/>
                      <a:pt x="5597525" y="2033858"/>
                    </a:cubicBezTo>
                    <a:cubicBezTo>
                      <a:pt x="5597525" y="2033858"/>
                      <a:pt x="5597525" y="2033858"/>
                      <a:pt x="4859503" y="2033858"/>
                    </a:cubicBezTo>
                    <a:cubicBezTo>
                      <a:pt x="4859503" y="2033858"/>
                      <a:pt x="4859503" y="2033858"/>
                      <a:pt x="4859503" y="1087152"/>
                    </a:cubicBezTo>
                    <a:cubicBezTo>
                      <a:pt x="4859503" y="1087152"/>
                      <a:pt x="4859503" y="1087152"/>
                      <a:pt x="2931122" y="137468"/>
                    </a:cubicBezTo>
                    <a:close/>
                    <a:moveTo>
                      <a:pt x="2932609" y="0"/>
                    </a:moveTo>
                    <a:cubicBezTo>
                      <a:pt x="2942283" y="0"/>
                      <a:pt x="2951958" y="2232"/>
                      <a:pt x="2960888" y="6697"/>
                    </a:cubicBezTo>
                    <a:cubicBezTo>
                      <a:pt x="2960888" y="6697"/>
                      <a:pt x="2960888" y="6697"/>
                      <a:pt x="4913652" y="965050"/>
                    </a:cubicBezTo>
                    <a:cubicBezTo>
                      <a:pt x="4913652" y="965050"/>
                      <a:pt x="4913652" y="965050"/>
                      <a:pt x="4916629" y="968026"/>
                    </a:cubicBezTo>
                    <a:cubicBezTo>
                      <a:pt x="4961280" y="988860"/>
                      <a:pt x="4991048" y="1033504"/>
                      <a:pt x="4991048" y="1087076"/>
                    </a:cubicBezTo>
                    <a:cubicBezTo>
                      <a:pt x="4991048" y="1087076"/>
                      <a:pt x="4991048" y="1087076"/>
                      <a:pt x="4991048" y="1902569"/>
                    </a:cubicBezTo>
                    <a:cubicBezTo>
                      <a:pt x="4991048" y="1902569"/>
                      <a:pt x="4991048" y="1902569"/>
                      <a:pt x="5598310" y="1902569"/>
                    </a:cubicBezTo>
                    <a:cubicBezTo>
                      <a:pt x="5669753" y="1902569"/>
                      <a:pt x="5729288" y="1962094"/>
                      <a:pt x="5729288" y="2033525"/>
                    </a:cubicBezTo>
                    <a:cubicBezTo>
                      <a:pt x="5729288" y="2033525"/>
                      <a:pt x="5729288" y="2033525"/>
                      <a:pt x="5729288" y="3670463"/>
                    </a:cubicBezTo>
                    <a:cubicBezTo>
                      <a:pt x="5729288" y="3741893"/>
                      <a:pt x="5669753" y="3801418"/>
                      <a:pt x="5598310" y="3801418"/>
                    </a:cubicBezTo>
                    <a:cubicBezTo>
                      <a:pt x="5598310" y="3801418"/>
                      <a:pt x="5598310" y="3801418"/>
                      <a:pt x="281791" y="3801418"/>
                    </a:cubicBezTo>
                    <a:cubicBezTo>
                      <a:pt x="210349" y="3801418"/>
                      <a:pt x="150813" y="3741893"/>
                      <a:pt x="150813" y="3670463"/>
                    </a:cubicBezTo>
                    <a:cubicBezTo>
                      <a:pt x="150813" y="3670463"/>
                      <a:pt x="150813" y="3670463"/>
                      <a:pt x="150813" y="2033525"/>
                    </a:cubicBezTo>
                    <a:cubicBezTo>
                      <a:pt x="150813" y="1962094"/>
                      <a:pt x="210349" y="1902569"/>
                      <a:pt x="281791" y="1902569"/>
                    </a:cubicBezTo>
                    <a:cubicBezTo>
                      <a:pt x="281791" y="1902569"/>
                      <a:pt x="281791" y="1902569"/>
                      <a:pt x="889053" y="1902569"/>
                    </a:cubicBezTo>
                    <a:cubicBezTo>
                      <a:pt x="889053" y="1902569"/>
                      <a:pt x="889053" y="1902569"/>
                      <a:pt x="889053" y="1087076"/>
                    </a:cubicBezTo>
                    <a:cubicBezTo>
                      <a:pt x="889053" y="1033504"/>
                      <a:pt x="918821" y="988860"/>
                      <a:pt x="963473" y="968026"/>
                    </a:cubicBezTo>
                    <a:cubicBezTo>
                      <a:pt x="963473" y="968026"/>
                      <a:pt x="963473" y="968026"/>
                      <a:pt x="966449" y="968026"/>
                    </a:cubicBezTo>
                    <a:cubicBezTo>
                      <a:pt x="966449" y="968026"/>
                      <a:pt x="966449" y="968026"/>
                      <a:pt x="2904329" y="6697"/>
                    </a:cubicBezTo>
                    <a:cubicBezTo>
                      <a:pt x="2913260" y="2232"/>
                      <a:pt x="2922934" y="0"/>
                      <a:pt x="2932609" y="0"/>
                    </a:cubicBezTo>
                    <a:close/>
                  </a:path>
                </a:pathLst>
              </a:custGeom>
              <a:solidFill>
                <a:srgbClr val="4F81BD"/>
              </a:solidFill>
              <a:ln>
                <a:noFill/>
              </a:ln>
            </p:spPr>
            <p:txBody>
              <a:bodyPr vert="horz" wrap="square" lIns="82296" tIns="41148" rIns="82296" bIns="41148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761970">
                  <a:defRPr/>
                </a:pPr>
                <a:endParaRPr lang="en-US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183" name="Group 182"/>
          <p:cNvGrpSpPr>
            <a:grpSpLocks noChangeAspect="1"/>
          </p:cNvGrpSpPr>
          <p:nvPr/>
        </p:nvGrpSpPr>
        <p:grpSpPr>
          <a:xfrm>
            <a:off x="4356656" y="2839281"/>
            <a:ext cx="548641" cy="548640"/>
            <a:chOff x="2670720" y="1"/>
            <a:chExt cx="6858002" cy="6858000"/>
          </a:xfrm>
        </p:grpSpPr>
        <p:sp>
          <p:nvSpPr>
            <p:cNvPr id="184" name="AutoShape 17"/>
            <p:cNvSpPr>
              <a:spLocks noChangeAspect="1" noChangeArrowheads="1" noTextEdit="1"/>
            </p:cNvSpPr>
            <p:nvPr/>
          </p:nvSpPr>
          <p:spPr bwMode="auto">
            <a:xfrm>
              <a:off x="2670720" y="1"/>
              <a:ext cx="6858002" cy="685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2296" tIns="41148" rIns="82296" bIns="41148" numCol="1" anchor="t" anchorCtr="0" compatLnSpc="1">
              <a:prstTxWarp prst="textNoShape">
                <a:avLst/>
              </a:prstTxWarp>
            </a:bodyPr>
            <a:lstStyle/>
            <a:p>
              <a:pPr defTabSz="761970">
                <a:defRPr/>
              </a:pPr>
              <a:endParaRPr lang="en-US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85" name="Group 184"/>
            <p:cNvGrpSpPr/>
            <p:nvPr/>
          </p:nvGrpSpPr>
          <p:grpSpPr>
            <a:xfrm>
              <a:off x="3398342" y="708023"/>
              <a:ext cx="5402767" cy="5441947"/>
              <a:chOff x="3398339" y="708025"/>
              <a:chExt cx="5402761" cy="5441951"/>
            </a:xfrm>
          </p:grpSpPr>
          <p:sp>
            <p:nvSpPr>
              <p:cNvPr id="186" name="Freeform 185"/>
              <p:cNvSpPr>
                <a:spLocks/>
              </p:cNvSpPr>
              <p:nvPr/>
            </p:nvSpPr>
            <p:spPr bwMode="auto">
              <a:xfrm>
                <a:off x="3398339" y="708025"/>
                <a:ext cx="5402761" cy="5441951"/>
              </a:xfrm>
              <a:custGeom>
                <a:avLst/>
                <a:gdLst>
                  <a:gd name="connsiteX0" fmla="*/ 3533552 w 5402761"/>
                  <a:gd name="connsiteY0" fmla="*/ 4075113 h 5441951"/>
                  <a:gd name="connsiteX1" fmla="*/ 3643735 w 5402761"/>
                  <a:gd name="connsiteY1" fmla="*/ 4075113 h 5441951"/>
                  <a:gd name="connsiteX2" fmla="*/ 3643735 w 5402761"/>
                  <a:gd name="connsiteY2" fmla="*/ 4155462 h 5441951"/>
                  <a:gd name="connsiteX3" fmla="*/ 3780720 w 5402761"/>
                  <a:gd name="connsiteY3" fmla="*/ 4197125 h 5441951"/>
                  <a:gd name="connsiteX4" fmla="*/ 3742007 w 5402761"/>
                  <a:gd name="connsiteY4" fmla="*/ 4301281 h 5441951"/>
                  <a:gd name="connsiteX5" fmla="*/ 3599066 w 5402761"/>
                  <a:gd name="connsiteY5" fmla="*/ 4253667 h 5441951"/>
                  <a:gd name="connsiteX6" fmla="*/ 3530574 w 5402761"/>
                  <a:gd name="connsiteY6" fmla="*/ 4277474 h 5441951"/>
                  <a:gd name="connsiteX7" fmla="*/ 3506750 w 5402761"/>
                  <a:gd name="connsiteY7" fmla="*/ 4334016 h 5441951"/>
                  <a:gd name="connsiteX8" fmla="*/ 3640757 w 5402761"/>
                  <a:gd name="connsiteY8" fmla="*/ 4456027 h 5441951"/>
                  <a:gd name="connsiteX9" fmla="*/ 3747963 w 5402761"/>
                  <a:gd name="connsiteY9" fmla="*/ 4518521 h 5441951"/>
                  <a:gd name="connsiteX10" fmla="*/ 3792632 w 5402761"/>
                  <a:gd name="connsiteY10" fmla="*/ 4583991 h 5441951"/>
                  <a:gd name="connsiteX11" fmla="*/ 3810499 w 5402761"/>
                  <a:gd name="connsiteY11" fmla="*/ 4664340 h 5441951"/>
                  <a:gd name="connsiteX12" fmla="*/ 3768808 w 5402761"/>
                  <a:gd name="connsiteY12" fmla="*/ 4780400 h 5441951"/>
                  <a:gd name="connsiteX13" fmla="*/ 3643735 w 5402761"/>
                  <a:gd name="connsiteY13" fmla="*/ 4845869 h 5441951"/>
                  <a:gd name="connsiteX14" fmla="*/ 3643735 w 5402761"/>
                  <a:gd name="connsiteY14" fmla="*/ 4953001 h 5441951"/>
                  <a:gd name="connsiteX15" fmla="*/ 3533552 w 5402761"/>
                  <a:gd name="connsiteY15" fmla="*/ 4953001 h 5441951"/>
                  <a:gd name="connsiteX16" fmla="*/ 3533552 w 5402761"/>
                  <a:gd name="connsiteY16" fmla="*/ 4854797 h 5441951"/>
                  <a:gd name="connsiteX17" fmla="*/ 3378699 w 5402761"/>
                  <a:gd name="connsiteY17" fmla="*/ 4807183 h 5441951"/>
                  <a:gd name="connsiteX18" fmla="*/ 3426346 w 5402761"/>
                  <a:gd name="connsiteY18" fmla="*/ 4697075 h 5441951"/>
                  <a:gd name="connsiteX19" fmla="*/ 3575243 w 5402761"/>
                  <a:gd name="connsiteY19" fmla="*/ 4747665 h 5441951"/>
                  <a:gd name="connsiteX20" fmla="*/ 3685426 w 5402761"/>
                  <a:gd name="connsiteY20" fmla="*/ 4673267 h 5441951"/>
                  <a:gd name="connsiteX21" fmla="*/ 3655647 w 5402761"/>
                  <a:gd name="connsiteY21" fmla="*/ 4607798 h 5441951"/>
                  <a:gd name="connsiteX22" fmla="*/ 3548441 w 5402761"/>
                  <a:gd name="connsiteY22" fmla="*/ 4536376 h 5441951"/>
                  <a:gd name="connsiteX23" fmla="*/ 3441236 w 5402761"/>
                  <a:gd name="connsiteY23" fmla="*/ 4473883 h 5441951"/>
                  <a:gd name="connsiteX24" fmla="*/ 3396567 w 5402761"/>
                  <a:gd name="connsiteY24" fmla="*/ 4414365 h 5441951"/>
                  <a:gd name="connsiteX25" fmla="*/ 3381677 w 5402761"/>
                  <a:gd name="connsiteY25" fmla="*/ 4336992 h 5441951"/>
                  <a:gd name="connsiteX26" fmla="*/ 3423368 w 5402761"/>
                  <a:gd name="connsiteY26" fmla="*/ 4226884 h 5441951"/>
                  <a:gd name="connsiteX27" fmla="*/ 3533552 w 5402761"/>
                  <a:gd name="connsiteY27" fmla="*/ 4161414 h 5441951"/>
                  <a:gd name="connsiteX28" fmla="*/ 3533552 w 5402761"/>
                  <a:gd name="connsiteY28" fmla="*/ 4075113 h 5441951"/>
                  <a:gd name="connsiteX29" fmla="*/ 1932486 w 5402761"/>
                  <a:gd name="connsiteY29" fmla="*/ 3735388 h 5441951"/>
                  <a:gd name="connsiteX30" fmla="*/ 1932486 w 5402761"/>
                  <a:gd name="connsiteY30" fmla="*/ 5310188 h 5441951"/>
                  <a:gd name="connsiteX31" fmla="*/ 5272586 w 5402761"/>
                  <a:gd name="connsiteY31" fmla="*/ 5310188 h 5441951"/>
                  <a:gd name="connsiteX32" fmla="*/ 5272586 w 5402761"/>
                  <a:gd name="connsiteY32" fmla="*/ 3735388 h 5441951"/>
                  <a:gd name="connsiteX33" fmla="*/ 1867774 w 5402761"/>
                  <a:gd name="connsiteY33" fmla="*/ 3608388 h 5441951"/>
                  <a:gd name="connsiteX34" fmla="*/ 5337298 w 5402761"/>
                  <a:gd name="connsiteY34" fmla="*/ 3608388 h 5441951"/>
                  <a:gd name="connsiteX35" fmla="*/ 5402761 w 5402761"/>
                  <a:gd name="connsiteY35" fmla="*/ 3670896 h 5441951"/>
                  <a:gd name="connsiteX36" fmla="*/ 5402761 w 5402761"/>
                  <a:gd name="connsiteY36" fmla="*/ 5376467 h 5441951"/>
                  <a:gd name="connsiteX37" fmla="*/ 5337298 w 5402761"/>
                  <a:gd name="connsiteY37" fmla="*/ 5441951 h 5441951"/>
                  <a:gd name="connsiteX38" fmla="*/ 1867774 w 5402761"/>
                  <a:gd name="connsiteY38" fmla="*/ 5441951 h 5441951"/>
                  <a:gd name="connsiteX39" fmla="*/ 1802311 w 5402761"/>
                  <a:gd name="connsiteY39" fmla="*/ 5376467 h 5441951"/>
                  <a:gd name="connsiteX40" fmla="*/ 1802311 w 5402761"/>
                  <a:gd name="connsiteY40" fmla="*/ 3670896 h 5441951"/>
                  <a:gd name="connsiteX41" fmla="*/ 1867774 w 5402761"/>
                  <a:gd name="connsiteY41" fmla="*/ 3608388 h 5441951"/>
                  <a:gd name="connsiteX42" fmla="*/ 409138 w 5402761"/>
                  <a:gd name="connsiteY42" fmla="*/ 2566988 h 5441951"/>
                  <a:gd name="connsiteX43" fmla="*/ 465674 w 5402761"/>
                  <a:gd name="connsiteY43" fmla="*/ 2623521 h 5441951"/>
                  <a:gd name="connsiteX44" fmla="*/ 792985 w 5402761"/>
                  <a:gd name="connsiteY44" fmla="*/ 2950815 h 5441951"/>
                  <a:gd name="connsiteX45" fmla="*/ 804887 w 5402761"/>
                  <a:gd name="connsiteY45" fmla="*/ 3057929 h 5441951"/>
                  <a:gd name="connsiteX46" fmla="*/ 742400 w 5402761"/>
                  <a:gd name="connsiteY46" fmla="*/ 3087683 h 5441951"/>
                  <a:gd name="connsiteX47" fmla="*/ 694791 w 5402761"/>
                  <a:gd name="connsiteY47" fmla="*/ 3072806 h 5441951"/>
                  <a:gd name="connsiteX48" fmla="*/ 489478 w 5402761"/>
                  <a:gd name="connsiteY48" fmla="*/ 2867504 h 5441951"/>
                  <a:gd name="connsiteX49" fmla="*/ 489478 w 5402761"/>
                  <a:gd name="connsiteY49" fmla="*/ 4444467 h 5441951"/>
                  <a:gd name="connsiteX50" fmla="*/ 1667797 w 5402761"/>
                  <a:gd name="connsiteY50" fmla="*/ 4444467 h 5441951"/>
                  <a:gd name="connsiteX51" fmla="*/ 1745161 w 5402761"/>
                  <a:gd name="connsiteY51" fmla="*/ 4524803 h 5441951"/>
                  <a:gd name="connsiteX52" fmla="*/ 1667797 w 5402761"/>
                  <a:gd name="connsiteY52" fmla="*/ 4602163 h 5441951"/>
                  <a:gd name="connsiteX53" fmla="*/ 331774 w 5402761"/>
                  <a:gd name="connsiteY53" fmla="*/ 4602163 h 5441951"/>
                  <a:gd name="connsiteX54" fmla="*/ 331774 w 5402761"/>
                  <a:gd name="connsiteY54" fmla="*/ 2867504 h 5441951"/>
                  <a:gd name="connsiteX55" fmla="*/ 132412 w 5402761"/>
                  <a:gd name="connsiteY55" fmla="*/ 3063880 h 5441951"/>
                  <a:gd name="connsiteX56" fmla="*/ 22316 w 5402761"/>
                  <a:gd name="connsiteY56" fmla="*/ 3063880 h 5441951"/>
                  <a:gd name="connsiteX57" fmla="*/ 22316 w 5402761"/>
                  <a:gd name="connsiteY57" fmla="*/ 2953790 h 5441951"/>
                  <a:gd name="connsiteX58" fmla="*/ 409138 w 5402761"/>
                  <a:gd name="connsiteY58" fmla="*/ 2566988 h 5441951"/>
                  <a:gd name="connsiteX59" fmla="*/ 3075116 w 5402761"/>
                  <a:gd name="connsiteY59" fmla="*/ 1373188 h 5441951"/>
                  <a:gd name="connsiteX60" fmla="*/ 4412049 w 5402761"/>
                  <a:gd name="connsiteY60" fmla="*/ 1373188 h 5441951"/>
                  <a:gd name="connsiteX61" fmla="*/ 4412049 w 5402761"/>
                  <a:gd name="connsiteY61" fmla="*/ 3104872 h 5441951"/>
                  <a:gd name="connsiteX62" fmla="*/ 4605591 w 5402761"/>
                  <a:gd name="connsiteY62" fmla="*/ 2914446 h 5441951"/>
                  <a:gd name="connsiteX63" fmla="*/ 4715761 w 5402761"/>
                  <a:gd name="connsiteY63" fmla="*/ 2917422 h 5441951"/>
                  <a:gd name="connsiteX64" fmla="*/ 4715761 w 5402761"/>
                  <a:gd name="connsiteY64" fmla="*/ 3027512 h 5441951"/>
                  <a:gd name="connsiteX65" fmla="*/ 4400138 w 5402761"/>
                  <a:gd name="connsiteY65" fmla="*/ 3336954 h 5441951"/>
                  <a:gd name="connsiteX66" fmla="*/ 4376318 w 5402761"/>
                  <a:gd name="connsiteY66" fmla="*/ 3363732 h 5441951"/>
                  <a:gd name="connsiteX67" fmla="*/ 4331654 w 5402761"/>
                  <a:gd name="connsiteY67" fmla="*/ 3408363 h 5441951"/>
                  <a:gd name="connsiteX68" fmla="*/ 4275080 w 5402761"/>
                  <a:gd name="connsiteY68" fmla="*/ 3351831 h 5441951"/>
                  <a:gd name="connsiteX69" fmla="*/ 3953502 w 5402761"/>
                  <a:gd name="connsiteY69" fmla="*/ 3030487 h 5441951"/>
                  <a:gd name="connsiteX70" fmla="*/ 3938614 w 5402761"/>
                  <a:gd name="connsiteY70" fmla="*/ 2923373 h 5441951"/>
                  <a:gd name="connsiteX71" fmla="*/ 4048784 w 5402761"/>
                  <a:gd name="connsiteY71" fmla="*/ 2908496 h 5441951"/>
                  <a:gd name="connsiteX72" fmla="*/ 4257214 w 5402761"/>
                  <a:gd name="connsiteY72" fmla="*/ 3110823 h 5441951"/>
                  <a:gd name="connsiteX73" fmla="*/ 4257214 w 5402761"/>
                  <a:gd name="connsiteY73" fmla="*/ 1527909 h 5441951"/>
                  <a:gd name="connsiteX74" fmla="*/ 3075116 w 5402761"/>
                  <a:gd name="connsiteY74" fmla="*/ 1527909 h 5441951"/>
                  <a:gd name="connsiteX75" fmla="*/ 2997699 w 5402761"/>
                  <a:gd name="connsiteY75" fmla="*/ 1450549 h 5441951"/>
                  <a:gd name="connsiteX76" fmla="*/ 3075116 w 5402761"/>
                  <a:gd name="connsiteY76" fmla="*/ 1373188 h 5441951"/>
                  <a:gd name="connsiteX77" fmla="*/ 1464174 w 5402761"/>
                  <a:gd name="connsiteY77" fmla="*/ 669925 h 5441951"/>
                  <a:gd name="connsiteX78" fmla="*/ 694236 w 5402761"/>
                  <a:gd name="connsiteY78" fmla="*/ 1440657 h 5441951"/>
                  <a:gd name="connsiteX79" fmla="*/ 1464174 w 5402761"/>
                  <a:gd name="connsiteY79" fmla="*/ 2211389 h 5441951"/>
                  <a:gd name="connsiteX80" fmla="*/ 2234112 w 5402761"/>
                  <a:gd name="connsiteY80" fmla="*/ 1440657 h 5441951"/>
                  <a:gd name="connsiteX81" fmla="*/ 1464174 w 5402761"/>
                  <a:gd name="connsiteY81" fmla="*/ 669925 h 5441951"/>
                  <a:gd name="connsiteX82" fmla="*/ 1465761 w 5402761"/>
                  <a:gd name="connsiteY82" fmla="*/ 533400 h 5441951"/>
                  <a:gd name="connsiteX83" fmla="*/ 2373811 w 5402761"/>
                  <a:gd name="connsiteY83" fmla="*/ 1441450 h 5441951"/>
                  <a:gd name="connsiteX84" fmla="*/ 1465761 w 5402761"/>
                  <a:gd name="connsiteY84" fmla="*/ 2349500 h 5441951"/>
                  <a:gd name="connsiteX85" fmla="*/ 557711 w 5402761"/>
                  <a:gd name="connsiteY85" fmla="*/ 1441450 h 5441951"/>
                  <a:gd name="connsiteX86" fmla="*/ 1465761 w 5402761"/>
                  <a:gd name="connsiteY86" fmla="*/ 533400 h 5441951"/>
                  <a:gd name="connsiteX87" fmla="*/ 1333910 w 5402761"/>
                  <a:gd name="connsiteY87" fmla="*/ 142875 h 5441951"/>
                  <a:gd name="connsiteX88" fmla="*/ 1232714 w 5402761"/>
                  <a:gd name="connsiteY88" fmla="*/ 416804 h 5441951"/>
                  <a:gd name="connsiteX89" fmla="*/ 1196998 w 5402761"/>
                  <a:gd name="connsiteY89" fmla="*/ 425736 h 5441951"/>
                  <a:gd name="connsiteX90" fmla="*/ 1009489 w 5402761"/>
                  <a:gd name="connsiteY90" fmla="*/ 488263 h 5441951"/>
                  <a:gd name="connsiteX91" fmla="*/ 979726 w 5402761"/>
                  <a:gd name="connsiteY91" fmla="*/ 503152 h 5441951"/>
                  <a:gd name="connsiteX92" fmla="*/ 732690 w 5402761"/>
                  <a:gd name="connsiteY92" fmla="*/ 363209 h 5441951"/>
                  <a:gd name="connsiteX93" fmla="*/ 628518 w 5402761"/>
                  <a:gd name="connsiteY93" fmla="*/ 443601 h 5441951"/>
                  <a:gd name="connsiteX94" fmla="*/ 530299 w 5402761"/>
                  <a:gd name="connsiteY94" fmla="*/ 532926 h 5441951"/>
                  <a:gd name="connsiteX95" fmla="*/ 619589 w 5402761"/>
                  <a:gd name="connsiteY95" fmla="*/ 777080 h 5441951"/>
                  <a:gd name="connsiteX96" fmla="*/ 592802 w 5402761"/>
                  <a:gd name="connsiteY96" fmla="*/ 806854 h 5441951"/>
                  <a:gd name="connsiteX97" fmla="*/ 467796 w 5402761"/>
                  <a:gd name="connsiteY97" fmla="*/ 1009324 h 5441951"/>
                  <a:gd name="connsiteX98" fmla="*/ 452914 w 5402761"/>
                  <a:gd name="connsiteY98" fmla="*/ 1039098 h 5441951"/>
                  <a:gd name="connsiteX99" fmla="*/ 211831 w 5402761"/>
                  <a:gd name="connsiteY99" fmla="*/ 1086738 h 5441951"/>
                  <a:gd name="connsiteX100" fmla="*/ 185044 w 5402761"/>
                  <a:gd name="connsiteY100" fmla="*/ 1211793 h 5441951"/>
                  <a:gd name="connsiteX101" fmla="*/ 167186 w 5402761"/>
                  <a:gd name="connsiteY101" fmla="*/ 1345779 h 5441951"/>
                  <a:gd name="connsiteX102" fmla="*/ 366601 w 5402761"/>
                  <a:gd name="connsiteY102" fmla="*/ 1461902 h 5441951"/>
                  <a:gd name="connsiteX103" fmla="*/ 369577 w 5402761"/>
                  <a:gd name="connsiteY103" fmla="*/ 1500609 h 5441951"/>
                  <a:gd name="connsiteX104" fmla="*/ 417198 w 5402761"/>
                  <a:gd name="connsiteY104" fmla="*/ 1756673 h 5441951"/>
                  <a:gd name="connsiteX105" fmla="*/ 429104 w 5402761"/>
                  <a:gd name="connsiteY105" fmla="*/ 1789425 h 5441951"/>
                  <a:gd name="connsiteX106" fmla="*/ 277311 w 5402761"/>
                  <a:gd name="connsiteY106" fmla="*/ 1974029 h 5441951"/>
                  <a:gd name="connsiteX107" fmla="*/ 336837 w 5402761"/>
                  <a:gd name="connsiteY107" fmla="*/ 2090151 h 5441951"/>
                  <a:gd name="connsiteX108" fmla="*/ 408269 w 5402761"/>
                  <a:gd name="connsiteY108" fmla="*/ 2200318 h 5441951"/>
                  <a:gd name="connsiteX109" fmla="*/ 658281 w 5402761"/>
                  <a:gd name="connsiteY109" fmla="*/ 2161611 h 5441951"/>
                  <a:gd name="connsiteX110" fmla="*/ 685068 w 5402761"/>
                  <a:gd name="connsiteY110" fmla="*/ 2185431 h 5441951"/>
                  <a:gd name="connsiteX111" fmla="*/ 863649 w 5402761"/>
                  <a:gd name="connsiteY111" fmla="*/ 2325372 h 5441951"/>
                  <a:gd name="connsiteX112" fmla="*/ 896388 w 5402761"/>
                  <a:gd name="connsiteY112" fmla="*/ 2346215 h 5441951"/>
                  <a:gd name="connsiteX113" fmla="*/ 896388 w 5402761"/>
                  <a:gd name="connsiteY113" fmla="*/ 2611211 h 5441951"/>
                  <a:gd name="connsiteX114" fmla="*/ 1018418 w 5402761"/>
                  <a:gd name="connsiteY114" fmla="*/ 2661828 h 5441951"/>
                  <a:gd name="connsiteX115" fmla="*/ 1143424 w 5402761"/>
                  <a:gd name="connsiteY115" fmla="*/ 2700536 h 5441951"/>
                  <a:gd name="connsiteX116" fmla="*/ 1324981 w 5402761"/>
                  <a:gd name="connsiteY116" fmla="*/ 2492112 h 5441951"/>
                  <a:gd name="connsiteX117" fmla="*/ 1360697 w 5402761"/>
                  <a:gd name="connsiteY117" fmla="*/ 2495089 h 5441951"/>
                  <a:gd name="connsiteX118" fmla="*/ 1566064 w 5402761"/>
                  <a:gd name="connsiteY118" fmla="*/ 2495089 h 5441951"/>
                  <a:gd name="connsiteX119" fmla="*/ 1601780 w 5402761"/>
                  <a:gd name="connsiteY119" fmla="*/ 2492112 h 5441951"/>
                  <a:gd name="connsiteX120" fmla="*/ 1783336 w 5402761"/>
                  <a:gd name="connsiteY120" fmla="*/ 2703513 h 5441951"/>
                  <a:gd name="connsiteX121" fmla="*/ 1905366 w 5402761"/>
                  <a:gd name="connsiteY121" fmla="*/ 2661828 h 5441951"/>
                  <a:gd name="connsiteX122" fmla="*/ 2030372 w 5402761"/>
                  <a:gd name="connsiteY122" fmla="*/ 2611211 h 5441951"/>
                  <a:gd name="connsiteX123" fmla="*/ 2033348 w 5402761"/>
                  <a:gd name="connsiteY123" fmla="*/ 2349192 h 5441951"/>
                  <a:gd name="connsiteX124" fmla="*/ 2063112 w 5402761"/>
                  <a:gd name="connsiteY124" fmla="*/ 2328350 h 5441951"/>
                  <a:gd name="connsiteX125" fmla="*/ 2244668 w 5402761"/>
                  <a:gd name="connsiteY125" fmla="*/ 2185431 h 5441951"/>
                  <a:gd name="connsiteX126" fmla="*/ 2271455 w 5402761"/>
                  <a:gd name="connsiteY126" fmla="*/ 2161611 h 5441951"/>
                  <a:gd name="connsiteX127" fmla="*/ 2518491 w 5402761"/>
                  <a:gd name="connsiteY127" fmla="*/ 2200318 h 5441951"/>
                  <a:gd name="connsiteX128" fmla="*/ 2589923 w 5402761"/>
                  <a:gd name="connsiteY128" fmla="*/ 2090151 h 5441951"/>
                  <a:gd name="connsiteX129" fmla="*/ 2649450 w 5402761"/>
                  <a:gd name="connsiteY129" fmla="*/ 1977007 h 5441951"/>
                  <a:gd name="connsiteX130" fmla="*/ 2497657 w 5402761"/>
                  <a:gd name="connsiteY130" fmla="*/ 1792402 h 5441951"/>
                  <a:gd name="connsiteX131" fmla="*/ 2509562 w 5402761"/>
                  <a:gd name="connsiteY131" fmla="*/ 1756673 h 5441951"/>
                  <a:gd name="connsiteX132" fmla="*/ 2557183 w 5402761"/>
                  <a:gd name="connsiteY132" fmla="*/ 1500609 h 5441951"/>
                  <a:gd name="connsiteX133" fmla="*/ 2560160 w 5402761"/>
                  <a:gd name="connsiteY133" fmla="*/ 1464879 h 5441951"/>
                  <a:gd name="connsiteX134" fmla="*/ 2759574 w 5402761"/>
                  <a:gd name="connsiteY134" fmla="*/ 1345779 h 5441951"/>
                  <a:gd name="connsiteX135" fmla="*/ 2741716 w 5402761"/>
                  <a:gd name="connsiteY135" fmla="*/ 1214771 h 5441951"/>
                  <a:gd name="connsiteX136" fmla="*/ 2714929 w 5402761"/>
                  <a:gd name="connsiteY136" fmla="*/ 1086738 h 5441951"/>
                  <a:gd name="connsiteX137" fmla="*/ 2476822 w 5402761"/>
                  <a:gd name="connsiteY137" fmla="*/ 1042076 h 5441951"/>
                  <a:gd name="connsiteX138" fmla="*/ 2461941 w 5402761"/>
                  <a:gd name="connsiteY138" fmla="*/ 1009324 h 5441951"/>
                  <a:gd name="connsiteX139" fmla="*/ 2333958 w 5402761"/>
                  <a:gd name="connsiteY139" fmla="*/ 806854 h 5441951"/>
                  <a:gd name="connsiteX140" fmla="*/ 2310148 w 5402761"/>
                  <a:gd name="connsiteY140" fmla="*/ 777080 h 5441951"/>
                  <a:gd name="connsiteX141" fmla="*/ 2396461 w 5402761"/>
                  <a:gd name="connsiteY141" fmla="*/ 532926 h 5441951"/>
                  <a:gd name="connsiteX142" fmla="*/ 2298242 w 5402761"/>
                  <a:gd name="connsiteY142" fmla="*/ 443601 h 5441951"/>
                  <a:gd name="connsiteX143" fmla="*/ 2197047 w 5402761"/>
                  <a:gd name="connsiteY143" fmla="*/ 363209 h 5441951"/>
                  <a:gd name="connsiteX144" fmla="*/ 1950011 w 5402761"/>
                  <a:gd name="connsiteY144" fmla="*/ 503152 h 5441951"/>
                  <a:gd name="connsiteX145" fmla="*/ 1917271 w 5402761"/>
                  <a:gd name="connsiteY145" fmla="*/ 488263 h 5441951"/>
                  <a:gd name="connsiteX146" fmla="*/ 1732739 w 5402761"/>
                  <a:gd name="connsiteY146" fmla="*/ 425736 h 5441951"/>
                  <a:gd name="connsiteX147" fmla="*/ 1697023 w 5402761"/>
                  <a:gd name="connsiteY147" fmla="*/ 416804 h 5441951"/>
                  <a:gd name="connsiteX148" fmla="*/ 1595827 w 5402761"/>
                  <a:gd name="connsiteY148" fmla="*/ 142875 h 5441951"/>
                  <a:gd name="connsiteX149" fmla="*/ 1464868 w 5402761"/>
                  <a:gd name="connsiteY149" fmla="*/ 142875 h 5441951"/>
                  <a:gd name="connsiteX150" fmla="*/ 1333910 w 5402761"/>
                  <a:gd name="connsiteY150" fmla="*/ 142875 h 5441951"/>
                  <a:gd name="connsiteX151" fmla="*/ 1464868 w 5402761"/>
                  <a:gd name="connsiteY151" fmla="*/ 0 h 5441951"/>
                  <a:gd name="connsiteX152" fmla="*/ 1655355 w 5402761"/>
                  <a:gd name="connsiteY152" fmla="*/ 11906 h 5441951"/>
                  <a:gd name="connsiteX153" fmla="*/ 1694048 w 5402761"/>
                  <a:gd name="connsiteY153" fmla="*/ 17858 h 5441951"/>
                  <a:gd name="connsiteX154" fmla="*/ 1801197 w 5402761"/>
                  <a:gd name="connsiteY154" fmla="*/ 300612 h 5441951"/>
                  <a:gd name="connsiteX155" fmla="*/ 1941086 w 5402761"/>
                  <a:gd name="connsiteY155" fmla="*/ 348234 h 5441951"/>
                  <a:gd name="connsiteX156" fmla="*/ 2203005 w 5402761"/>
                  <a:gd name="connsiteY156" fmla="*/ 202392 h 5441951"/>
                  <a:gd name="connsiteX157" fmla="*/ 2238721 w 5402761"/>
                  <a:gd name="connsiteY157" fmla="*/ 226203 h 5441951"/>
                  <a:gd name="connsiteX158" fmla="*/ 2387539 w 5402761"/>
                  <a:gd name="connsiteY158" fmla="*/ 339305 h 5441951"/>
                  <a:gd name="connsiteX159" fmla="*/ 2524452 w 5402761"/>
                  <a:gd name="connsiteY159" fmla="*/ 467288 h 5441951"/>
                  <a:gd name="connsiteX160" fmla="*/ 2554215 w 5402761"/>
                  <a:gd name="connsiteY160" fmla="*/ 500028 h 5441951"/>
                  <a:gd name="connsiteX161" fmla="*/ 2467901 w 5402761"/>
                  <a:gd name="connsiteY161" fmla="*/ 753018 h 5441951"/>
                  <a:gd name="connsiteX162" fmla="*/ 2572073 w 5402761"/>
                  <a:gd name="connsiteY162" fmla="*/ 919694 h 5441951"/>
                  <a:gd name="connsiteX163" fmla="*/ 2825064 w 5402761"/>
                  <a:gd name="connsiteY163" fmla="*/ 964339 h 5441951"/>
                  <a:gd name="connsiteX164" fmla="*/ 2836969 w 5402761"/>
                  <a:gd name="connsiteY164" fmla="*/ 1006008 h 5441951"/>
                  <a:gd name="connsiteX165" fmla="*/ 2878638 w 5402761"/>
                  <a:gd name="connsiteY165" fmla="*/ 1190543 h 5441951"/>
                  <a:gd name="connsiteX166" fmla="*/ 2899473 w 5402761"/>
                  <a:gd name="connsiteY166" fmla="*/ 1378053 h 5441951"/>
                  <a:gd name="connsiteX167" fmla="*/ 2902449 w 5402761"/>
                  <a:gd name="connsiteY167" fmla="*/ 1419722 h 5441951"/>
                  <a:gd name="connsiteX168" fmla="*/ 2691128 w 5402761"/>
                  <a:gd name="connsiteY168" fmla="*/ 1547705 h 5441951"/>
                  <a:gd name="connsiteX169" fmla="*/ 2655411 w 5402761"/>
                  <a:gd name="connsiteY169" fmla="*/ 1762003 h 5441951"/>
                  <a:gd name="connsiteX170" fmla="*/ 2810182 w 5402761"/>
                  <a:gd name="connsiteY170" fmla="*/ 1952489 h 5441951"/>
                  <a:gd name="connsiteX171" fmla="*/ 2792324 w 5402761"/>
                  <a:gd name="connsiteY171" fmla="*/ 1988206 h 5441951"/>
                  <a:gd name="connsiteX172" fmla="*/ 2706010 w 5402761"/>
                  <a:gd name="connsiteY172" fmla="*/ 2160834 h 5441951"/>
                  <a:gd name="connsiteX173" fmla="*/ 2604813 w 5402761"/>
                  <a:gd name="connsiteY173" fmla="*/ 2318581 h 5441951"/>
                  <a:gd name="connsiteX174" fmla="*/ 2581002 w 5402761"/>
                  <a:gd name="connsiteY174" fmla="*/ 2351321 h 5441951"/>
                  <a:gd name="connsiteX175" fmla="*/ 2313130 w 5402761"/>
                  <a:gd name="connsiteY175" fmla="*/ 2309652 h 5441951"/>
                  <a:gd name="connsiteX176" fmla="*/ 2170265 w 5402761"/>
                  <a:gd name="connsiteY176" fmla="*/ 2422754 h 5441951"/>
                  <a:gd name="connsiteX177" fmla="*/ 2164312 w 5402761"/>
                  <a:gd name="connsiteY177" fmla="*/ 2699555 h 5441951"/>
                  <a:gd name="connsiteX178" fmla="*/ 2128596 w 5402761"/>
                  <a:gd name="connsiteY178" fmla="*/ 2717413 h 5441951"/>
                  <a:gd name="connsiteX179" fmla="*/ 1952991 w 5402761"/>
                  <a:gd name="connsiteY179" fmla="*/ 2791822 h 5441951"/>
                  <a:gd name="connsiteX180" fmla="*/ 1774410 w 5402761"/>
                  <a:gd name="connsiteY180" fmla="*/ 2845396 h 5441951"/>
                  <a:gd name="connsiteX181" fmla="*/ 1732741 w 5402761"/>
                  <a:gd name="connsiteY181" fmla="*/ 2854325 h 5441951"/>
                  <a:gd name="connsiteX182" fmla="*/ 1542254 w 5402761"/>
                  <a:gd name="connsiteY182" fmla="*/ 2634075 h 5441951"/>
                  <a:gd name="connsiteX183" fmla="*/ 1384507 w 5402761"/>
                  <a:gd name="connsiteY183" fmla="*/ 2634075 h 5441951"/>
                  <a:gd name="connsiteX184" fmla="*/ 1194020 w 5402761"/>
                  <a:gd name="connsiteY184" fmla="*/ 2854325 h 5441951"/>
                  <a:gd name="connsiteX185" fmla="*/ 1152351 w 5402761"/>
                  <a:gd name="connsiteY185" fmla="*/ 2845396 h 5441951"/>
                  <a:gd name="connsiteX186" fmla="*/ 970793 w 5402761"/>
                  <a:gd name="connsiteY186" fmla="*/ 2791822 h 5441951"/>
                  <a:gd name="connsiteX187" fmla="*/ 798164 w 5402761"/>
                  <a:gd name="connsiteY187" fmla="*/ 2717413 h 5441951"/>
                  <a:gd name="connsiteX188" fmla="*/ 759472 w 5402761"/>
                  <a:gd name="connsiteY188" fmla="*/ 2696578 h 5441951"/>
                  <a:gd name="connsiteX189" fmla="*/ 756495 w 5402761"/>
                  <a:gd name="connsiteY189" fmla="*/ 2419777 h 5441951"/>
                  <a:gd name="connsiteX190" fmla="*/ 613630 w 5402761"/>
                  <a:gd name="connsiteY190" fmla="*/ 2306676 h 5441951"/>
                  <a:gd name="connsiteX191" fmla="*/ 345758 w 5402761"/>
                  <a:gd name="connsiteY191" fmla="*/ 2351321 h 5441951"/>
                  <a:gd name="connsiteX192" fmla="*/ 321947 w 5402761"/>
                  <a:gd name="connsiteY192" fmla="*/ 2315605 h 5441951"/>
                  <a:gd name="connsiteX193" fmla="*/ 217774 w 5402761"/>
                  <a:gd name="connsiteY193" fmla="*/ 2160834 h 5441951"/>
                  <a:gd name="connsiteX194" fmla="*/ 131460 w 5402761"/>
                  <a:gd name="connsiteY194" fmla="*/ 1988206 h 5441951"/>
                  <a:gd name="connsiteX195" fmla="*/ 116578 w 5402761"/>
                  <a:gd name="connsiteY195" fmla="*/ 1952489 h 5441951"/>
                  <a:gd name="connsiteX196" fmla="*/ 274325 w 5402761"/>
                  <a:gd name="connsiteY196" fmla="*/ 1759026 h 5441951"/>
                  <a:gd name="connsiteX197" fmla="*/ 235633 w 5402761"/>
                  <a:gd name="connsiteY197" fmla="*/ 1544729 h 5441951"/>
                  <a:gd name="connsiteX198" fmla="*/ 24311 w 5402761"/>
                  <a:gd name="connsiteY198" fmla="*/ 1419722 h 5441951"/>
                  <a:gd name="connsiteX199" fmla="*/ 27287 w 5402761"/>
                  <a:gd name="connsiteY199" fmla="*/ 1375077 h 5441951"/>
                  <a:gd name="connsiteX200" fmla="*/ 48122 w 5402761"/>
                  <a:gd name="connsiteY200" fmla="*/ 1187566 h 5441951"/>
                  <a:gd name="connsiteX201" fmla="*/ 92767 w 5402761"/>
                  <a:gd name="connsiteY201" fmla="*/ 1006008 h 5441951"/>
                  <a:gd name="connsiteX202" fmla="*/ 104673 w 5402761"/>
                  <a:gd name="connsiteY202" fmla="*/ 964339 h 5441951"/>
                  <a:gd name="connsiteX203" fmla="*/ 357663 w 5402761"/>
                  <a:gd name="connsiteY203" fmla="*/ 916718 h 5441951"/>
                  <a:gd name="connsiteX204" fmla="*/ 464812 w 5402761"/>
                  <a:gd name="connsiteY204" fmla="*/ 753018 h 5441951"/>
                  <a:gd name="connsiteX205" fmla="*/ 372545 w 5402761"/>
                  <a:gd name="connsiteY205" fmla="*/ 497051 h 5441951"/>
                  <a:gd name="connsiteX206" fmla="*/ 402309 w 5402761"/>
                  <a:gd name="connsiteY206" fmla="*/ 467288 h 5441951"/>
                  <a:gd name="connsiteX207" fmla="*/ 539221 w 5402761"/>
                  <a:gd name="connsiteY207" fmla="*/ 339305 h 5441951"/>
                  <a:gd name="connsiteX208" fmla="*/ 693992 w 5402761"/>
                  <a:gd name="connsiteY208" fmla="*/ 223227 h 5441951"/>
                  <a:gd name="connsiteX209" fmla="*/ 726732 w 5402761"/>
                  <a:gd name="connsiteY209" fmla="*/ 199416 h 5441951"/>
                  <a:gd name="connsiteX210" fmla="*/ 985675 w 5402761"/>
                  <a:gd name="connsiteY210" fmla="*/ 345257 h 5441951"/>
                  <a:gd name="connsiteX211" fmla="*/ 1125564 w 5402761"/>
                  <a:gd name="connsiteY211" fmla="*/ 300612 h 5441951"/>
                  <a:gd name="connsiteX212" fmla="*/ 1235689 w 5402761"/>
                  <a:gd name="connsiteY212" fmla="*/ 17858 h 5441951"/>
                  <a:gd name="connsiteX213" fmla="*/ 1277358 w 5402761"/>
                  <a:gd name="connsiteY213" fmla="*/ 11906 h 5441951"/>
                  <a:gd name="connsiteX214" fmla="*/ 1464868 w 5402761"/>
                  <a:gd name="connsiteY214" fmla="*/ 0 h 5441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</a:cxnLst>
                <a:rect l="l" t="t" r="r" b="b"/>
                <a:pathLst>
                  <a:path w="5402761" h="5441951">
                    <a:moveTo>
                      <a:pt x="3533552" y="4075113"/>
                    </a:moveTo>
                    <a:cubicBezTo>
                      <a:pt x="3643735" y="4075113"/>
                      <a:pt x="3643735" y="4075113"/>
                      <a:pt x="3643735" y="4075113"/>
                    </a:cubicBezTo>
                    <a:cubicBezTo>
                      <a:pt x="3643735" y="4155462"/>
                      <a:pt x="3643735" y="4155462"/>
                      <a:pt x="3643735" y="4155462"/>
                    </a:cubicBezTo>
                    <a:cubicBezTo>
                      <a:pt x="3706272" y="4161414"/>
                      <a:pt x="3750941" y="4176294"/>
                      <a:pt x="3780720" y="4197125"/>
                    </a:cubicBezTo>
                    <a:cubicBezTo>
                      <a:pt x="3742007" y="4301281"/>
                      <a:pt x="3742007" y="4301281"/>
                      <a:pt x="3742007" y="4301281"/>
                    </a:cubicBezTo>
                    <a:cubicBezTo>
                      <a:pt x="3694360" y="4271522"/>
                      <a:pt x="3646713" y="4253667"/>
                      <a:pt x="3599066" y="4253667"/>
                    </a:cubicBezTo>
                    <a:cubicBezTo>
                      <a:pt x="3569287" y="4253667"/>
                      <a:pt x="3548441" y="4262594"/>
                      <a:pt x="3530574" y="4277474"/>
                    </a:cubicBezTo>
                    <a:cubicBezTo>
                      <a:pt x="3515684" y="4292353"/>
                      <a:pt x="3506750" y="4313185"/>
                      <a:pt x="3506750" y="4334016"/>
                    </a:cubicBezTo>
                    <a:cubicBezTo>
                      <a:pt x="3506750" y="4375678"/>
                      <a:pt x="3551419" y="4414365"/>
                      <a:pt x="3640757" y="4456027"/>
                    </a:cubicBezTo>
                    <a:cubicBezTo>
                      <a:pt x="3691382" y="4476859"/>
                      <a:pt x="3727117" y="4497690"/>
                      <a:pt x="3747963" y="4518521"/>
                    </a:cubicBezTo>
                    <a:cubicBezTo>
                      <a:pt x="3768808" y="4536376"/>
                      <a:pt x="3780720" y="4560184"/>
                      <a:pt x="3792632" y="4583991"/>
                    </a:cubicBezTo>
                    <a:cubicBezTo>
                      <a:pt x="3804543" y="4610774"/>
                      <a:pt x="3810499" y="4634581"/>
                      <a:pt x="3810499" y="4664340"/>
                    </a:cubicBezTo>
                    <a:cubicBezTo>
                      <a:pt x="3810499" y="4708978"/>
                      <a:pt x="3795610" y="4747665"/>
                      <a:pt x="3768808" y="4780400"/>
                    </a:cubicBezTo>
                    <a:cubicBezTo>
                      <a:pt x="3739029" y="4810158"/>
                      <a:pt x="3697338" y="4833966"/>
                      <a:pt x="3643735" y="4845869"/>
                    </a:cubicBezTo>
                    <a:cubicBezTo>
                      <a:pt x="3643735" y="4953001"/>
                      <a:pt x="3643735" y="4953001"/>
                      <a:pt x="3643735" y="4953001"/>
                    </a:cubicBezTo>
                    <a:cubicBezTo>
                      <a:pt x="3533552" y="4953001"/>
                      <a:pt x="3533552" y="4953001"/>
                      <a:pt x="3533552" y="4953001"/>
                    </a:cubicBezTo>
                    <a:cubicBezTo>
                      <a:pt x="3533552" y="4854797"/>
                      <a:pt x="3533552" y="4854797"/>
                      <a:pt x="3533552" y="4854797"/>
                    </a:cubicBezTo>
                    <a:cubicBezTo>
                      <a:pt x="3479949" y="4848845"/>
                      <a:pt x="3426346" y="4833966"/>
                      <a:pt x="3378699" y="4807183"/>
                    </a:cubicBezTo>
                    <a:cubicBezTo>
                      <a:pt x="3426346" y="4697075"/>
                      <a:pt x="3426346" y="4697075"/>
                      <a:pt x="3426346" y="4697075"/>
                    </a:cubicBezTo>
                    <a:cubicBezTo>
                      <a:pt x="3476971" y="4732785"/>
                      <a:pt x="3524618" y="4747665"/>
                      <a:pt x="3575243" y="4747665"/>
                    </a:cubicBezTo>
                    <a:cubicBezTo>
                      <a:pt x="3646713" y="4747665"/>
                      <a:pt x="3685426" y="4723858"/>
                      <a:pt x="3685426" y="4673267"/>
                    </a:cubicBezTo>
                    <a:cubicBezTo>
                      <a:pt x="3685426" y="4649460"/>
                      <a:pt x="3676492" y="4625653"/>
                      <a:pt x="3655647" y="4607798"/>
                    </a:cubicBezTo>
                    <a:cubicBezTo>
                      <a:pt x="3637779" y="4586967"/>
                      <a:pt x="3602044" y="4563159"/>
                      <a:pt x="3548441" y="4536376"/>
                    </a:cubicBezTo>
                    <a:cubicBezTo>
                      <a:pt x="3494839" y="4509593"/>
                      <a:pt x="3459103" y="4488762"/>
                      <a:pt x="3441236" y="4473883"/>
                    </a:cubicBezTo>
                    <a:cubicBezTo>
                      <a:pt x="3420390" y="4456027"/>
                      <a:pt x="3405501" y="4435196"/>
                      <a:pt x="3396567" y="4414365"/>
                    </a:cubicBezTo>
                    <a:cubicBezTo>
                      <a:pt x="3384655" y="4390558"/>
                      <a:pt x="3381677" y="4363775"/>
                      <a:pt x="3381677" y="4336992"/>
                    </a:cubicBezTo>
                    <a:cubicBezTo>
                      <a:pt x="3381677" y="4292353"/>
                      <a:pt x="3393589" y="4256643"/>
                      <a:pt x="3423368" y="4226884"/>
                    </a:cubicBezTo>
                    <a:cubicBezTo>
                      <a:pt x="3450170" y="4194149"/>
                      <a:pt x="3485905" y="4170342"/>
                      <a:pt x="3533552" y="4161414"/>
                    </a:cubicBezTo>
                    <a:cubicBezTo>
                      <a:pt x="3533552" y="4075113"/>
                      <a:pt x="3533552" y="4075113"/>
                      <a:pt x="3533552" y="4075113"/>
                    </a:cubicBezTo>
                    <a:close/>
                    <a:moveTo>
                      <a:pt x="1932486" y="3735388"/>
                    </a:moveTo>
                    <a:lnTo>
                      <a:pt x="1932486" y="5310188"/>
                    </a:lnTo>
                    <a:lnTo>
                      <a:pt x="5272586" y="5310188"/>
                    </a:lnTo>
                    <a:lnTo>
                      <a:pt x="5272586" y="3735388"/>
                    </a:lnTo>
                    <a:close/>
                    <a:moveTo>
                      <a:pt x="1867774" y="3608388"/>
                    </a:moveTo>
                    <a:cubicBezTo>
                      <a:pt x="5337298" y="3608388"/>
                      <a:pt x="5337298" y="3608388"/>
                      <a:pt x="5337298" y="3608388"/>
                    </a:cubicBezTo>
                    <a:cubicBezTo>
                      <a:pt x="5373005" y="3608388"/>
                      <a:pt x="5402761" y="3635177"/>
                      <a:pt x="5402761" y="3670896"/>
                    </a:cubicBezTo>
                    <a:cubicBezTo>
                      <a:pt x="5402761" y="5376467"/>
                      <a:pt x="5402761" y="5376467"/>
                      <a:pt x="5402761" y="5376467"/>
                    </a:cubicBezTo>
                    <a:cubicBezTo>
                      <a:pt x="5402761" y="5412186"/>
                      <a:pt x="5373005" y="5441951"/>
                      <a:pt x="5337298" y="5441951"/>
                    </a:cubicBezTo>
                    <a:cubicBezTo>
                      <a:pt x="1867774" y="5441951"/>
                      <a:pt x="1867774" y="5441951"/>
                      <a:pt x="1867774" y="5441951"/>
                    </a:cubicBezTo>
                    <a:cubicBezTo>
                      <a:pt x="1832067" y="5441951"/>
                      <a:pt x="1802311" y="5412186"/>
                      <a:pt x="1802311" y="5376467"/>
                    </a:cubicBezTo>
                    <a:cubicBezTo>
                      <a:pt x="1802311" y="3670896"/>
                      <a:pt x="1802311" y="3670896"/>
                      <a:pt x="1802311" y="3670896"/>
                    </a:cubicBezTo>
                    <a:cubicBezTo>
                      <a:pt x="1802311" y="3635177"/>
                      <a:pt x="1832067" y="3608388"/>
                      <a:pt x="1867774" y="3608388"/>
                    </a:cubicBezTo>
                    <a:close/>
                    <a:moveTo>
                      <a:pt x="409138" y="2566988"/>
                    </a:moveTo>
                    <a:cubicBezTo>
                      <a:pt x="409138" y="2566988"/>
                      <a:pt x="409138" y="2566988"/>
                      <a:pt x="465674" y="2623521"/>
                    </a:cubicBezTo>
                    <a:cubicBezTo>
                      <a:pt x="581720" y="2739561"/>
                      <a:pt x="769180" y="2929987"/>
                      <a:pt x="792985" y="2950815"/>
                    </a:cubicBezTo>
                    <a:cubicBezTo>
                      <a:pt x="822740" y="2977594"/>
                      <a:pt x="828691" y="3022225"/>
                      <a:pt x="804887" y="3057929"/>
                    </a:cubicBezTo>
                    <a:cubicBezTo>
                      <a:pt x="790009" y="3075782"/>
                      <a:pt x="766205" y="3087683"/>
                      <a:pt x="742400" y="3087683"/>
                    </a:cubicBezTo>
                    <a:cubicBezTo>
                      <a:pt x="724547" y="3087683"/>
                      <a:pt x="709669" y="3081733"/>
                      <a:pt x="694791" y="3072806"/>
                    </a:cubicBezTo>
                    <a:cubicBezTo>
                      <a:pt x="688840" y="3069831"/>
                      <a:pt x="679914" y="3060905"/>
                      <a:pt x="489478" y="2867504"/>
                    </a:cubicBezTo>
                    <a:cubicBezTo>
                      <a:pt x="489478" y="2867504"/>
                      <a:pt x="489478" y="2867504"/>
                      <a:pt x="489478" y="4444467"/>
                    </a:cubicBezTo>
                    <a:cubicBezTo>
                      <a:pt x="489478" y="4444467"/>
                      <a:pt x="489478" y="4444467"/>
                      <a:pt x="1667797" y="4444467"/>
                    </a:cubicBezTo>
                    <a:cubicBezTo>
                      <a:pt x="1712430" y="4444467"/>
                      <a:pt x="1745161" y="4480172"/>
                      <a:pt x="1745161" y="4524803"/>
                    </a:cubicBezTo>
                    <a:cubicBezTo>
                      <a:pt x="1745161" y="4566458"/>
                      <a:pt x="1712430" y="4602163"/>
                      <a:pt x="1667797" y="4602163"/>
                    </a:cubicBezTo>
                    <a:cubicBezTo>
                      <a:pt x="1667797" y="4602163"/>
                      <a:pt x="1667797" y="4602163"/>
                      <a:pt x="331774" y="4602163"/>
                    </a:cubicBezTo>
                    <a:cubicBezTo>
                      <a:pt x="331774" y="4602163"/>
                      <a:pt x="331774" y="4602163"/>
                      <a:pt x="331774" y="2867504"/>
                    </a:cubicBezTo>
                    <a:cubicBezTo>
                      <a:pt x="331774" y="2867504"/>
                      <a:pt x="331774" y="2867504"/>
                      <a:pt x="132412" y="3063880"/>
                    </a:cubicBezTo>
                    <a:cubicBezTo>
                      <a:pt x="102657" y="3096610"/>
                      <a:pt x="52072" y="3096610"/>
                      <a:pt x="22316" y="3063880"/>
                    </a:cubicBezTo>
                    <a:cubicBezTo>
                      <a:pt x="-7439" y="3034126"/>
                      <a:pt x="-7439" y="2983544"/>
                      <a:pt x="22316" y="2953790"/>
                    </a:cubicBezTo>
                    <a:cubicBezTo>
                      <a:pt x="22316" y="2953790"/>
                      <a:pt x="22316" y="2953790"/>
                      <a:pt x="409138" y="2566988"/>
                    </a:cubicBezTo>
                    <a:close/>
                    <a:moveTo>
                      <a:pt x="3075116" y="1373188"/>
                    </a:moveTo>
                    <a:cubicBezTo>
                      <a:pt x="3075116" y="1373188"/>
                      <a:pt x="3075116" y="1373188"/>
                      <a:pt x="4412049" y="1373188"/>
                    </a:cubicBezTo>
                    <a:cubicBezTo>
                      <a:pt x="4412049" y="1373188"/>
                      <a:pt x="4412049" y="1373188"/>
                      <a:pt x="4412049" y="3104872"/>
                    </a:cubicBezTo>
                    <a:cubicBezTo>
                      <a:pt x="4412049" y="3104872"/>
                      <a:pt x="4412049" y="3104872"/>
                      <a:pt x="4605591" y="2914446"/>
                    </a:cubicBezTo>
                    <a:cubicBezTo>
                      <a:pt x="4635367" y="2884692"/>
                      <a:pt x="4685986" y="2884692"/>
                      <a:pt x="4715761" y="2917422"/>
                    </a:cubicBezTo>
                    <a:cubicBezTo>
                      <a:pt x="4745537" y="2947176"/>
                      <a:pt x="4745537" y="2997758"/>
                      <a:pt x="4715761" y="3027512"/>
                    </a:cubicBezTo>
                    <a:cubicBezTo>
                      <a:pt x="4715761" y="3027512"/>
                      <a:pt x="4715761" y="3027512"/>
                      <a:pt x="4400138" y="3336954"/>
                    </a:cubicBezTo>
                    <a:cubicBezTo>
                      <a:pt x="4394183" y="3348855"/>
                      <a:pt x="4385250" y="3357781"/>
                      <a:pt x="4376318" y="3363732"/>
                    </a:cubicBezTo>
                    <a:cubicBezTo>
                      <a:pt x="4376318" y="3363732"/>
                      <a:pt x="4376318" y="3363732"/>
                      <a:pt x="4331654" y="3408363"/>
                    </a:cubicBezTo>
                    <a:cubicBezTo>
                      <a:pt x="4331654" y="3408363"/>
                      <a:pt x="4331654" y="3408363"/>
                      <a:pt x="4275080" y="3351831"/>
                    </a:cubicBezTo>
                    <a:cubicBezTo>
                      <a:pt x="4161932" y="3238765"/>
                      <a:pt x="3974345" y="3051315"/>
                      <a:pt x="3953502" y="3030487"/>
                    </a:cubicBezTo>
                    <a:cubicBezTo>
                      <a:pt x="3920748" y="3003709"/>
                      <a:pt x="3914793" y="2959077"/>
                      <a:pt x="3938614" y="2923373"/>
                    </a:cubicBezTo>
                    <a:cubicBezTo>
                      <a:pt x="3965412" y="2890643"/>
                      <a:pt x="4013053" y="2881717"/>
                      <a:pt x="4048784" y="2908496"/>
                    </a:cubicBezTo>
                    <a:cubicBezTo>
                      <a:pt x="4054739" y="2911471"/>
                      <a:pt x="4063672" y="2917422"/>
                      <a:pt x="4257214" y="3110823"/>
                    </a:cubicBezTo>
                    <a:cubicBezTo>
                      <a:pt x="4257214" y="3110823"/>
                      <a:pt x="4257214" y="3110823"/>
                      <a:pt x="4257214" y="1527909"/>
                    </a:cubicBezTo>
                    <a:cubicBezTo>
                      <a:pt x="4257214" y="1527909"/>
                      <a:pt x="4257214" y="1527909"/>
                      <a:pt x="3075116" y="1527909"/>
                    </a:cubicBezTo>
                    <a:cubicBezTo>
                      <a:pt x="3033430" y="1527909"/>
                      <a:pt x="2997699" y="1495180"/>
                      <a:pt x="2997699" y="1450549"/>
                    </a:cubicBezTo>
                    <a:cubicBezTo>
                      <a:pt x="2997699" y="1408893"/>
                      <a:pt x="3033430" y="1373188"/>
                      <a:pt x="3075116" y="1373188"/>
                    </a:cubicBezTo>
                    <a:close/>
                    <a:moveTo>
                      <a:pt x="1464174" y="669925"/>
                    </a:moveTo>
                    <a:cubicBezTo>
                      <a:pt x="1038949" y="669925"/>
                      <a:pt x="694236" y="1014993"/>
                      <a:pt x="694236" y="1440657"/>
                    </a:cubicBezTo>
                    <a:cubicBezTo>
                      <a:pt x="694236" y="1866321"/>
                      <a:pt x="1038949" y="2211389"/>
                      <a:pt x="1464174" y="2211389"/>
                    </a:cubicBezTo>
                    <a:cubicBezTo>
                      <a:pt x="1889399" y="2211389"/>
                      <a:pt x="2234112" y="1866321"/>
                      <a:pt x="2234112" y="1440657"/>
                    </a:cubicBezTo>
                    <a:cubicBezTo>
                      <a:pt x="2234112" y="1014993"/>
                      <a:pt x="1889399" y="669925"/>
                      <a:pt x="1464174" y="669925"/>
                    </a:cubicBezTo>
                    <a:close/>
                    <a:moveTo>
                      <a:pt x="1465761" y="533400"/>
                    </a:moveTo>
                    <a:cubicBezTo>
                      <a:pt x="1967263" y="533400"/>
                      <a:pt x="2373811" y="939948"/>
                      <a:pt x="2373811" y="1441450"/>
                    </a:cubicBezTo>
                    <a:cubicBezTo>
                      <a:pt x="2373811" y="1942952"/>
                      <a:pt x="1967263" y="2349500"/>
                      <a:pt x="1465761" y="2349500"/>
                    </a:cubicBezTo>
                    <a:cubicBezTo>
                      <a:pt x="964259" y="2349500"/>
                      <a:pt x="557711" y="1942952"/>
                      <a:pt x="557711" y="1441450"/>
                    </a:cubicBezTo>
                    <a:cubicBezTo>
                      <a:pt x="557711" y="939948"/>
                      <a:pt x="964259" y="533400"/>
                      <a:pt x="1465761" y="533400"/>
                    </a:cubicBezTo>
                    <a:close/>
                    <a:moveTo>
                      <a:pt x="1333910" y="142875"/>
                    </a:moveTo>
                    <a:cubicBezTo>
                      <a:pt x="1333910" y="142875"/>
                      <a:pt x="1333910" y="142875"/>
                      <a:pt x="1232714" y="416804"/>
                    </a:cubicBezTo>
                    <a:cubicBezTo>
                      <a:pt x="1232714" y="416804"/>
                      <a:pt x="1232714" y="416804"/>
                      <a:pt x="1196998" y="425736"/>
                    </a:cubicBezTo>
                    <a:cubicBezTo>
                      <a:pt x="1131519" y="440624"/>
                      <a:pt x="1071992" y="461466"/>
                      <a:pt x="1009489" y="488263"/>
                    </a:cubicBezTo>
                    <a:cubicBezTo>
                      <a:pt x="1009489" y="488263"/>
                      <a:pt x="1009489" y="488263"/>
                      <a:pt x="979726" y="503152"/>
                    </a:cubicBezTo>
                    <a:cubicBezTo>
                      <a:pt x="979726" y="503152"/>
                      <a:pt x="979726" y="503152"/>
                      <a:pt x="732690" y="363209"/>
                    </a:cubicBezTo>
                    <a:cubicBezTo>
                      <a:pt x="682092" y="401916"/>
                      <a:pt x="631494" y="440624"/>
                      <a:pt x="628518" y="443601"/>
                    </a:cubicBezTo>
                    <a:cubicBezTo>
                      <a:pt x="628518" y="443601"/>
                      <a:pt x="577920" y="485287"/>
                      <a:pt x="530299" y="532926"/>
                    </a:cubicBezTo>
                    <a:cubicBezTo>
                      <a:pt x="530299" y="532926"/>
                      <a:pt x="530299" y="532926"/>
                      <a:pt x="619589" y="777080"/>
                    </a:cubicBezTo>
                    <a:cubicBezTo>
                      <a:pt x="619589" y="777080"/>
                      <a:pt x="619589" y="777080"/>
                      <a:pt x="592802" y="806854"/>
                    </a:cubicBezTo>
                    <a:cubicBezTo>
                      <a:pt x="542204" y="869382"/>
                      <a:pt x="500536" y="937864"/>
                      <a:pt x="467796" y="1009324"/>
                    </a:cubicBezTo>
                    <a:cubicBezTo>
                      <a:pt x="467796" y="1009324"/>
                      <a:pt x="467796" y="1009324"/>
                      <a:pt x="452914" y="1039098"/>
                    </a:cubicBezTo>
                    <a:cubicBezTo>
                      <a:pt x="452914" y="1039098"/>
                      <a:pt x="452914" y="1039098"/>
                      <a:pt x="211831" y="1086738"/>
                    </a:cubicBezTo>
                    <a:cubicBezTo>
                      <a:pt x="196949" y="1146289"/>
                      <a:pt x="185044" y="1205838"/>
                      <a:pt x="185044" y="1211793"/>
                    </a:cubicBezTo>
                    <a:cubicBezTo>
                      <a:pt x="185044" y="1214771"/>
                      <a:pt x="173139" y="1277297"/>
                      <a:pt x="167186" y="1345779"/>
                    </a:cubicBezTo>
                    <a:cubicBezTo>
                      <a:pt x="167186" y="1345779"/>
                      <a:pt x="167186" y="1345779"/>
                      <a:pt x="366601" y="1461902"/>
                    </a:cubicBezTo>
                    <a:cubicBezTo>
                      <a:pt x="366601" y="1461902"/>
                      <a:pt x="366601" y="1461902"/>
                      <a:pt x="369577" y="1500609"/>
                    </a:cubicBezTo>
                    <a:cubicBezTo>
                      <a:pt x="375530" y="1583978"/>
                      <a:pt x="390411" y="1673303"/>
                      <a:pt x="417198" y="1756673"/>
                    </a:cubicBezTo>
                    <a:cubicBezTo>
                      <a:pt x="417198" y="1756673"/>
                      <a:pt x="417198" y="1756673"/>
                      <a:pt x="429104" y="1789425"/>
                    </a:cubicBezTo>
                    <a:cubicBezTo>
                      <a:pt x="429104" y="1789425"/>
                      <a:pt x="429104" y="1789425"/>
                      <a:pt x="277311" y="1974029"/>
                    </a:cubicBezTo>
                    <a:cubicBezTo>
                      <a:pt x="304098" y="2033579"/>
                      <a:pt x="336837" y="2090151"/>
                      <a:pt x="336837" y="2090151"/>
                    </a:cubicBezTo>
                    <a:cubicBezTo>
                      <a:pt x="336837" y="2090151"/>
                      <a:pt x="369577" y="2146723"/>
                      <a:pt x="408269" y="2200318"/>
                    </a:cubicBezTo>
                    <a:cubicBezTo>
                      <a:pt x="408269" y="2200318"/>
                      <a:pt x="408269" y="2200318"/>
                      <a:pt x="658281" y="2161611"/>
                    </a:cubicBezTo>
                    <a:cubicBezTo>
                      <a:pt x="658281" y="2161611"/>
                      <a:pt x="658281" y="2161611"/>
                      <a:pt x="685068" y="2185431"/>
                    </a:cubicBezTo>
                    <a:cubicBezTo>
                      <a:pt x="735666" y="2236048"/>
                      <a:pt x="798169" y="2283688"/>
                      <a:pt x="863649" y="2325372"/>
                    </a:cubicBezTo>
                    <a:cubicBezTo>
                      <a:pt x="863649" y="2325372"/>
                      <a:pt x="863649" y="2325372"/>
                      <a:pt x="896388" y="2346215"/>
                    </a:cubicBezTo>
                    <a:cubicBezTo>
                      <a:pt x="896388" y="2346215"/>
                      <a:pt x="896388" y="2346215"/>
                      <a:pt x="896388" y="2611211"/>
                    </a:cubicBezTo>
                    <a:cubicBezTo>
                      <a:pt x="955915" y="2638008"/>
                      <a:pt x="1018418" y="2661828"/>
                      <a:pt x="1018418" y="2661828"/>
                    </a:cubicBezTo>
                    <a:cubicBezTo>
                      <a:pt x="1018418" y="2661828"/>
                      <a:pt x="1080921" y="2682671"/>
                      <a:pt x="1143424" y="2700536"/>
                    </a:cubicBezTo>
                    <a:cubicBezTo>
                      <a:pt x="1143424" y="2700536"/>
                      <a:pt x="1143424" y="2700536"/>
                      <a:pt x="1324981" y="2492112"/>
                    </a:cubicBezTo>
                    <a:cubicBezTo>
                      <a:pt x="1324981" y="2492112"/>
                      <a:pt x="1324981" y="2492112"/>
                      <a:pt x="1360697" y="2495089"/>
                    </a:cubicBezTo>
                    <a:cubicBezTo>
                      <a:pt x="1429152" y="2501044"/>
                      <a:pt x="1494632" y="2501044"/>
                      <a:pt x="1566064" y="2495089"/>
                    </a:cubicBezTo>
                    <a:cubicBezTo>
                      <a:pt x="1566064" y="2495089"/>
                      <a:pt x="1566064" y="2495089"/>
                      <a:pt x="1601780" y="2492112"/>
                    </a:cubicBezTo>
                    <a:cubicBezTo>
                      <a:pt x="1601780" y="2492112"/>
                      <a:pt x="1601780" y="2492112"/>
                      <a:pt x="1783336" y="2703513"/>
                    </a:cubicBezTo>
                    <a:cubicBezTo>
                      <a:pt x="1845839" y="2685648"/>
                      <a:pt x="1902390" y="2661828"/>
                      <a:pt x="1905366" y="2661828"/>
                    </a:cubicBezTo>
                    <a:cubicBezTo>
                      <a:pt x="1905366" y="2661828"/>
                      <a:pt x="1967869" y="2638008"/>
                      <a:pt x="2030372" y="2611211"/>
                    </a:cubicBezTo>
                    <a:cubicBezTo>
                      <a:pt x="2030372" y="2611211"/>
                      <a:pt x="2030372" y="2611211"/>
                      <a:pt x="2033348" y="2349192"/>
                    </a:cubicBezTo>
                    <a:cubicBezTo>
                      <a:pt x="2033348" y="2349192"/>
                      <a:pt x="2033348" y="2349192"/>
                      <a:pt x="2063112" y="2328350"/>
                    </a:cubicBezTo>
                    <a:cubicBezTo>
                      <a:pt x="2128591" y="2286665"/>
                      <a:pt x="2188118" y="2239025"/>
                      <a:pt x="2244668" y="2185431"/>
                    </a:cubicBezTo>
                    <a:cubicBezTo>
                      <a:pt x="2244668" y="2185431"/>
                      <a:pt x="2244668" y="2185431"/>
                      <a:pt x="2271455" y="2161611"/>
                    </a:cubicBezTo>
                    <a:cubicBezTo>
                      <a:pt x="2271455" y="2161611"/>
                      <a:pt x="2271455" y="2161611"/>
                      <a:pt x="2518491" y="2200318"/>
                    </a:cubicBezTo>
                    <a:cubicBezTo>
                      <a:pt x="2554207" y="2149701"/>
                      <a:pt x="2586947" y="2093129"/>
                      <a:pt x="2589923" y="2090151"/>
                    </a:cubicBezTo>
                    <a:cubicBezTo>
                      <a:pt x="2589923" y="2090151"/>
                      <a:pt x="2622663" y="2033579"/>
                      <a:pt x="2649450" y="1977007"/>
                    </a:cubicBezTo>
                    <a:cubicBezTo>
                      <a:pt x="2649450" y="1977007"/>
                      <a:pt x="2649450" y="1977007"/>
                      <a:pt x="2497657" y="1792402"/>
                    </a:cubicBezTo>
                    <a:cubicBezTo>
                      <a:pt x="2497657" y="1792402"/>
                      <a:pt x="2497657" y="1792402"/>
                      <a:pt x="2509562" y="1756673"/>
                    </a:cubicBezTo>
                    <a:cubicBezTo>
                      <a:pt x="2536349" y="1673303"/>
                      <a:pt x="2554207" y="1586956"/>
                      <a:pt x="2557183" y="1500609"/>
                    </a:cubicBezTo>
                    <a:cubicBezTo>
                      <a:pt x="2557183" y="1500609"/>
                      <a:pt x="2557183" y="1500609"/>
                      <a:pt x="2560160" y="1464879"/>
                    </a:cubicBezTo>
                    <a:cubicBezTo>
                      <a:pt x="2560160" y="1464879"/>
                      <a:pt x="2560160" y="1464879"/>
                      <a:pt x="2759574" y="1345779"/>
                    </a:cubicBezTo>
                    <a:cubicBezTo>
                      <a:pt x="2753621" y="1280275"/>
                      <a:pt x="2741716" y="1214771"/>
                      <a:pt x="2741716" y="1214771"/>
                    </a:cubicBezTo>
                    <a:cubicBezTo>
                      <a:pt x="2741716" y="1214771"/>
                      <a:pt x="2729811" y="1152243"/>
                      <a:pt x="2714929" y="1086738"/>
                    </a:cubicBezTo>
                    <a:cubicBezTo>
                      <a:pt x="2714929" y="1086738"/>
                      <a:pt x="2714929" y="1086738"/>
                      <a:pt x="2476822" y="1042076"/>
                    </a:cubicBezTo>
                    <a:cubicBezTo>
                      <a:pt x="2476822" y="1042076"/>
                      <a:pt x="2476822" y="1042076"/>
                      <a:pt x="2461941" y="1009324"/>
                    </a:cubicBezTo>
                    <a:cubicBezTo>
                      <a:pt x="2429201" y="940841"/>
                      <a:pt x="2384556" y="869382"/>
                      <a:pt x="2333958" y="806854"/>
                    </a:cubicBezTo>
                    <a:cubicBezTo>
                      <a:pt x="2333958" y="806854"/>
                      <a:pt x="2333958" y="806854"/>
                      <a:pt x="2310148" y="777080"/>
                    </a:cubicBezTo>
                    <a:cubicBezTo>
                      <a:pt x="2310148" y="777080"/>
                      <a:pt x="2310148" y="777080"/>
                      <a:pt x="2396461" y="532926"/>
                    </a:cubicBezTo>
                    <a:cubicBezTo>
                      <a:pt x="2348840" y="488263"/>
                      <a:pt x="2301218" y="446579"/>
                      <a:pt x="2298242" y="443601"/>
                    </a:cubicBezTo>
                    <a:cubicBezTo>
                      <a:pt x="2292289" y="440624"/>
                      <a:pt x="2247645" y="401916"/>
                      <a:pt x="2197047" y="363209"/>
                    </a:cubicBezTo>
                    <a:cubicBezTo>
                      <a:pt x="2197047" y="363209"/>
                      <a:pt x="2197047" y="363209"/>
                      <a:pt x="1950011" y="503152"/>
                    </a:cubicBezTo>
                    <a:cubicBezTo>
                      <a:pt x="1950011" y="503152"/>
                      <a:pt x="1950011" y="503152"/>
                      <a:pt x="1917271" y="488263"/>
                    </a:cubicBezTo>
                    <a:cubicBezTo>
                      <a:pt x="1860721" y="461466"/>
                      <a:pt x="1798218" y="440624"/>
                      <a:pt x="1732739" y="425736"/>
                    </a:cubicBezTo>
                    <a:cubicBezTo>
                      <a:pt x="1732739" y="425736"/>
                      <a:pt x="1732739" y="425736"/>
                      <a:pt x="1697023" y="416804"/>
                    </a:cubicBezTo>
                    <a:cubicBezTo>
                      <a:pt x="1697023" y="416804"/>
                      <a:pt x="1697023" y="416804"/>
                      <a:pt x="1595827" y="142875"/>
                    </a:cubicBezTo>
                    <a:cubicBezTo>
                      <a:pt x="1527371" y="142875"/>
                      <a:pt x="1464868" y="142875"/>
                      <a:pt x="1464868" y="142875"/>
                    </a:cubicBezTo>
                    <a:cubicBezTo>
                      <a:pt x="1464868" y="142875"/>
                      <a:pt x="1399389" y="142875"/>
                      <a:pt x="1333910" y="142875"/>
                    </a:cubicBezTo>
                    <a:close/>
                    <a:moveTo>
                      <a:pt x="1464868" y="0"/>
                    </a:moveTo>
                    <a:cubicBezTo>
                      <a:pt x="1470821" y="0"/>
                      <a:pt x="1569041" y="0"/>
                      <a:pt x="1655355" y="11906"/>
                    </a:cubicBezTo>
                    <a:cubicBezTo>
                      <a:pt x="1655355" y="11906"/>
                      <a:pt x="1655355" y="11906"/>
                      <a:pt x="1694048" y="17858"/>
                    </a:cubicBezTo>
                    <a:cubicBezTo>
                      <a:pt x="1694048" y="17858"/>
                      <a:pt x="1694048" y="17858"/>
                      <a:pt x="1801197" y="300612"/>
                    </a:cubicBezTo>
                    <a:cubicBezTo>
                      <a:pt x="1848819" y="315494"/>
                      <a:pt x="1896440" y="330376"/>
                      <a:pt x="1941086" y="348234"/>
                    </a:cubicBezTo>
                    <a:cubicBezTo>
                      <a:pt x="1941086" y="348234"/>
                      <a:pt x="1941086" y="348234"/>
                      <a:pt x="2203005" y="202392"/>
                    </a:cubicBezTo>
                    <a:cubicBezTo>
                      <a:pt x="2203005" y="202392"/>
                      <a:pt x="2203005" y="202392"/>
                      <a:pt x="2238721" y="226203"/>
                    </a:cubicBezTo>
                    <a:cubicBezTo>
                      <a:pt x="2310154" y="273825"/>
                      <a:pt x="2387539" y="339305"/>
                      <a:pt x="2387539" y="339305"/>
                    </a:cubicBezTo>
                    <a:cubicBezTo>
                      <a:pt x="2390516" y="342281"/>
                      <a:pt x="2467901" y="404784"/>
                      <a:pt x="2524452" y="467288"/>
                    </a:cubicBezTo>
                    <a:cubicBezTo>
                      <a:pt x="2524452" y="467288"/>
                      <a:pt x="2524452" y="467288"/>
                      <a:pt x="2554215" y="500028"/>
                    </a:cubicBezTo>
                    <a:cubicBezTo>
                      <a:pt x="2554215" y="500028"/>
                      <a:pt x="2554215" y="500028"/>
                      <a:pt x="2467901" y="753018"/>
                    </a:cubicBezTo>
                    <a:cubicBezTo>
                      <a:pt x="2503617" y="803616"/>
                      <a:pt x="2539333" y="860167"/>
                      <a:pt x="2572073" y="919694"/>
                    </a:cubicBezTo>
                    <a:cubicBezTo>
                      <a:pt x="2572073" y="919694"/>
                      <a:pt x="2572073" y="919694"/>
                      <a:pt x="2825064" y="964339"/>
                    </a:cubicBezTo>
                    <a:cubicBezTo>
                      <a:pt x="2825064" y="964339"/>
                      <a:pt x="2825064" y="964339"/>
                      <a:pt x="2836969" y="1006008"/>
                    </a:cubicBezTo>
                    <a:cubicBezTo>
                      <a:pt x="2863756" y="1089346"/>
                      <a:pt x="2878638" y="1187566"/>
                      <a:pt x="2878638" y="1190543"/>
                    </a:cubicBezTo>
                    <a:cubicBezTo>
                      <a:pt x="2878638" y="1190543"/>
                      <a:pt x="2896496" y="1291738"/>
                      <a:pt x="2899473" y="1378053"/>
                    </a:cubicBezTo>
                    <a:cubicBezTo>
                      <a:pt x="2899473" y="1378053"/>
                      <a:pt x="2899473" y="1378053"/>
                      <a:pt x="2902449" y="1419722"/>
                    </a:cubicBezTo>
                    <a:cubicBezTo>
                      <a:pt x="2902449" y="1419722"/>
                      <a:pt x="2902449" y="1419722"/>
                      <a:pt x="2691128" y="1547705"/>
                    </a:cubicBezTo>
                    <a:cubicBezTo>
                      <a:pt x="2685175" y="1619138"/>
                      <a:pt x="2676246" y="1690570"/>
                      <a:pt x="2655411" y="1762003"/>
                    </a:cubicBezTo>
                    <a:cubicBezTo>
                      <a:pt x="2655411" y="1762003"/>
                      <a:pt x="2655411" y="1762003"/>
                      <a:pt x="2810182" y="1952489"/>
                    </a:cubicBezTo>
                    <a:cubicBezTo>
                      <a:pt x="2810182" y="1952489"/>
                      <a:pt x="2810182" y="1952489"/>
                      <a:pt x="2792324" y="1988206"/>
                    </a:cubicBezTo>
                    <a:cubicBezTo>
                      <a:pt x="2759584" y="2071544"/>
                      <a:pt x="2708986" y="2160834"/>
                      <a:pt x="2706010" y="2160834"/>
                    </a:cubicBezTo>
                    <a:cubicBezTo>
                      <a:pt x="2703033" y="2169763"/>
                      <a:pt x="2655411" y="2250125"/>
                      <a:pt x="2604813" y="2318581"/>
                    </a:cubicBezTo>
                    <a:cubicBezTo>
                      <a:pt x="2604813" y="2318581"/>
                      <a:pt x="2604813" y="2318581"/>
                      <a:pt x="2581002" y="2351321"/>
                    </a:cubicBezTo>
                    <a:cubicBezTo>
                      <a:pt x="2581002" y="2351321"/>
                      <a:pt x="2581002" y="2351321"/>
                      <a:pt x="2313130" y="2309652"/>
                    </a:cubicBezTo>
                    <a:cubicBezTo>
                      <a:pt x="2271461" y="2351321"/>
                      <a:pt x="2220863" y="2390014"/>
                      <a:pt x="2170265" y="2422754"/>
                    </a:cubicBezTo>
                    <a:cubicBezTo>
                      <a:pt x="2170265" y="2422754"/>
                      <a:pt x="2170265" y="2422754"/>
                      <a:pt x="2164312" y="2699555"/>
                    </a:cubicBezTo>
                    <a:cubicBezTo>
                      <a:pt x="2164312" y="2699555"/>
                      <a:pt x="2164312" y="2699555"/>
                      <a:pt x="2128596" y="2717413"/>
                    </a:cubicBezTo>
                    <a:cubicBezTo>
                      <a:pt x="2054187" y="2756105"/>
                      <a:pt x="1958944" y="2791822"/>
                      <a:pt x="1952991" y="2791822"/>
                    </a:cubicBezTo>
                    <a:cubicBezTo>
                      <a:pt x="1950015" y="2794798"/>
                      <a:pt x="1857748" y="2824562"/>
                      <a:pt x="1774410" y="2845396"/>
                    </a:cubicBezTo>
                    <a:cubicBezTo>
                      <a:pt x="1774410" y="2845396"/>
                      <a:pt x="1774410" y="2845396"/>
                      <a:pt x="1732741" y="2854325"/>
                    </a:cubicBezTo>
                    <a:cubicBezTo>
                      <a:pt x="1732741" y="2854325"/>
                      <a:pt x="1732741" y="2854325"/>
                      <a:pt x="1542254" y="2634075"/>
                    </a:cubicBezTo>
                    <a:cubicBezTo>
                      <a:pt x="1488679" y="2637051"/>
                      <a:pt x="1438081" y="2637051"/>
                      <a:pt x="1384507" y="2634075"/>
                    </a:cubicBezTo>
                    <a:cubicBezTo>
                      <a:pt x="1384507" y="2634075"/>
                      <a:pt x="1384507" y="2634075"/>
                      <a:pt x="1194020" y="2854325"/>
                    </a:cubicBezTo>
                    <a:cubicBezTo>
                      <a:pt x="1194020" y="2854325"/>
                      <a:pt x="1194020" y="2854325"/>
                      <a:pt x="1152351" y="2845396"/>
                    </a:cubicBezTo>
                    <a:cubicBezTo>
                      <a:pt x="1069013" y="2824562"/>
                      <a:pt x="973769" y="2794798"/>
                      <a:pt x="970793" y="2791822"/>
                    </a:cubicBezTo>
                    <a:cubicBezTo>
                      <a:pt x="967817" y="2791822"/>
                      <a:pt x="875550" y="2756105"/>
                      <a:pt x="798164" y="2717413"/>
                    </a:cubicBezTo>
                    <a:cubicBezTo>
                      <a:pt x="798164" y="2717413"/>
                      <a:pt x="798164" y="2717413"/>
                      <a:pt x="759472" y="2696578"/>
                    </a:cubicBezTo>
                    <a:cubicBezTo>
                      <a:pt x="759472" y="2696578"/>
                      <a:pt x="759472" y="2696578"/>
                      <a:pt x="756495" y="2419777"/>
                    </a:cubicBezTo>
                    <a:cubicBezTo>
                      <a:pt x="705897" y="2387037"/>
                      <a:pt x="658275" y="2348345"/>
                      <a:pt x="613630" y="2306676"/>
                    </a:cubicBezTo>
                    <a:cubicBezTo>
                      <a:pt x="613630" y="2306676"/>
                      <a:pt x="613630" y="2306676"/>
                      <a:pt x="345758" y="2351321"/>
                    </a:cubicBezTo>
                    <a:cubicBezTo>
                      <a:pt x="345758" y="2351321"/>
                      <a:pt x="345758" y="2351321"/>
                      <a:pt x="321947" y="2315605"/>
                    </a:cubicBezTo>
                    <a:cubicBezTo>
                      <a:pt x="271349" y="2250125"/>
                      <a:pt x="223727" y="2169763"/>
                      <a:pt x="217774" y="2160834"/>
                    </a:cubicBezTo>
                    <a:cubicBezTo>
                      <a:pt x="217774" y="2154882"/>
                      <a:pt x="167176" y="2068567"/>
                      <a:pt x="131460" y="1988206"/>
                    </a:cubicBezTo>
                    <a:cubicBezTo>
                      <a:pt x="131460" y="1988206"/>
                      <a:pt x="131460" y="1988206"/>
                      <a:pt x="116578" y="1952489"/>
                    </a:cubicBezTo>
                    <a:cubicBezTo>
                      <a:pt x="116578" y="1952489"/>
                      <a:pt x="116578" y="1952489"/>
                      <a:pt x="274325" y="1759026"/>
                    </a:cubicBezTo>
                    <a:cubicBezTo>
                      <a:pt x="253491" y="1690570"/>
                      <a:pt x="241585" y="1616161"/>
                      <a:pt x="235633" y="1544729"/>
                    </a:cubicBezTo>
                    <a:cubicBezTo>
                      <a:pt x="235633" y="1544729"/>
                      <a:pt x="235633" y="1544729"/>
                      <a:pt x="24311" y="1419722"/>
                    </a:cubicBezTo>
                    <a:cubicBezTo>
                      <a:pt x="24311" y="1419722"/>
                      <a:pt x="24311" y="1419722"/>
                      <a:pt x="27287" y="1375077"/>
                    </a:cubicBezTo>
                    <a:cubicBezTo>
                      <a:pt x="30264" y="1288763"/>
                      <a:pt x="48122" y="1190543"/>
                      <a:pt x="48122" y="1187566"/>
                    </a:cubicBezTo>
                    <a:cubicBezTo>
                      <a:pt x="48122" y="1187566"/>
                      <a:pt x="65980" y="1089346"/>
                      <a:pt x="92767" y="1006008"/>
                    </a:cubicBezTo>
                    <a:cubicBezTo>
                      <a:pt x="92767" y="1006008"/>
                      <a:pt x="92767" y="1006008"/>
                      <a:pt x="104673" y="964339"/>
                    </a:cubicBezTo>
                    <a:cubicBezTo>
                      <a:pt x="104673" y="964339"/>
                      <a:pt x="104673" y="964339"/>
                      <a:pt x="357663" y="916718"/>
                    </a:cubicBezTo>
                    <a:cubicBezTo>
                      <a:pt x="387427" y="860167"/>
                      <a:pt x="423143" y="803616"/>
                      <a:pt x="464812" y="753018"/>
                    </a:cubicBezTo>
                    <a:cubicBezTo>
                      <a:pt x="464812" y="753018"/>
                      <a:pt x="464812" y="753018"/>
                      <a:pt x="372545" y="497051"/>
                    </a:cubicBezTo>
                    <a:cubicBezTo>
                      <a:pt x="372545" y="497051"/>
                      <a:pt x="372545" y="497051"/>
                      <a:pt x="402309" y="467288"/>
                    </a:cubicBezTo>
                    <a:cubicBezTo>
                      <a:pt x="461836" y="404784"/>
                      <a:pt x="536245" y="342281"/>
                      <a:pt x="539221" y="339305"/>
                    </a:cubicBezTo>
                    <a:cubicBezTo>
                      <a:pt x="542197" y="336328"/>
                      <a:pt x="619583" y="270848"/>
                      <a:pt x="693992" y="223227"/>
                    </a:cubicBezTo>
                    <a:cubicBezTo>
                      <a:pt x="693992" y="223227"/>
                      <a:pt x="693992" y="223227"/>
                      <a:pt x="726732" y="199416"/>
                    </a:cubicBezTo>
                    <a:cubicBezTo>
                      <a:pt x="726732" y="199416"/>
                      <a:pt x="726732" y="199416"/>
                      <a:pt x="985675" y="345257"/>
                    </a:cubicBezTo>
                    <a:cubicBezTo>
                      <a:pt x="1033297" y="330376"/>
                      <a:pt x="1080918" y="315494"/>
                      <a:pt x="1125564" y="300612"/>
                    </a:cubicBezTo>
                    <a:cubicBezTo>
                      <a:pt x="1125564" y="300612"/>
                      <a:pt x="1125564" y="300612"/>
                      <a:pt x="1235689" y="17858"/>
                    </a:cubicBezTo>
                    <a:cubicBezTo>
                      <a:pt x="1235689" y="17858"/>
                      <a:pt x="1235689" y="17858"/>
                      <a:pt x="1277358" y="11906"/>
                    </a:cubicBezTo>
                    <a:cubicBezTo>
                      <a:pt x="1360696" y="0"/>
                      <a:pt x="1461892" y="0"/>
                      <a:pt x="1464868" y="0"/>
                    </a:cubicBezTo>
                    <a:close/>
                  </a:path>
                </a:pathLst>
              </a:custGeom>
              <a:solidFill>
                <a:srgbClr val="4F81BD"/>
              </a:solidFill>
              <a:ln>
                <a:noFill/>
              </a:ln>
            </p:spPr>
            <p:txBody>
              <a:bodyPr vert="horz" wrap="square" lIns="82296" tIns="41148" rIns="82296" bIns="41148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761970">
                  <a:defRPr/>
                </a:pPr>
                <a:endParaRPr lang="en-US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87" name="Freeform 186"/>
              <p:cNvSpPr>
                <a:spLocks/>
              </p:cNvSpPr>
              <p:nvPr/>
            </p:nvSpPr>
            <p:spPr bwMode="auto">
              <a:xfrm>
                <a:off x="4449764" y="1741488"/>
                <a:ext cx="4068761" cy="4125913"/>
              </a:xfrm>
              <a:custGeom>
                <a:avLst/>
                <a:gdLst>
                  <a:gd name="connsiteX0" fmla="*/ 2733075 w 4068763"/>
                  <a:gd name="connsiteY0" fmla="*/ 2836862 h 4125912"/>
                  <a:gd name="connsiteX1" fmla="*/ 3851602 w 4068763"/>
                  <a:gd name="connsiteY1" fmla="*/ 2836862 h 4125912"/>
                  <a:gd name="connsiteX2" fmla="*/ 3860527 w 4068763"/>
                  <a:gd name="connsiteY2" fmla="*/ 2842816 h 4125912"/>
                  <a:gd name="connsiteX3" fmla="*/ 3851602 w 4068763"/>
                  <a:gd name="connsiteY3" fmla="*/ 2890449 h 4125912"/>
                  <a:gd name="connsiteX4" fmla="*/ 4006292 w 4068763"/>
                  <a:gd name="connsiteY4" fmla="*/ 3042277 h 4125912"/>
                  <a:gd name="connsiteX5" fmla="*/ 4059839 w 4068763"/>
                  <a:gd name="connsiteY5" fmla="*/ 3030369 h 4125912"/>
                  <a:gd name="connsiteX6" fmla="*/ 4068763 w 4068763"/>
                  <a:gd name="connsiteY6" fmla="*/ 3039300 h 4125912"/>
                  <a:gd name="connsiteX7" fmla="*/ 4068763 w 4068763"/>
                  <a:gd name="connsiteY7" fmla="*/ 3926452 h 4125912"/>
                  <a:gd name="connsiteX8" fmla="*/ 4059839 w 4068763"/>
                  <a:gd name="connsiteY8" fmla="*/ 3932406 h 4125912"/>
                  <a:gd name="connsiteX9" fmla="*/ 4006292 w 4068763"/>
                  <a:gd name="connsiteY9" fmla="*/ 3923475 h 4125912"/>
                  <a:gd name="connsiteX10" fmla="*/ 3851602 w 4068763"/>
                  <a:gd name="connsiteY10" fmla="*/ 4072326 h 4125912"/>
                  <a:gd name="connsiteX11" fmla="*/ 3857552 w 4068763"/>
                  <a:gd name="connsiteY11" fmla="*/ 4116981 h 4125912"/>
                  <a:gd name="connsiteX12" fmla="*/ 3851602 w 4068763"/>
                  <a:gd name="connsiteY12" fmla="*/ 4125912 h 4125912"/>
                  <a:gd name="connsiteX13" fmla="*/ 2733075 w 4068763"/>
                  <a:gd name="connsiteY13" fmla="*/ 4125912 h 4125912"/>
                  <a:gd name="connsiteX14" fmla="*/ 2730100 w 4068763"/>
                  <a:gd name="connsiteY14" fmla="*/ 4114004 h 4125912"/>
                  <a:gd name="connsiteX15" fmla="*/ 3042455 w 4068763"/>
                  <a:gd name="connsiteY15" fmla="*/ 3482876 h 4125912"/>
                  <a:gd name="connsiteX16" fmla="*/ 2730100 w 4068763"/>
                  <a:gd name="connsiteY16" fmla="*/ 2845793 h 4125912"/>
                  <a:gd name="connsiteX17" fmla="*/ 2733075 w 4068763"/>
                  <a:gd name="connsiteY17" fmla="*/ 2836862 h 4125912"/>
                  <a:gd name="connsiteX18" fmla="*/ 1232160 w 4068763"/>
                  <a:gd name="connsiteY18" fmla="*/ 2836862 h 4125912"/>
                  <a:gd name="connsiteX19" fmla="*/ 2348702 w 4068763"/>
                  <a:gd name="connsiteY19" fmla="*/ 2836862 h 4125912"/>
                  <a:gd name="connsiteX20" fmla="*/ 2354657 w 4068763"/>
                  <a:gd name="connsiteY20" fmla="*/ 2845793 h 4125912"/>
                  <a:gd name="connsiteX21" fmla="*/ 2045003 w 4068763"/>
                  <a:gd name="connsiteY21" fmla="*/ 3482876 h 4125912"/>
                  <a:gd name="connsiteX22" fmla="*/ 2354657 w 4068763"/>
                  <a:gd name="connsiteY22" fmla="*/ 4114004 h 4125912"/>
                  <a:gd name="connsiteX23" fmla="*/ 2348702 w 4068763"/>
                  <a:gd name="connsiteY23" fmla="*/ 4125912 h 4125912"/>
                  <a:gd name="connsiteX24" fmla="*/ 1235138 w 4068763"/>
                  <a:gd name="connsiteY24" fmla="*/ 4125912 h 4125912"/>
                  <a:gd name="connsiteX25" fmla="*/ 1229183 w 4068763"/>
                  <a:gd name="connsiteY25" fmla="*/ 4116981 h 4125912"/>
                  <a:gd name="connsiteX26" fmla="*/ 1235138 w 4068763"/>
                  <a:gd name="connsiteY26" fmla="*/ 4072326 h 4125912"/>
                  <a:gd name="connsiteX27" fmla="*/ 1080311 w 4068763"/>
                  <a:gd name="connsiteY27" fmla="*/ 3923475 h 4125912"/>
                  <a:gd name="connsiteX28" fmla="*/ 1029694 w 4068763"/>
                  <a:gd name="connsiteY28" fmla="*/ 3929429 h 4125912"/>
                  <a:gd name="connsiteX29" fmla="*/ 1020762 w 4068763"/>
                  <a:gd name="connsiteY29" fmla="*/ 3923475 h 4125912"/>
                  <a:gd name="connsiteX30" fmla="*/ 1020762 w 4068763"/>
                  <a:gd name="connsiteY30" fmla="*/ 3039300 h 4125912"/>
                  <a:gd name="connsiteX31" fmla="*/ 1029694 w 4068763"/>
                  <a:gd name="connsiteY31" fmla="*/ 3033346 h 4125912"/>
                  <a:gd name="connsiteX32" fmla="*/ 1080311 w 4068763"/>
                  <a:gd name="connsiteY32" fmla="*/ 3042277 h 4125912"/>
                  <a:gd name="connsiteX33" fmla="*/ 1235138 w 4068763"/>
                  <a:gd name="connsiteY33" fmla="*/ 2890449 h 4125912"/>
                  <a:gd name="connsiteX34" fmla="*/ 1229183 w 4068763"/>
                  <a:gd name="connsiteY34" fmla="*/ 2842816 h 4125912"/>
                  <a:gd name="connsiteX35" fmla="*/ 1232160 w 4068763"/>
                  <a:gd name="connsiteY35" fmla="*/ 2836862 h 4125912"/>
                  <a:gd name="connsiteX36" fmla="*/ 415132 w 4068763"/>
                  <a:gd name="connsiteY36" fmla="*/ 0 h 4125912"/>
                  <a:gd name="connsiteX37" fmla="*/ 830264 w 4068763"/>
                  <a:gd name="connsiteY37" fmla="*/ 411957 h 4125912"/>
                  <a:gd name="connsiteX38" fmla="*/ 415132 w 4068763"/>
                  <a:gd name="connsiteY38" fmla="*/ 823914 h 4125912"/>
                  <a:gd name="connsiteX39" fmla="*/ 0 w 4068763"/>
                  <a:gd name="connsiteY39" fmla="*/ 411957 h 4125912"/>
                  <a:gd name="connsiteX40" fmla="*/ 415132 w 4068763"/>
                  <a:gd name="connsiteY40" fmla="*/ 0 h 4125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4068763" h="4125912">
                    <a:moveTo>
                      <a:pt x="2733075" y="2836862"/>
                    </a:moveTo>
                    <a:cubicBezTo>
                      <a:pt x="2733075" y="2836862"/>
                      <a:pt x="2733075" y="2836862"/>
                      <a:pt x="3851602" y="2836862"/>
                    </a:cubicBezTo>
                    <a:cubicBezTo>
                      <a:pt x="3857552" y="2836862"/>
                      <a:pt x="3860527" y="2839839"/>
                      <a:pt x="3860527" y="2842816"/>
                    </a:cubicBezTo>
                    <a:cubicBezTo>
                      <a:pt x="3854577" y="2857701"/>
                      <a:pt x="3851602" y="2875564"/>
                      <a:pt x="3851602" y="2890449"/>
                    </a:cubicBezTo>
                    <a:cubicBezTo>
                      <a:pt x="3851602" y="2973805"/>
                      <a:pt x="3920023" y="3042277"/>
                      <a:pt x="4006292" y="3042277"/>
                    </a:cubicBezTo>
                    <a:cubicBezTo>
                      <a:pt x="4024141" y="3042277"/>
                      <a:pt x="4044965" y="3039300"/>
                      <a:pt x="4059839" y="3030369"/>
                    </a:cubicBezTo>
                    <a:cubicBezTo>
                      <a:pt x="4065788" y="3030369"/>
                      <a:pt x="4068763" y="3033346"/>
                      <a:pt x="4068763" y="3039300"/>
                    </a:cubicBezTo>
                    <a:cubicBezTo>
                      <a:pt x="4068763" y="3039300"/>
                      <a:pt x="4068763" y="3039300"/>
                      <a:pt x="4068763" y="3926452"/>
                    </a:cubicBezTo>
                    <a:cubicBezTo>
                      <a:pt x="4068763" y="3929429"/>
                      <a:pt x="4065788" y="3932406"/>
                      <a:pt x="4059839" y="3932406"/>
                    </a:cubicBezTo>
                    <a:cubicBezTo>
                      <a:pt x="4044965" y="3926452"/>
                      <a:pt x="4024141" y="3923475"/>
                      <a:pt x="4006292" y="3923475"/>
                    </a:cubicBezTo>
                    <a:cubicBezTo>
                      <a:pt x="3920023" y="3923475"/>
                      <a:pt x="3851602" y="3991946"/>
                      <a:pt x="3851602" y="4072326"/>
                    </a:cubicBezTo>
                    <a:cubicBezTo>
                      <a:pt x="3851602" y="4087211"/>
                      <a:pt x="3851602" y="4102096"/>
                      <a:pt x="3857552" y="4116981"/>
                    </a:cubicBezTo>
                    <a:cubicBezTo>
                      <a:pt x="3860527" y="4119958"/>
                      <a:pt x="3857552" y="4125912"/>
                      <a:pt x="3851602" y="4125912"/>
                    </a:cubicBezTo>
                    <a:cubicBezTo>
                      <a:pt x="3851602" y="4125912"/>
                      <a:pt x="3851602" y="4125912"/>
                      <a:pt x="2733075" y="4125912"/>
                    </a:cubicBezTo>
                    <a:cubicBezTo>
                      <a:pt x="2727125" y="4125912"/>
                      <a:pt x="2724150" y="4116981"/>
                      <a:pt x="2730100" y="4114004"/>
                    </a:cubicBezTo>
                    <a:cubicBezTo>
                      <a:pt x="2890739" y="4003854"/>
                      <a:pt x="3042455" y="3759739"/>
                      <a:pt x="3042455" y="3482876"/>
                    </a:cubicBezTo>
                    <a:cubicBezTo>
                      <a:pt x="3042455" y="3200059"/>
                      <a:pt x="2890739" y="2955943"/>
                      <a:pt x="2730100" y="2845793"/>
                    </a:cubicBezTo>
                    <a:cubicBezTo>
                      <a:pt x="2724150" y="2842816"/>
                      <a:pt x="2727125" y="2836862"/>
                      <a:pt x="2733075" y="2836862"/>
                    </a:cubicBezTo>
                    <a:close/>
                    <a:moveTo>
                      <a:pt x="1232160" y="2836862"/>
                    </a:moveTo>
                    <a:cubicBezTo>
                      <a:pt x="1232160" y="2836862"/>
                      <a:pt x="1232160" y="2836862"/>
                      <a:pt x="2348702" y="2836862"/>
                    </a:cubicBezTo>
                    <a:cubicBezTo>
                      <a:pt x="2357634" y="2836862"/>
                      <a:pt x="2360612" y="2842816"/>
                      <a:pt x="2354657" y="2845793"/>
                    </a:cubicBezTo>
                    <a:cubicBezTo>
                      <a:pt x="2196852" y="2955943"/>
                      <a:pt x="2045003" y="3200059"/>
                      <a:pt x="2045003" y="3482876"/>
                    </a:cubicBezTo>
                    <a:cubicBezTo>
                      <a:pt x="2045003" y="3759739"/>
                      <a:pt x="2196852" y="4003854"/>
                      <a:pt x="2354657" y="4114004"/>
                    </a:cubicBezTo>
                    <a:cubicBezTo>
                      <a:pt x="2360612" y="4116981"/>
                      <a:pt x="2357634" y="4125912"/>
                      <a:pt x="2348702" y="4125912"/>
                    </a:cubicBezTo>
                    <a:cubicBezTo>
                      <a:pt x="2348702" y="4125912"/>
                      <a:pt x="2348702" y="4125912"/>
                      <a:pt x="1235138" y="4125912"/>
                    </a:cubicBezTo>
                    <a:cubicBezTo>
                      <a:pt x="1232160" y="4125912"/>
                      <a:pt x="1229183" y="4119958"/>
                      <a:pt x="1229183" y="4116981"/>
                    </a:cubicBezTo>
                    <a:cubicBezTo>
                      <a:pt x="1232160" y="4102096"/>
                      <a:pt x="1235138" y="4087211"/>
                      <a:pt x="1235138" y="4072326"/>
                    </a:cubicBezTo>
                    <a:cubicBezTo>
                      <a:pt x="1235138" y="3991946"/>
                      <a:pt x="1166657" y="3923475"/>
                      <a:pt x="1080311" y="3923475"/>
                    </a:cubicBezTo>
                    <a:cubicBezTo>
                      <a:pt x="1062446" y="3923475"/>
                      <a:pt x="1044581" y="3926452"/>
                      <a:pt x="1029694" y="3929429"/>
                    </a:cubicBezTo>
                    <a:cubicBezTo>
                      <a:pt x="1026717" y="3932406"/>
                      <a:pt x="1020762" y="3929429"/>
                      <a:pt x="1020762" y="3923475"/>
                    </a:cubicBezTo>
                    <a:cubicBezTo>
                      <a:pt x="1020762" y="3923475"/>
                      <a:pt x="1020762" y="3923475"/>
                      <a:pt x="1020762" y="3039300"/>
                    </a:cubicBezTo>
                    <a:cubicBezTo>
                      <a:pt x="1020762" y="3033346"/>
                      <a:pt x="1026717" y="3030369"/>
                      <a:pt x="1029694" y="3033346"/>
                    </a:cubicBezTo>
                    <a:cubicBezTo>
                      <a:pt x="1044581" y="3039300"/>
                      <a:pt x="1062446" y="3042277"/>
                      <a:pt x="1080311" y="3042277"/>
                    </a:cubicBezTo>
                    <a:cubicBezTo>
                      <a:pt x="1166657" y="3042277"/>
                      <a:pt x="1235138" y="2973805"/>
                      <a:pt x="1235138" y="2890449"/>
                    </a:cubicBezTo>
                    <a:cubicBezTo>
                      <a:pt x="1235138" y="2875564"/>
                      <a:pt x="1232160" y="2857701"/>
                      <a:pt x="1229183" y="2842816"/>
                    </a:cubicBezTo>
                    <a:cubicBezTo>
                      <a:pt x="1226205" y="2839839"/>
                      <a:pt x="1229183" y="2836862"/>
                      <a:pt x="1232160" y="2836862"/>
                    </a:cubicBezTo>
                    <a:close/>
                    <a:moveTo>
                      <a:pt x="415132" y="0"/>
                    </a:moveTo>
                    <a:cubicBezTo>
                      <a:pt x="644403" y="0"/>
                      <a:pt x="830264" y="184439"/>
                      <a:pt x="830264" y="411957"/>
                    </a:cubicBezTo>
                    <a:cubicBezTo>
                      <a:pt x="830264" y="639475"/>
                      <a:pt x="644403" y="823914"/>
                      <a:pt x="415132" y="823914"/>
                    </a:cubicBezTo>
                    <a:cubicBezTo>
                      <a:pt x="185861" y="823914"/>
                      <a:pt x="0" y="639475"/>
                      <a:pt x="0" y="411957"/>
                    </a:cubicBezTo>
                    <a:cubicBezTo>
                      <a:pt x="0" y="184439"/>
                      <a:pt x="185861" y="0"/>
                      <a:pt x="415132" y="0"/>
                    </a:cubicBezTo>
                    <a:close/>
                  </a:path>
                </a:pathLst>
              </a:custGeom>
              <a:solidFill>
                <a:srgbClr val="1F497D"/>
              </a:solidFill>
              <a:ln>
                <a:noFill/>
              </a:ln>
            </p:spPr>
            <p:txBody>
              <a:bodyPr vert="horz" wrap="square" lIns="82296" tIns="41148" rIns="82296" bIns="41148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761970">
                  <a:defRPr/>
                </a:pPr>
                <a:endParaRPr lang="en-US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168" name="Group 28"/>
          <p:cNvGrpSpPr>
            <a:grpSpLocks noChangeAspect="1"/>
          </p:cNvGrpSpPr>
          <p:nvPr/>
        </p:nvGrpSpPr>
        <p:grpSpPr bwMode="auto">
          <a:xfrm>
            <a:off x="4907422" y="5085507"/>
            <a:ext cx="531692" cy="532183"/>
            <a:chOff x="1682" y="0"/>
            <a:chExt cx="4316" cy="4320"/>
          </a:xfrm>
        </p:grpSpPr>
        <p:sp>
          <p:nvSpPr>
            <p:cNvPr id="169" name="AutoShape 27"/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2296" tIns="41148" rIns="82296" bIns="41148" numCol="1" anchor="t" anchorCtr="0" compatLnSpc="1">
              <a:prstTxWarp prst="textNoShape">
                <a:avLst/>
              </a:prstTxWarp>
            </a:bodyPr>
            <a:lstStyle/>
            <a:p>
              <a:pPr defTabSz="761970">
                <a:defRPr/>
              </a:pPr>
              <a:endParaRPr lang="en-US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0" name="Freeform 29"/>
            <p:cNvSpPr>
              <a:spLocks/>
            </p:cNvSpPr>
            <p:nvPr/>
          </p:nvSpPr>
          <p:spPr bwMode="auto">
            <a:xfrm>
              <a:off x="1946" y="1869"/>
              <a:ext cx="1454" cy="1660"/>
            </a:xfrm>
            <a:custGeom>
              <a:avLst/>
              <a:gdLst>
                <a:gd name="T0" fmla="*/ 775 w 776"/>
                <a:gd name="T1" fmla="*/ 610 h 885"/>
                <a:gd name="T2" fmla="*/ 732 w 776"/>
                <a:gd name="T3" fmla="*/ 647 h 885"/>
                <a:gd name="T4" fmla="*/ 732 w 776"/>
                <a:gd name="T5" fmla="*/ 780 h 885"/>
                <a:gd name="T6" fmla="*/ 387 w 776"/>
                <a:gd name="T7" fmla="*/ 841 h 885"/>
                <a:gd name="T8" fmla="*/ 387 w 776"/>
                <a:gd name="T9" fmla="*/ 661 h 885"/>
                <a:gd name="T10" fmla="*/ 380 w 776"/>
                <a:gd name="T11" fmla="*/ 644 h 885"/>
                <a:gd name="T12" fmla="*/ 362 w 776"/>
                <a:gd name="T13" fmla="*/ 639 h 885"/>
                <a:gd name="T14" fmla="*/ 160 w 776"/>
                <a:gd name="T15" fmla="*/ 636 h 885"/>
                <a:gd name="T16" fmla="*/ 150 w 776"/>
                <a:gd name="T17" fmla="*/ 562 h 885"/>
                <a:gd name="T18" fmla="*/ 150 w 776"/>
                <a:gd name="T19" fmla="*/ 555 h 885"/>
                <a:gd name="T20" fmla="*/ 159 w 776"/>
                <a:gd name="T21" fmla="*/ 397 h 885"/>
                <a:gd name="T22" fmla="*/ 153 w 776"/>
                <a:gd name="T23" fmla="*/ 380 h 885"/>
                <a:gd name="T24" fmla="*/ 135 w 776"/>
                <a:gd name="T25" fmla="*/ 373 h 885"/>
                <a:gd name="T26" fmla="*/ 52 w 776"/>
                <a:gd name="T27" fmla="*/ 352 h 885"/>
                <a:gd name="T28" fmla="*/ 89 w 776"/>
                <a:gd name="T29" fmla="*/ 306 h 885"/>
                <a:gd name="T30" fmla="*/ 98 w 776"/>
                <a:gd name="T31" fmla="*/ 296 h 885"/>
                <a:gd name="T32" fmla="*/ 150 w 776"/>
                <a:gd name="T33" fmla="*/ 197 h 885"/>
                <a:gd name="T34" fmla="*/ 157 w 776"/>
                <a:gd name="T35" fmla="*/ 145 h 885"/>
                <a:gd name="T36" fmla="*/ 166 w 776"/>
                <a:gd name="T37" fmla="*/ 88 h 885"/>
                <a:gd name="T38" fmla="*/ 178 w 776"/>
                <a:gd name="T39" fmla="*/ 3 h 885"/>
                <a:gd name="T40" fmla="*/ 134 w 776"/>
                <a:gd name="T41" fmla="*/ 0 h 885"/>
                <a:gd name="T42" fmla="*/ 124 w 776"/>
                <a:gd name="T43" fmla="*/ 74 h 885"/>
                <a:gd name="T44" fmla="*/ 113 w 776"/>
                <a:gd name="T45" fmla="*/ 141 h 885"/>
                <a:gd name="T46" fmla="*/ 108 w 776"/>
                <a:gd name="T47" fmla="*/ 182 h 885"/>
                <a:gd name="T48" fmla="*/ 65 w 776"/>
                <a:gd name="T49" fmla="*/ 267 h 885"/>
                <a:gd name="T50" fmla="*/ 56 w 776"/>
                <a:gd name="T51" fmla="*/ 276 h 885"/>
                <a:gd name="T52" fmla="*/ 10 w 776"/>
                <a:gd name="T53" fmla="*/ 364 h 885"/>
                <a:gd name="T54" fmla="*/ 112 w 776"/>
                <a:gd name="T55" fmla="*/ 418 h 885"/>
                <a:gd name="T56" fmla="*/ 106 w 776"/>
                <a:gd name="T57" fmla="*/ 558 h 885"/>
                <a:gd name="T58" fmla="*/ 107 w 776"/>
                <a:gd name="T59" fmla="*/ 565 h 885"/>
                <a:gd name="T60" fmla="*/ 138 w 776"/>
                <a:gd name="T61" fmla="*/ 675 h 885"/>
                <a:gd name="T62" fmla="*/ 343 w 776"/>
                <a:gd name="T63" fmla="*/ 686 h 885"/>
                <a:gd name="T64" fmla="*/ 343 w 776"/>
                <a:gd name="T65" fmla="*/ 863 h 885"/>
                <a:gd name="T66" fmla="*/ 365 w 776"/>
                <a:gd name="T67" fmla="*/ 885 h 885"/>
                <a:gd name="T68" fmla="*/ 366 w 776"/>
                <a:gd name="T69" fmla="*/ 885 h 885"/>
                <a:gd name="T70" fmla="*/ 763 w 776"/>
                <a:gd name="T71" fmla="*/ 816 h 885"/>
                <a:gd name="T72" fmla="*/ 776 w 776"/>
                <a:gd name="T73" fmla="*/ 795 h 885"/>
                <a:gd name="T74" fmla="*/ 776 w 776"/>
                <a:gd name="T75" fmla="*/ 608 h 885"/>
                <a:gd name="T76" fmla="*/ 775 w 776"/>
                <a:gd name="T77" fmla="*/ 610 h 8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76" h="885">
                  <a:moveTo>
                    <a:pt x="775" y="610"/>
                  </a:moveTo>
                  <a:cubicBezTo>
                    <a:pt x="768" y="616"/>
                    <a:pt x="747" y="638"/>
                    <a:pt x="732" y="647"/>
                  </a:cubicBezTo>
                  <a:cubicBezTo>
                    <a:pt x="732" y="780"/>
                    <a:pt x="732" y="780"/>
                    <a:pt x="732" y="780"/>
                  </a:cubicBezTo>
                  <a:cubicBezTo>
                    <a:pt x="604" y="829"/>
                    <a:pt x="445" y="839"/>
                    <a:pt x="387" y="841"/>
                  </a:cubicBezTo>
                  <a:cubicBezTo>
                    <a:pt x="387" y="661"/>
                    <a:pt x="387" y="661"/>
                    <a:pt x="387" y="661"/>
                  </a:cubicBezTo>
                  <a:cubicBezTo>
                    <a:pt x="387" y="655"/>
                    <a:pt x="385" y="649"/>
                    <a:pt x="380" y="644"/>
                  </a:cubicBezTo>
                  <a:cubicBezTo>
                    <a:pt x="375" y="640"/>
                    <a:pt x="369" y="638"/>
                    <a:pt x="362" y="639"/>
                  </a:cubicBezTo>
                  <a:cubicBezTo>
                    <a:pt x="248" y="655"/>
                    <a:pt x="174" y="642"/>
                    <a:pt x="160" y="636"/>
                  </a:cubicBezTo>
                  <a:cubicBezTo>
                    <a:pt x="155" y="628"/>
                    <a:pt x="152" y="593"/>
                    <a:pt x="150" y="562"/>
                  </a:cubicBezTo>
                  <a:cubicBezTo>
                    <a:pt x="150" y="555"/>
                    <a:pt x="150" y="555"/>
                    <a:pt x="150" y="555"/>
                  </a:cubicBezTo>
                  <a:cubicBezTo>
                    <a:pt x="146" y="501"/>
                    <a:pt x="159" y="399"/>
                    <a:pt x="159" y="397"/>
                  </a:cubicBezTo>
                  <a:cubicBezTo>
                    <a:pt x="160" y="391"/>
                    <a:pt x="157" y="384"/>
                    <a:pt x="153" y="380"/>
                  </a:cubicBezTo>
                  <a:cubicBezTo>
                    <a:pt x="148" y="375"/>
                    <a:pt x="142" y="372"/>
                    <a:pt x="135" y="373"/>
                  </a:cubicBezTo>
                  <a:cubicBezTo>
                    <a:pt x="81" y="378"/>
                    <a:pt x="58" y="363"/>
                    <a:pt x="52" y="352"/>
                  </a:cubicBezTo>
                  <a:cubicBezTo>
                    <a:pt x="56" y="341"/>
                    <a:pt x="78" y="318"/>
                    <a:pt x="89" y="306"/>
                  </a:cubicBezTo>
                  <a:cubicBezTo>
                    <a:pt x="92" y="303"/>
                    <a:pt x="95" y="299"/>
                    <a:pt x="98" y="296"/>
                  </a:cubicBezTo>
                  <a:cubicBezTo>
                    <a:pt x="120" y="272"/>
                    <a:pt x="138" y="228"/>
                    <a:pt x="150" y="197"/>
                  </a:cubicBezTo>
                  <a:cubicBezTo>
                    <a:pt x="154" y="183"/>
                    <a:pt x="156" y="166"/>
                    <a:pt x="157" y="145"/>
                  </a:cubicBezTo>
                  <a:cubicBezTo>
                    <a:pt x="159" y="125"/>
                    <a:pt x="161" y="103"/>
                    <a:pt x="166" y="88"/>
                  </a:cubicBezTo>
                  <a:cubicBezTo>
                    <a:pt x="174" y="63"/>
                    <a:pt x="177" y="26"/>
                    <a:pt x="178" y="3"/>
                  </a:cubicBezTo>
                  <a:cubicBezTo>
                    <a:pt x="158" y="2"/>
                    <a:pt x="145" y="2"/>
                    <a:pt x="134" y="0"/>
                  </a:cubicBezTo>
                  <a:cubicBezTo>
                    <a:pt x="133" y="22"/>
                    <a:pt x="130" y="55"/>
                    <a:pt x="124" y="74"/>
                  </a:cubicBezTo>
                  <a:cubicBezTo>
                    <a:pt x="117" y="94"/>
                    <a:pt x="115" y="119"/>
                    <a:pt x="113" y="141"/>
                  </a:cubicBezTo>
                  <a:cubicBezTo>
                    <a:pt x="112" y="157"/>
                    <a:pt x="111" y="174"/>
                    <a:pt x="108" y="182"/>
                  </a:cubicBezTo>
                  <a:cubicBezTo>
                    <a:pt x="94" y="222"/>
                    <a:pt x="79" y="252"/>
                    <a:pt x="65" y="267"/>
                  </a:cubicBezTo>
                  <a:cubicBezTo>
                    <a:pt x="63" y="270"/>
                    <a:pt x="60" y="273"/>
                    <a:pt x="56" y="276"/>
                  </a:cubicBezTo>
                  <a:cubicBezTo>
                    <a:pt x="28" y="307"/>
                    <a:pt x="0" y="337"/>
                    <a:pt x="10" y="364"/>
                  </a:cubicBezTo>
                  <a:cubicBezTo>
                    <a:pt x="15" y="377"/>
                    <a:pt x="35" y="417"/>
                    <a:pt x="112" y="418"/>
                  </a:cubicBezTo>
                  <a:cubicBezTo>
                    <a:pt x="109" y="453"/>
                    <a:pt x="103" y="517"/>
                    <a:pt x="106" y="558"/>
                  </a:cubicBezTo>
                  <a:cubicBezTo>
                    <a:pt x="107" y="565"/>
                    <a:pt x="107" y="565"/>
                    <a:pt x="107" y="565"/>
                  </a:cubicBezTo>
                  <a:cubicBezTo>
                    <a:pt x="111" y="627"/>
                    <a:pt x="113" y="661"/>
                    <a:pt x="138" y="675"/>
                  </a:cubicBezTo>
                  <a:cubicBezTo>
                    <a:pt x="161" y="686"/>
                    <a:pt x="239" y="697"/>
                    <a:pt x="343" y="686"/>
                  </a:cubicBezTo>
                  <a:cubicBezTo>
                    <a:pt x="343" y="863"/>
                    <a:pt x="343" y="863"/>
                    <a:pt x="343" y="863"/>
                  </a:cubicBezTo>
                  <a:cubicBezTo>
                    <a:pt x="343" y="875"/>
                    <a:pt x="353" y="885"/>
                    <a:pt x="365" y="885"/>
                  </a:cubicBezTo>
                  <a:cubicBezTo>
                    <a:pt x="366" y="885"/>
                    <a:pt x="366" y="885"/>
                    <a:pt x="366" y="885"/>
                  </a:cubicBezTo>
                  <a:cubicBezTo>
                    <a:pt x="383" y="885"/>
                    <a:pt x="597" y="884"/>
                    <a:pt x="763" y="816"/>
                  </a:cubicBezTo>
                  <a:cubicBezTo>
                    <a:pt x="771" y="812"/>
                    <a:pt x="776" y="804"/>
                    <a:pt x="776" y="795"/>
                  </a:cubicBezTo>
                  <a:cubicBezTo>
                    <a:pt x="776" y="608"/>
                    <a:pt x="776" y="608"/>
                    <a:pt x="776" y="608"/>
                  </a:cubicBezTo>
                  <a:cubicBezTo>
                    <a:pt x="776" y="609"/>
                    <a:pt x="775" y="609"/>
                    <a:pt x="775" y="610"/>
                  </a:cubicBezTo>
                  <a:close/>
                </a:path>
              </a:pathLst>
            </a:custGeom>
            <a:solidFill>
              <a:srgbClr val="1F49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296" tIns="41148" rIns="82296" bIns="41148" numCol="1" anchor="t" anchorCtr="0" compatLnSpc="1">
              <a:prstTxWarp prst="textNoShape">
                <a:avLst/>
              </a:prstTxWarp>
            </a:bodyPr>
            <a:lstStyle/>
            <a:p>
              <a:pPr defTabSz="761970">
                <a:defRPr/>
              </a:pPr>
              <a:endParaRPr lang="en-US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1" name="Freeform 30"/>
            <p:cNvSpPr>
              <a:spLocks/>
            </p:cNvSpPr>
            <p:nvPr/>
          </p:nvSpPr>
          <p:spPr bwMode="auto">
            <a:xfrm>
              <a:off x="3954" y="1478"/>
              <a:ext cx="1769" cy="2051"/>
            </a:xfrm>
            <a:custGeom>
              <a:avLst/>
              <a:gdLst>
                <a:gd name="T0" fmla="*/ 878 w 944"/>
                <a:gd name="T1" fmla="*/ 353 h 1094"/>
                <a:gd name="T2" fmla="*/ 867 w 944"/>
                <a:gd name="T3" fmla="*/ 341 h 1094"/>
                <a:gd name="T4" fmla="*/ 813 w 944"/>
                <a:gd name="T5" fmla="*/ 235 h 1094"/>
                <a:gd name="T6" fmla="*/ 806 w 944"/>
                <a:gd name="T7" fmla="*/ 184 h 1094"/>
                <a:gd name="T8" fmla="*/ 793 w 944"/>
                <a:gd name="T9" fmla="*/ 102 h 1094"/>
                <a:gd name="T10" fmla="*/ 781 w 944"/>
                <a:gd name="T11" fmla="*/ 0 h 1094"/>
                <a:gd name="T12" fmla="*/ 737 w 944"/>
                <a:gd name="T13" fmla="*/ 3 h 1094"/>
                <a:gd name="T14" fmla="*/ 752 w 944"/>
                <a:gd name="T15" fmla="*/ 116 h 1094"/>
                <a:gd name="T16" fmla="*/ 762 w 944"/>
                <a:gd name="T17" fmla="*/ 187 h 1094"/>
                <a:gd name="T18" fmla="*/ 772 w 944"/>
                <a:gd name="T19" fmla="*/ 250 h 1094"/>
                <a:gd name="T20" fmla="*/ 834 w 944"/>
                <a:gd name="T21" fmla="*/ 370 h 1094"/>
                <a:gd name="T22" fmla="*/ 846 w 944"/>
                <a:gd name="T23" fmla="*/ 383 h 1094"/>
                <a:gd name="T24" fmla="*/ 892 w 944"/>
                <a:gd name="T25" fmla="*/ 442 h 1094"/>
                <a:gd name="T26" fmla="*/ 784 w 944"/>
                <a:gd name="T27" fmla="*/ 474 h 1094"/>
                <a:gd name="T28" fmla="*/ 767 w 944"/>
                <a:gd name="T29" fmla="*/ 480 h 1094"/>
                <a:gd name="T30" fmla="*/ 761 w 944"/>
                <a:gd name="T31" fmla="*/ 498 h 1094"/>
                <a:gd name="T32" fmla="*/ 771 w 944"/>
                <a:gd name="T33" fmla="*/ 693 h 1094"/>
                <a:gd name="T34" fmla="*/ 771 w 944"/>
                <a:gd name="T35" fmla="*/ 702 h 1094"/>
                <a:gd name="T36" fmla="*/ 757 w 944"/>
                <a:gd name="T37" fmla="*/ 797 h 1094"/>
                <a:gd name="T38" fmla="*/ 504 w 944"/>
                <a:gd name="T39" fmla="*/ 801 h 1094"/>
                <a:gd name="T40" fmla="*/ 487 w 944"/>
                <a:gd name="T41" fmla="*/ 807 h 1094"/>
                <a:gd name="T42" fmla="*/ 479 w 944"/>
                <a:gd name="T43" fmla="*/ 823 h 1094"/>
                <a:gd name="T44" fmla="*/ 479 w 944"/>
                <a:gd name="T45" fmla="*/ 1050 h 1094"/>
                <a:gd name="T46" fmla="*/ 44 w 944"/>
                <a:gd name="T47" fmla="*/ 974 h 1094"/>
                <a:gd name="T48" fmla="*/ 44 w 944"/>
                <a:gd name="T49" fmla="*/ 784 h 1094"/>
                <a:gd name="T50" fmla="*/ 4 w 944"/>
                <a:gd name="T51" fmla="*/ 753 h 1094"/>
                <a:gd name="T52" fmla="*/ 0 w 944"/>
                <a:gd name="T53" fmla="*/ 749 h 1094"/>
                <a:gd name="T54" fmla="*/ 0 w 944"/>
                <a:gd name="T55" fmla="*/ 988 h 1094"/>
                <a:gd name="T56" fmla="*/ 14 w 944"/>
                <a:gd name="T57" fmla="*/ 1009 h 1094"/>
                <a:gd name="T58" fmla="*/ 500 w 944"/>
                <a:gd name="T59" fmla="*/ 1094 h 1094"/>
                <a:gd name="T60" fmla="*/ 501 w 944"/>
                <a:gd name="T61" fmla="*/ 1094 h 1094"/>
                <a:gd name="T62" fmla="*/ 523 w 944"/>
                <a:gd name="T63" fmla="*/ 1072 h 1094"/>
                <a:gd name="T64" fmla="*/ 523 w 944"/>
                <a:gd name="T65" fmla="*/ 848 h 1094"/>
                <a:gd name="T66" fmla="*/ 778 w 944"/>
                <a:gd name="T67" fmla="*/ 835 h 1094"/>
                <a:gd name="T68" fmla="*/ 815 w 944"/>
                <a:gd name="T69" fmla="*/ 705 h 1094"/>
                <a:gd name="T70" fmla="*/ 815 w 944"/>
                <a:gd name="T71" fmla="*/ 696 h 1094"/>
                <a:gd name="T72" fmla="*/ 807 w 944"/>
                <a:gd name="T73" fmla="*/ 519 h 1094"/>
                <a:gd name="T74" fmla="*/ 934 w 944"/>
                <a:gd name="T75" fmla="*/ 456 h 1094"/>
                <a:gd name="T76" fmla="*/ 878 w 944"/>
                <a:gd name="T77" fmla="*/ 353 h 10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44" h="1094">
                  <a:moveTo>
                    <a:pt x="878" y="353"/>
                  </a:moveTo>
                  <a:cubicBezTo>
                    <a:pt x="874" y="349"/>
                    <a:pt x="870" y="345"/>
                    <a:pt x="867" y="341"/>
                  </a:cubicBezTo>
                  <a:cubicBezTo>
                    <a:pt x="850" y="322"/>
                    <a:pt x="831" y="284"/>
                    <a:pt x="813" y="235"/>
                  </a:cubicBezTo>
                  <a:cubicBezTo>
                    <a:pt x="810" y="224"/>
                    <a:pt x="808" y="204"/>
                    <a:pt x="806" y="184"/>
                  </a:cubicBezTo>
                  <a:cubicBezTo>
                    <a:pt x="804" y="157"/>
                    <a:pt x="802" y="126"/>
                    <a:pt x="793" y="102"/>
                  </a:cubicBezTo>
                  <a:cubicBezTo>
                    <a:pt x="785" y="75"/>
                    <a:pt x="782" y="26"/>
                    <a:pt x="781" y="0"/>
                  </a:cubicBezTo>
                  <a:cubicBezTo>
                    <a:pt x="770" y="1"/>
                    <a:pt x="756" y="2"/>
                    <a:pt x="737" y="3"/>
                  </a:cubicBezTo>
                  <a:cubicBezTo>
                    <a:pt x="738" y="28"/>
                    <a:pt x="740" y="82"/>
                    <a:pt x="752" y="116"/>
                  </a:cubicBezTo>
                  <a:cubicBezTo>
                    <a:pt x="758" y="135"/>
                    <a:pt x="760" y="163"/>
                    <a:pt x="762" y="187"/>
                  </a:cubicBezTo>
                  <a:cubicBezTo>
                    <a:pt x="764" y="212"/>
                    <a:pt x="766" y="234"/>
                    <a:pt x="772" y="250"/>
                  </a:cubicBezTo>
                  <a:cubicBezTo>
                    <a:pt x="786" y="288"/>
                    <a:pt x="808" y="341"/>
                    <a:pt x="834" y="370"/>
                  </a:cubicBezTo>
                  <a:cubicBezTo>
                    <a:pt x="838" y="374"/>
                    <a:pt x="842" y="378"/>
                    <a:pt x="846" y="383"/>
                  </a:cubicBezTo>
                  <a:cubicBezTo>
                    <a:pt x="860" y="398"/>
                    <a:pt x="890" y="430"/>
                    <a:pt x="892" y="442"/>
                  </a:cubicBezTo>
                  <a:cubicBezTo>
                    <a:pt x="884" y="461"/>
                    <a:pt x="852" y="480"/>
                    <a:pt x="784" y="474"/>
                  </a:cubicBezTo>
                  <a:cubicBezTo>
                    <a:pt x="778" y="473"/>
                    <a:pt x="771" y="475"/>
                    <a:pt x="767" y="480"/>
                  </a:cubicBezTo>
                  <a:cubicBezTo>
                    <a:pt x="762" y="485"/>
                    <a:pt x="760" y="492"/>
                    <a:pt x="761" y="498"/>
                  </a:cubicBezTo>
                  <a:cubicBezTo>
                    <a:pt x="761" y="499"/>
                    <a:pt x="776" y="626"/>
                    <a:pt x="771" y="693"/>
                  </a:cubicBezTo>
                  <a:cubicBezTo>
                    <a:pt x="771" y="702"/>
                    <a:pt x="771" y="702"/>
                    <a:pt x="771" y="702"/>
                  </a:cubicBezTo>
                  <a:cubicBezTo>
                    <a:pt x="768" y="743"/>
                    <a:pt x="765" y="789"/>
                    <a:pt x="757" y="797"/>
                  </a:cubicBezTo>
                  <a:cubicBezTo>
                    <a:pt x="743" y="804"/>
                    <a:pt x="651" y="821"/>
                    <a:pt x="504" y="801"/>
                  </a:cubicBezTo>
                  <a:cubicBezTo>
                    <a:pt x="498" y="801"/>
                    <a:pt x="491" y="803"/>
                    <a:pt x="487" y="807"/>
                  </a:cubicBezTo>
                  <a:cubicBezTo>
                    <a:pt x="482" y="811"/>
                    <a:pt x="479" y="817"/>
                    <a:pt x="479" y="823"/>
                  </a:cubicBezTo>
                  <a:cubicBezTo>
                    <a:pt x="479" y="1050"/>
                    <a:pt x="479" y="1050"/>
                    <a:pt x="479" y="1050"/>
                  </a:cubicBezTo>
                  <a:cubicBezTo>
                    <a:pt x="413" y="1048"/>
                    <a:pt x="208" y="1037"/>
                    <a:pt x="44" y="974"/>
                  </a:cubicBezTo>
                  <a:cubicBezTo>
                    <a:pt x="44" y="784"/>
                    <a:pt x="44" y="784"/>
                    <a:pt x="44" y="784"/>
                  </a:cubicBezTo>
                  <a:cubicBezTo>
                    <a:pt x="30" y="776"/>
                    <a:pt x="11" y="759"/>
                    <a:pt x="4" y="753"/>
                  </a:cubicBezTo>
                  <a:cubicBezTo>
                    <a:pt x="3" y="752"/>
                    <a:pt x="1" y="750"/>
                    <a:pt x="0" y="749"/>
                  </a:cubicBezTo>
                  <a:cubicBezTo>
                    <a:pt x="0" y="988"/>
                    <a:pt x="0" y="988"/>
                    <a:pt x="0" y="988"/>
                  </a:cubicBezTo>
                  <a:cubicBezTo>
                    <a:pt x="0" y="997"/>
                    <a:pt x="5" y="1005"/>
                    <a:pt x="14" y="1009"/>
                  </a:cubicBezTo>
                  <a:cubicBezTo>
                    <a:pt x="217" y="1092"/>
                    <a:pt x="479" y="1094"/>
                    <a:pt x="500" y="1094"/>
                  </a:cubicBezTo>
                  <a:cubicBezTo>
                    <a:pt x="501" y="1094"/>
                    <a:pt x="501" y="1094"/>
                    <a:pt x="501" y="1094"/>
                  </a:cubicBezTo>
                  <a:cubicBezTo>
                    <a:pt x="513" y="1094"/>
                    <a:pt x="523" y="1084"/>
                    <a:pt x="523" y="1072"/>
                  </a:cubicBezTo>
                  <a:cubicBezTo>
                    <a:pt x="523" y="848"/>
                    <a:pt x="523" y="848"/>
                    <a:pt x="523" y="848"/>
                  </a:cubicBezTo>
                  <a:cubicBezTo>
                    <a:pt x="665" y="864"/>
                    <a:pt x="757" y="847"/>
                    <a:pt x="778" y="835"/>
                  </a:cubicBezTo>
                  <a:cubicBezTo>
                    <a:pt x="807" y="820"/>
                    <a:pt x="810" y="779"/>
                    <a:pt x="815" y="705"/>
                  </a:cubicBezTo>
                  <a:cubicBezTo>
                    <a:pt x="815" y="696"/>
                    <a:pt x="815" y="696"/>
                    <a:pt x="815" y="696"/>
                  </a:cubicBezTo>
                  <a:cubicBezTo>
                    <a:pt x="819" y="643"/>
                    <a:pt x="811" y="561"/>
                    <a:pt x="807" y="519"/>
                  </a:cubicBezTo>
                  <a:cubicBezTo>
                    <a:pt x="904" y="519"/>
                    <a:pt x="928" y="471"/>
                    <a:pt x="934" y="456"/>
                  </a:cubicBezTo>
                  <a:cubicBezTo>
                    <a:pt x="944" y="427"/>
                    <a:pt x="918" y="396"/>
                    <a:pt x="878" y="353"/>
                  </a:cubicBezTo>
                  <a:close/>
                </a:path>
              </a:pathLst>
            </a:custGeom>
            <a:solidFill>
              <a:srgbClr val="4F81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296" tIns="41148" rIns="82296" bIns="41148" numCol="1" anchor="t" anchorCtr="0" compatLnSpc="1">
              <a:prstTxWarp prst="textNoShape">
                <a:avLst/>
              </a:prstTxWarp>
            </a:bodyPr>
            <a:lstStyle/>
            <a:p>
              <a:pPr defTabSz="761970">
                <a:defRPr/>
              </a:pPr>
              <a:endParaRPr lang="en-US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2" name="Freeform 31"/>
            <p:cNvSpPr>
              <a:spLocks/>
            </p:cNvSpPr>
            <p:nvPr/>
          </p:nvSpPr>
          <p:spPr bwMode="auto">
            <a:xfrm>
              <a:off x="3310" y="908"/>
              <a:ext cx="2325" cy="1927"/>
            </a:xfrm>
            <a:custGeom>
              <a:avLst/>
              <a:gdLst>
                <a:gd name="T0" fmla="*/ 1207 w 1241"/>
                <a:gd name="T1" fmla="*/ 80 h 1028"/>
                <a:gd name="T2" fmla="*/ 1129 w 1241"/>
                <a:gd name="T3" fmla="*/ 255 h 1028"/>
                <a:gd name="T4" fmla="*/ 1126 w 1241"/>
                <a:gd name="T5" fmla="*/ 258 h 1028"/>
                <a:gd name="T6" fmla="*/ 767 w 1241"/>
                <a:gd name="T7" fmla="*/ 341 h 1028"/>
                <a:gd name="T8" fmla="*/ 645 w 1241"/>
                <a:gd name="T9" fmla="*/ 612 h 1028"/>
                <a:gd name="T10" fmla="*/ 558 w 1241"/>
                <a:gd name="T11" fmla="*/ 620 h 1028"/>
                <a:gd name="T12" fmla="*/ 553 w 1241"/>
                <a:gd name="T13" fmla="*/ 616 h 1028"/>
                <a:gd name="T14" fmla="*/ 386 w 1241"/>
                <a:gd name="T15" fmla="*/ 471 h 1028"/>
                <a:gd name="T16" fmla="*/ 386 w 1241"/>
                <a:gd name="T17" fmla="*/ 786 h 1028"/>
                <a:gd name="T18" fmla="*/ 386 w 1241"/>
                <a:gd name="T19" fmla="*/ 788 h 1028"/>
                <a:gd name="T20" fmla="*/ 386 w 1241"/>
                <a:gd name="T21" fmla="*/ 1021 h 1028"/>
                <a:gd name="T22" fmla="*/ 378 w 1241"/>
                <a:gd name="T23" fmla="*/ 1025 h 1028"/>
                <a:gd name="T24" fmla="*/ 151 w 1241"/>
                <a:gd name="T25" fmla="*/ 329 h 1028"/>
                <a:gd name="T26" fmla="*/ 667 w 1241"/>
                <a:gd name="T27" fmla="*/ 0 h 1028"/>
                <a:gd name="T28" fmla="*/ 1207 w 1241"/>
                <a:gd name="T29" fmla="*/ 80 h 1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41" h="1028">
                  <a:moveTo>
                    <a:pt x="1207" y="80"/>
                  </a:moveTo>
                  <a:cubicBezTo>
                    <a:pt x="1241" y="80"/>
                    <a:pt x="1146" y="185"/>
                    <a:pt x="1129" y="255"/>
                  </a:cubicBezTo>
                  <a:cubicBezTo>
                    <a:pt x="1129" y="256"/>
                    <a:pt x="1127" y="258"/>
                    <a:pt x="1126" y="258"/>
                  </a:cubicBezTo>
                  <a:cubicBezTo>
                    <a:pt x="1091" y="270"/>
                    <a:pt x="897" y="246"/>
                    <a:pt x="767" y="341"/>
                  </a:cubicBezTo>
                  <a:cubicBezTo>
                    <a:pt x="697" y="391"/>
                    <a:pt x="645" y="472"/>
                    <a:pt x="645" y="612"/>
                  </a:cubicBezTo>
                  <a:cubicBezTo>
                    <a:pt x="645" y="632"/>
                    <a:pt x="575" y="623"/>
                    <a:pt x="558" y="620"/>
                  </a:cubicBezTo>
                  <a:cubicBezTo>
                    <a:pt x="556" y="620"/>
                    <a:pt x="554" y="618"/>
                    <a:pt x="553" y="616"/>
                  </a:cubicBezTo>
                  <a:cubicBezTo>
                    <a:pt x="550" y="587"/>
                    <a:pt x="517" y="402"/>
                    <a:pt x="386" y="471"/>
                  </a:cubicBezTo>
                  <a:cubicBezTo>
                    <a:pt x="263" y="534"/>
                    <a:pt x="378" y="769"/>
                    <a:pt x="386" y="786"/>
                  </a:cubicBezTo>
                  <a:cubicBezTo>
                    <a:pt x="386" y="787"/>
                    <a:pt x="386" y="788"/>
                    <a:pt x="386" y="788"/>
                  </a:cubicBezTo>
                  <a:cubicBezTo>
                    <a:pt x="386" y="1021"/>
                    <a:pt x="386" y="1021"/>
                    <a:pt x="386" y="1021"/>
                  </a:cubicBezTo>
                  <a:cubicBezTo>
                    <a:pt x="386" y="1025"/>
                    <a:pt x="381" y="1028"/>
                    <a:pt x="378" y="1025"/>
                  </a:cubicBezTo>
                  <a:cubicBezTo>
                    <a:pt x="321" y="972"/>
                    <a:pt x="0" y="652"/>
                    <a:pt x="151" y="329"/>
                  </a:cubicBezTo>
                  <a:cubicBezTo>
                    <a:pt x="224" y="177"/>
                    <a:pt x="371" y="0"/>
                    <a:pt x="667" y="0"/>
                  </a:cubicBezTo>
                  <a:cubicBezTo>
                    <a:pt x="1004" y="0"/>
                    <a:pt x="895" y="86"/>
                    <a:pt x="1207" y="80"/>
                  </a:cubicBezTo>
                  <a:close/>
                </a:path>
              </a:pathLst>
            </a:custGeom>
            <a:solidFill>
              <a:srgbClr val="1F49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296" tIns="41148" rIns="82296" bIns="41148" numCol="1" anchor="t" anchorCtr="0" compatLnSpc="1">
              <a:prstTxWarp prst="textNoShape">
                <a:avLst/>
              </a:prstTxWarp>
            </a:bodyPr>
            <a:lstStyle/>
            <a:p>
              <a:pPr defTabSz="761970">
                <a:defRPr/>
              </a:pPr>
              <a:endParaRPr lang="en-US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3" name="Freeform 32"/>
            <p:cNvSpPr>
              <a:spLocks/>
            </p:cNvSpPr>
            <p:nvPr/>
          </p:nvSpPr>
          <p:spPr bwMode="auto">
            <a:xfrm>
              <a:off x="2029" y="1393"/>
              <a:ext cx="1629" cy="1564"/>
            </a:xfrm>
            <a:custGeom>
              <a:avLst/>
              <a:gdLst>
                <a:gd name="T0" fmla="*/ 832 w 870"/>
                <a:gd name="T1" fmla="*/ 540 h 834"/>
                <a:gd name="T2" fmla="*/ 772 w 870"/>
                <a:gd name="T3" fmla="*/ 112 h 834"/>
                <a:gd name="T4" fmla="*/ 466 w 870"/>
                <a:gd name="T5" fmla="*/ 0 h 834"/>
                <a:gd name="T6" fmla="*/ 27 w 870"/>
                <a:gd name="T7" fmla="*/ 65 h 834"/>
                <a:gd name="T8" fmla="*/ 91 w 870"/>
                <a:gd name="T9" fmla="*/ 206 h 834"/>
                <a:gd name="T10" fmla="*/ 93 w 870"/>
                <a:gd name="T11" fmla="*/ 209 h 834"/>
                <a:gd name="T12" fmla="*/ 385 w 870"/>
                <a:gd name="T13" fmla="*/ 276 h 834"/>
                <a:gd name="T14" fmla="*/ 484 w 870"/>
                <a:gd name="T15" fmla="*/ 497 h 834"/>
                <a:gd name="T16" fmla="*/ 555 w 870"/>
                <a:gd name="T17" fmla="*/ 503 h 834"/>
                <a:gd name="T18" fmla="*/ 558 w 870"/>
                <a:gd name="T19" fmla="*/ 500 h 834"/>
                <a:gd name="T20" fmla="*/ 694 w 870"/>
                <a:gd name="T21" fmla="*/ 382 h 834"/>
                <a:gd name="T22" fmla="*/ 694 w 870"/>
                <a:gd name="T23" fmla="*/ 638 h 834"/>
                <a:gd name="T24" fmla="*/ 694 w 870"/>
                <a:gd name="T25" fmla="*/ 640 h 834"/>
                <a:gd name="T26" fmla="*/ 694 w 870"/>
                <a:gd name="T27" fmla="*/ 829 h 834"/>
                <a:gd name="T28" fmla="*/ 701 w 870"/>
                <a:gd name="T29" fmla="*/ 832 h 834"/>
                <a:gd name="T30" fmla="*/ 870 w 870"/>
                <a:gd name="T31" fmla="*/ 604 h 834"/>
                <a:gd name="T32" fmla="*/ 832 w 870"/>
                <a:gd name="T33" fmla="*/ 540 h 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0" h="834">
                  <a:moveTo>
                    <a:pt x="832" y="540"/>
                  </a:moveTo>
                  <a:cubicBezTo>
                    <a:pt x="751" y="391"/>
                    <a:pt x="731" y="244"/>
                    <a:pt x="772" y="112"/>
                  </a:cubicBezTo>
                  <a:cubicBezTo>
                    <a:pt x="703" y="47"/>
                    <a:pt x="604" y="0"/>
                    <a:pt x="466" y="0"/>
                  </a:cubicBezTo>
                  <a:cubicBezTo>
                    <a:pt x="192" y="0"/>
                    <a:pt x="281" y="70"/>
                    <a:pt x="27" y="65"/>
                  </a:cubicBezTo>
                  <a:cubicBezTo>
                    <a:pt x="0" y="65"/>
                    <a:pt x="77" y="150"/>
                    <a:pt x="91" y="206"/>
                  </a:cubicBezTo>
                  <a:cubicBezTo>
                    <a:pt x="91" y="208"/>
                    <a:pt x="92" y="209"/>
                    <a:pt x="93" y="209"/>
                  </a:cubicBezTo>
                  <a:cubicBezTo>
                    <a:pt x="122" y="219"/>
                    <a:pt x="279" y="200"/>
                    <a:pt x="385" y="276"/>
                  </a:cubicBezTo>
                  <a:cubicBezTo>
                    <a:pt x="442" y="317"/>
                    <a:pt x="484" y="383"/>
                    <a:pt x="484" y="497"/>
                  </a:cubicBezTo>
                  <a:cubicBezTo>
                    <a:pt x="484" y="513"/>
                    <a:pt x="541" y="505"/>
                    <a:pt x="555" y="503"/>
                  </a:cubicBezTo>
                  <a:cubicBezTo>
                    <a:pt x="556" y="503"/>
                    <a:pt x="558" y="502"/>
                    <a:pt x="558" y="500"/>
                  </a:cubicBezTo>
                  <a:cubicBezTo>
                    <a:pt x="561" y="477"/>
                    <a:pt x="588" y="326"/>
                    <a:pt x="694" y="382"/>
                  </a:cubicBezTo>
                  <a:cubicBezTo>
                    <a:pt x="794" y="433"/>
                    <a:pt x="701" y="624"/>
                    <a:pt x="694" y="638"/>
                  </a:cubicBezTo>
                  <a:cubicBezTo>
                    <a:pt x="694" y="639"/>
                    <a:pt x="694" y="639"/>
                    <a:pt x="694" y="640"/>
                  </a:cubicBezTo>
                  <a:cubicBezTo>
                    <a:pt x="694" y="829"/>
                    <a:pt x="694" y="829"/>
                    <a:pt x="694" y="829"/>
                  </a:cubicBezTo>
                  <a:cubicBezTo>
                    <a:pt x="694" y="832"/>
                    <a:pt x="698" y="834"/>
                    <a:pt x="701" y="832"/>
                  </a:cubicBezTo>
                  <a:cubicBezTo>
                    <a:pt x="726" y="808"/>
                    <a:pt x="814" y="721"/>
                    <a:pt x="870" y="604"/>
                  </a:cubicBezTo>
                  <a:cubicBezTo>
                    <a:pt x="857" y="584"/>
                    <a:pt x="844" y="563"/>
                    <a:pt x="832" y="540"/>
                  </a:cubicBezTo>
                  <a:close/>
                </a:path>
              </a:pathLst>
            </a:custGeom>
            <a:solidFill>
              <a:srgbClr val="4F81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296" tIns="41148" rIns="82296" bIns="41148" numCol="1" anchor="t" anchorCtr="0" compatLnSpc="1">
              <a:prstTxWarp prst="textNoShape">
                <a:avLst/>
              </a:prstTxWarp>
            </a:bodyPr>
            <a:lstStyle/>
            <a:p>
              <a:pPr defTabSz="761970">
                <a:defRPr/>
              </a:pPr>
              <a:endParaRPr lang="en-US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65" name="Oval 164"/>
          <p:cNvSpPr>
            <a:spLocks noChangeAspect="1"/>
          </p:cNvSpPr>
          <p:nvPr/>
        </p:nvSpPr>
        <p:spPr>
          <a:xfrm>
            <a:off x="4772732" y="4951218"/>
            <a:ext cx="801072" cy="800760"/>
          </a:xfrm>
          <a:prstGeom prst="ellipse">
            <a:avLst/>
          </a:prstGeom>
          <a:solidFill>
            <a:schemeClr val="bg1"/>
          </a:solidFill>
          <a:ln w="34290">
            <a:solidFill>
              <a:srgbClr val="1F41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15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016257" y="3588938"/>
            <a:ext cx="1564460" cy="70193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lang="en-US" sz="1500" dirty="0">
                <a:solidFill>
                  <a:srgbClr val="003344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Connective infrastructure</a:t>
            </a:r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5822769" y="3142725"/>
            <a:ext cx="0" cy="484292"/>
          </a:xfrm>
          <a:prstGeom prst="line">
            <a:avLst/>
          </a:prstGeom>
          <a:ln w="8572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/>
        </p:nvCxnSpPr>
        <p:spPr>
          <a:xfrm flipV="1">
            <a:off x="6335263" y="3486033"/>
            <a:ext cx="299232" cy="262879"/>
          </a:xfrm>
          <a:prstGeom prst="line">
            <a:avLst/>
          </a:prstGeom>
          <a:ln w="8572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/>
        </p:nvCxnSpPr>
        <p:spPr>
          <a:xfrm>
            <a:off x="6072729" y="4342761"/>
            <a:ext cx="136959" cy="493879"/>
          </a:xfrm>
          <a:prstGeom prst="line">
            <a:avLst/>
          </a:prstGeom>
          <a:ln w="8572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/>
        </p:nvCxnSpPr>
        <p:spPr>
          <a:xfrm flipH="1">
            <a:off x="4844500" y="4112564"/>
            <a:ext cx="339662" cy="112541"/>
          </a:xfrm>
          <a:prstGeom prst="line">
            <a:avLst/>
          </a:prstGeom>
          <a:ln w="8572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/>
        </p:nvCxnSpPr>
        <p:spPr>
          <a:xfrm flipH="1">
            <a:off x="5394396" y="4354904"/>
            <a:ext cx="169290" cy="437664"/>
          </a:xfrm>
          <a:prstGeom prst="line">
            <a:avLst/>
          </a:prstGeom>
          <a:ln w="8572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8" name="Straight Connector 197"/>
          <p:cNvCxnSpPr/>
          <p:nvPr/>
        </p:nvCxnSpPr>
        <p:spPr>
          <a:xfrm>
            <a:off x="6389267" y="4111998"/>
            <a:ext cx="331379" cy="88626"/>
          </a:xfrm>
          <a:prstGeom prst="line">
            <a:avLst/>
          </a:prstGeom>
          <a:ln w="8572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/>
        </p:nvCxnSpPr>
        <p:spPr>
          <a:xfrm flipH="1" flipV="1">
            <a:off x="5041377" y="3354273"/>
            <a:ext cx="327691" cy="270774"/>
          </a:xfrm>
          <a:prstGeom prst="line">
            <a:avLst/>
          </a:prstGeom>
          <a:ln w="8572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" name="TextBox 199"/>
          <p:cNvSpPr txBox="1"/>
          <p:nvPr/>
        </p:nvSpPr>
        <p:spPr>
          <a:xfrm>
            <a:off x="1730101" y="3777744"/>
            <a:ext cx="2175641" cy="276999"/>
          </a:xfrm>
          <a:prstGeom prst="rect">
            <a:avLst/>
          </a:prstGeom>
          <a:noFill/>
        </p:spPr>
        <p:txBody>
          <a:bodyPr wrap="none" lIns="0" tIns="0" rIns="97200" bIns="0" rtlCol="0" anchor="ctr" anchorCtr="0">
            <a:spAutoFit/>
          </a:bodyPr>
          <a:lstStyle/>
          <a:p>
            <a:pPr>
              <a:defRPr/>
            </a:pPr>
            <a:r>
              <a:rPr lang="en-US" b="1" dirty="0" smtClean="0">
                <a:solidFill>
                  <a:srgbClr val="1F4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vernment/NGOs</a:t>
            </a:r>
            <a:endParaRPr lang="en-US" b="1" dirty="0">
              <a:solidFill>
                <a:srgbClr val="1F417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1" name="Rectangle 200"/>
          <p:cNvSpPr/>
          <p:nvPr/>
        </p:nvSpPr>
        <p:spPr>
          <a:xfrm>
            <a:off x="1710535" y="4041830"/>
            <a:ext cx="2256825" cy="7294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sz="1400" dirty="0">
                <a:solidFill>
                  <a:srgbClr val="1F4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</a:t>
            </a: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Coordination </a:t>
            </a:r>
            <a:b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nding support for </a:t>
            </a: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programs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03" name="Group 28"/>
          <p:cNvGrpSpPr>
            <a:grpSpLocks noChangeAspect="1"/>
          </p:cNvGrpSpPr>
          <p:nvPr/>
        </p:nvGrpSpPr>
        <p:grpSpPr bwMode="auto">
          <a:xfrm>
            <a:off x="4899201" y="5077278"/>
            <a:ext cx="548134" cy="548640"/>
            <a:chOff x="1682" y="0"/>
            <a:chExt cx="4316" cy="4320"/>
          </a:xfrm>
        </p:grpSpPr>
        <p:sp>
          <p:nvSpPr>
            <p:cNvPr id="204" name="AutoShape 27"/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2296" tIns="41148" rIns="82296" bIns="41148" numCol="1" anchor="t" anchorCtr="0" compatLnSpc="1">
              <a:prstTxWarp prst="textNoShape">
                <a:avLst/>
              </a:prstTxWarp>
            </a:bodyPr>
            <a:lstStyle/>
            <a:p>
              <a:pPr defTabSz="761970">
                <a:defRPr/>
              </a:pPr>
              <a:endParaRPr lang="en-US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5" name="Freeform 29"/>
            <p:cNvSpPr>
              <a:spLocks/>
            </p:cNvSpPr>
            <p:nvPr/>
          </p:nvSpPr>
          <p:spPr bwMode="auto">
            <a:xfrm>
              <a:off x="1946" y="1869"/>
              <a:ext cx="1454" cy="1660"/>
            </a:xfrm>
            <a:custGeom>
              <a:avLst/>
              <a:gdLst>
                <a:gd name="T0" fmla="*/ 775 w 776"/>
                <a:gd name="T1" fmla="*/ 610 h 885"/>
                <a:gd name="T2" fmla="*/ 732 w 776"/>
                <a:gd name="T3" fmla="*/ 647 h 885"/>
                <a:gd name="T4" fmla="*/ 732 w 776"/>
                <a:gd name="T5" fmla="*/ 780 h 885"/>
                <a:gd name="T6" fmla="*/ 387 w 776"/>
                <a:gd name="T7" fmla="*/ 841 h 885"/>
                <a:gd name="T8" fmla="*/ 387 w 776"/>
                <a:gd name="T9" fmla="*/ 661 h 885"/>
                <a:gd name="T10" fmla="*/ 380 w 776"/>
                <a:gd name="T11" fmla="*/ 644 h 885"/>
                <a:gd name="T12" fmla="*/ 362 w 776"/>
                <a:gd name="T13" fmla="*/ 639 h 885"/>
                <a:gd name="T14" fmla="*/ 160 w 776"/>
                <a:gd name="T15" fmla="*/ 636 h 885"/>
                <a:gd name="T16" fmla="*/ 150 w 776"/>
                <a:gd name="T17" fmla="*/ 562 h 885"/>
                <a:gd name="T18" fmla="*/ 150 w 776"/>
                <a:gd name="T19" fmla="*/ 555 h 885"/>
                <a:gd name="T20" fmla="*/ 159 w 776"/>
                <a:gd name="T21" fmla="*/ 397 h 885"/>
                <a:gd name="T22" fmla="*/ 153 w 776"/>
                <a:gd name="T23" fmla="*/ 380 h 885"/>
                <a:gd name="T24" fmla="*/ 135 w 776"/>
                <a:gd name="T25" fmla="*/ 373 h 885"/>
                <a:gd name="T26" fmla="*/ 52 w 776"/>
                <a:gd name="T27" fmla="*/ 352 h 885"/>
                <a:gd name="T28" fmla="*/ 89 w 776"/>
                <a:gd name="T29" fmla="*/ 306 h 885"/>
                <a:gd name="T30" fmla="*/ 98 w 776"/>
                <a:gd name="T31" fmla="*/ 296 h 885"/>
                <a:gd name="T32" fmla="*/ 150 w 776"/>
                <a:gd name="T33" fmla="*/ 197 h 885"/>
                <a:gd name="T34" fmla="*/ 157 w 776"/>
                <a:gd name="T35" fmla="*/ 145 h 885"/>
                <a:gd name="T36" fmla="*/ 166 w 776"/>
                <a:gd name="T37" fmla="*/ 88 h 885"/>
                <a:gd name="T38" fmla="*/ 178 w 776"/>
                <a:gd name="T39" fmla="*/ 3 h 885"/>
                <a:gd name="T40" fmla="*/ 134 w 776"/>
                <a:gd name="T41" fmla="*/ 0 h 885"/>
                <a:gd name="T42" fmla="*/ 124 w 776"/>
                <a:gd name="T43" fmla="*/ 74 h 885"/>
                <a:gd name="T44" fmla="*/ 113 w 776"/>
                <a:gd name="T45" fmla="*/ 141 h 885"/>
                <a:gd name="T46" fmla="*/ 108 w 776"/>
                <a:gd name="T47" fmla="*/ 182 h 885"/>
                <a:gd name="T48" fmla="*/ 65 w 776"/>
                <a:gd name="T49" fmla="*/ 267 h 885"/>
                <a:gd name="T50" fmla="*/ 56 w 776"/>
                <a:gd name="T51" fmla="*/ 276 h 885"/>
                <a:gd name="T52" fmla="*/ 10 w 776"/>
                <a:gd name="T53" fmla="*/ 364 h 885"/>
                <a:gd name="T54" fmla="*/ 112 w 776"/>
                <a:gd name="T55" fmla="*/ 418 h 885"/>
                <a:gd name="T56" fmla="*/ 106 w 776"/>
                <a:gd name="T57" fmla="*/ 558 h 885"/>
                <a:gd name="T58" fmla="*/ 107 w 776"/>
                <a:gd name="T59" fmla="*/ 565 h 885"/>
                <a:gd name="T60" fmla="*/ 138 w 776"/>
                <a:gd name="T61" fmla="*/ 675 h 885"/>
                <a:gd name="T62" fmla="*/ 343 w 776"/>
                <a:gd name="T63" fmla="*/ 686 h 885"/>
                <a:gd name="T64" fmla="*/ 343 w 776"/>
                <a:gd name="T65" fmla="*/ 863 h 885"/>
                <a:gd name="T66" fmla="*/ 365 w 776"/>
                <a:gd name="T67" fmla="*/ 885 h 885"/>
                <a:gd name="T68" fmla="*/ 366 w 776"/>
                <a:gd name="T69" fmla="*/ 885 h 885"/>
                <a:gd name="T70" fmla="*/ 763 w 776"/>
                <a:gd name="T71" fmla="*/ 816 h 885"/>
                <a:gd name="T72" fmla="*/ 776 w 776"/>
                <a:gd name="T73" fmla="*/ 795 h 885"/>
                <a:gd name="T74" fmla="*/ 776 w 776"/>
                <a:gd name="T75" fmla="*/ 608 h 885"/>
                <a:gd name="T76" fmla="*/ 775 w 776"/>
                <a:gd name="T77" fmla="*/ 610 h 8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76" h="885">
                  <a:moveTo>
                    <a:pt x="775" y="610"/>
                  </a:moveTo>
                  <a:cubicBezTo>
                    <a:pt x="768" y="616"/>
                    <a:pt x="747" y="638"/>
                    <a:pt x="732" y="647"/>
                  </a:cubicBezTo>
                  <a:cubicBezTo>
                    <a:pt x="732" y="780"/>
                    <a:pt x="732" y="780"/>
                    <a:pt x="732" y="780"/>
                  </a:cubicBezTo>
                  <a:cubicBezTo>
                    <a:pt x="604" y="829"/>
                    <a:pt x="445" y="839"/>
                    <a:pt x="387" y="841"/>
                  </a:cubicBezTo>
                  <a:cubicBezTo>
                    <a:pt x="387" y="661"/>
                    <a:pt x="387" y="661"/>
                    <a:pt x="387" y="661"/>
                  </a:cubicBezTo>
                  <a:cubicBezTo>
                    <a:pt x="387" y="655"/>
                    <a:pt x="385" y="649"/>
                    <a:pt x="380" y="644"/>
                  </a:cubicBezTo>
                  <a:cubicBezTo>
                    <a:pt x="375" y="640"/>
                    <a:pt x="369" y="638"/>
                    <a:pt x="362" y="639"/>
                  </a:cubicBezTo>
                  <a:cubicBezTo>
                    <a:pt x="248" y="655"/>
                    <a:pt x="174" y="642"/>
                    <a:pt x="160" y="636"/>
                  </a:cubicBezTo>
                  <a:cubicBezTo>
                    <a:pt x="155" y="628"/>
                    <a:pt x="152" y="593"/>
                    <a:pt x="150" y="562"/>
                  </a:cubicBezTo>
                  <a:cubicBezTo>
                    <a:pt x="150" y="555"/>
                    <a:pt x="150" y="555"/>
                    <a:pt x="150" y="555"/>
                  </a:cubicBezTo>
                  <a:cubicBezTo>
                    <a:pt x="146" y="501"/>
                    <a:pt x="159" y="399"/>
                    <a:pt x="159" y="397"/>
                  </a:cubicBezTo>
                  <a:cubicBezTo>
                    <a:pt x="160" y="391"/>
                    <a:pt x="157" y="384"/>
                    <a:pt x="153" y="380"/>
                  </a:cubicBezTo>
                  <a:cubicBezTo>
                    <a:pt x="148" y="375"/>
                    <a:pt x="142" y="372"/>
                    <a:pt x="135" y="373"/>
                  </a:cubicBezTo>
                  <a:cubicBezTo>
                    <a:pt x="81" y="378"/>
                    <a:pt x="58" y="363"/>
                    <a:pt x="52" y="352"/>
                  </a:cubicBezTo>
                  <a:cubicBezTo>
                    <a:pt x="56" y="341"/>
                    <a:pt x="78" y="318"/>
                    <a:pt x="89" y="306"/>
                  </a:cubicBezTo>
                  <a:cubicBezTo>
                    <a:pt x="92" y="303"/>
                    <a:pt x="95" y="299"/>
                    <a:pt x="98" y="296"/>
                  </a:cubicBezTo>
                  <a:cubicBezTo>
                    <a:pt x="120" y="272"/>
                    <a:pt x="138" y="228"/>
                    <a:pt x="150" y="197"/>
                  </a:cubicBezTo>
                  <a:cubicBezTo>
                    <a:pt x="154" y="183"/>
                    <a:pt x="156" y="166"/>
                    <a:pt x="157" y="145"/>
                  </a:cubicBezTo>
                  <a:cubicBezTo>
                    <a:pt x="159" y="125"/>
                    <a:pt x="161" y="103"/>
                    <a:pt x="166" y="88"/>
                  </a:cubicBezTo>
                  <a:cubicBezTo>
                    <a:pt x="174" y="63"/>
                    <a:pt x="177" y="26"/>
                    <a:pt x="178" y="3"/>
                  </a:cubicBezTo>
                  <a:cubicBezTo>
                    <a:pt x="158" y="2"/>
                    <a:pt x="145" y="2"/>
                    <a:pt x="134" y="0"/>
                  </a:cubicBezTo>
                  <a:cubicBezTo>
                    <a:pt x="133" y="22"/>
                    <a:pt x="130" y="55"/>
                    <a:pt x="124" y="74"/>
                  </a:cubicBezTo>
                  <a:cubicBezTo>
                    <a:pt x="117" y="94"/>
                    <a:pt x="115" y="119"/>
                    <a:pt x="113" y="141"/>
                  </a:cubicBezTo>
                  <a:cubicBezTo>
                    <a:pt x="112" y="157"/>
                    <a:pt x="111" y="174"/>
                    <a:pt x="108" y="182"/>
                  </a:cubicBezTo>
                  <a:cubicBezTo>
                    <a:pt x="94" y="222"/>
                    <a:pt x="79" y="252"/>
                    <a:pt x="65" y="267"/>
                  </a:cubicBezTo>
                  <a:cubicBezTo>
                    <a:pt x="63" y="270"/>
                    <a:pt x="60" y="273"/>
                    <a:pt x="56" y="276"/>
                  </a:cubicBezTo>
                  <a:cubicBezTo>
                    <a:pt x="28" y="307"/>
                    <a:pt x="0" y="337"/>
                    <a:pt x="10" y="364"/>
                  </a:cubicBezTo>
                  <a:cubicBezTo>
                    <a:pt x="15" y="377"/>
                    <a:pt x="35" y="417"/>
                    <a:pt x="112" y="418"/>
                  </a:cubicBezTo>
                  <a:cubicBezTo>
                    <a:pt x="109" y="453"/>
                    <a:pt x="103" y="517"/>
                    <a:pt x="106" y="558"/>
                  </a:cubicBezTo>
                  <a:cubicBezTo>
                    <a:pt x="107" y="565"/>
                    <a:pt x="107" y="565"/>
                    <a:pt x="107" y="565"/>
                  </a:cubicBezTo>
                  <a:cubicBezTo>
                    <a:pt x="111" y="627"/>
                    <a:pt x="113" y="661"/>
                    <a:pt x="138" y="675"/>
                  </a:cubicBezTo>
                  <a:cubicBezTo>
                    <a:pt x="161" y="686"/>
                    <a:pt x="239" y="697"/>
                    <a:pt x="343" y="686"/>
                  </a:cubicBezTo>
                  <a:cubicBezTo>
                    <a:pt x="343" y="863"/>
                    <a:pt x="343" y="863"/>
                    <a:pt x="343" y="863"/>
                  </a:cubicBezTo>
                  <a:cubicBezTo>
                    <a:pt x="343" y="875"/>
                    <a:pt x="353" y="885"/>
                    <a:pt x="365" y="885"/>
                  </a:cubicBezTo>
                  <a:cubicBezTo>
                    <a:pt x="366" y="885"/>
                    <a:pt x="366" y="885"/>
                    <a:pt x="366" y="885"/>
                  </a:cubicBezTo>
                  <a:cubicBezTo>
                    <a:pt x="383" y="885"/>
                    <a:pt x="597" y="884"/>
                    <a:pt x="763" y="816"/>
                  </a:cubicBezTo>
                  <a:cubicBezTo>
                    <a:pt x="771" y="812"/>
                    <a:pt x="776" y="804"/>
                    <a:pt x="776" y="795"/>
                  </a:cubicBezTo>
                  <a:cubicBezTo>
                    <a:pt x="776" y="608"/>
                    <a:pt x="776" y="608"/>
                    <a:pt x="776" y="608"/>
                  </a:cubicBezTo>
                  <a:cubicBezTo>
                    <a:pt x="776" y="609"/>
                    <a:pt x="775" y="609"/>
                    <a:pt x="775" y="610"/>
                  </a:cubicBezTo>
                  <a:close/>
                </a:path>
              </a:pathLst>
            </a:custGeom>
            <a:solidFill>
              <a:srgbClr val="1F49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296" tIns="41148" rIns="82296" bIns="41148" numCol="1" anchor="t" anchorCtr="0" compatLnSpc="1">
              <a:prstTxWarp prst="textNoShape">
                <a:avLst/>
              </a:prstTxWarp>
            </a:bodyPr>
            <a:lstStyle/>
            <a:p>
              <a:pPr defTabSz="761970">
                <a:defRPr/>
              </a:pPr>
              <a:endParaRPr lang="en-US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6" name="Freeform 30"/>
            <p:cNvSpPr>
              <a:spLocks/>
            </p:cNvSpPr>
            <p:nvPr/>
          </p:nvSpPr>
          <p:spPr bwMode="auto">
            <a:xfrm>
              <a:off x="3954" y="1478"/>
              <a:ext cx="1769" cy="2051"/>
            </a:xfrm>
            <a:custGeom>
              <a:avLst/>
              <a:gdLst>
                <a:gd name="T0" fmla="*/ 878 w 944"/>
                <a:gd name="T1" fmla="*/ 353 h 1094"/>
                <a:gd name="T2" fmla="*/ 867 w 944"/>
                <a:gd name="T3" fmla="*/ 341 h 1094"/>
                <a:gd name="T4" fmla="*/ 813 w 944"/>
                <a:gd name="T5" fmla="*/ 235 h 1094"/>
                <a:gd name="T6" fmla="*/ 806 w 944"/>
                <a:gd name="T7" fmla="*/ 184 h 1094"/>
                <a:gd name="T8" fmla="*/ 793 w 944"/>
                <a:gd name="T9" fmla="*/ 102 h 1094"/>
                <a:gd name="T10" fmla="*/ 781 w 944"/>
                <a:gd name="T11" fmla="*/ 0 h 1094"/>
                <a:gd name="T12" fmla="*/ 737 w 944"/>
                <a:gd name="T13" fmla="*/ 3 h 1094"/>
                <a:gd name="T14" fmla="*/ 752 w 944"/>
                <a:gd name="T15" fmla="*/ 116 h 1094"/>
                <a:gd name="T16" fmla="*/ 762 w 944"/>
                <a:gd name="T17" fmla="*/ 187 h 1094"/>
                <a:gd name="T18" fmla="*/ 772 w 944"/>
                <a:gd name="T19" fmla="*/ 250 h 1094"/>
                <a:gd name="T20" fmla="*/ 834 w 944"/>
                <a:gd name="T21" fmla="*/ 370 h 1094"/>
                <a:gd name="T22" fmla="*/ 846 w 944"/>
                <a:gd name="T23" fmla="*/ 383 h 1094"/>
                <a:gd name="T24" fmla="*/ 892 w 944"/>
                <a:gd name="T25" fmla="*/ 442 h 1094"/>
                <a:gd name="T26" fmla="*/ 784 w 944"/>
                <a:gd name="T27" fmla="*/ 474 h 1094"/>
                <a:gd name="T28" fmla="*/ 767 w 944"/>
                <a:gd name="T29" fmla="*/ 480 h 1094"/>
                <a:gd name="T30" fmla="*/ 761 w 944"/>
                <a:gd name="T31" fmla="*/ 498 h 1094"/>
                <a:gd name="T32" fmla="*/ 771 w 944"/>
                <a:gd name="T33" fmla="*/ 693 h 1094"/>
                <a:gd name="T34" fmla="*/ 771 w 944"/>
                <a:gd name="T35" fmla="*/ 702 h 1094"/>
                <a:gd name="T36" fmla="*/ 757 w 944"/>
                <a:gd name="T37" fmla="*/ 797 h 1094"/>
                <a:gd name="T38" fmla="*/ 504 w 944"/>
                <a:gd name="T39" fmla="*/ 801 h 1094"/>
                <a:gd name="T40" fmla="*/ 487 w 944"/>
                <a:gd name="T41" fmla="*/ 807 h 1094"/>
                <a:gd name="T42" fmla="*/ 479 w 944"/>
                <a:gd name="T43" fmla="*/ 823 h 1094"/>
                <a:gd name="T44" fmla="*/ 479 w 944"/>
                <a:gd name="T45" fmla="*/ 1050 h 1094"/>
                <a:gd name="T46" fmla="*/ 44 w 944"/>
                <a:gd name="T47" fmla="*/ 974 h 1094"/>
                <a:gd name="T48" fmla="*/ 44 w 944"/>
                <a:gd name="T49" fmla="*/ 784 h 1094"/>
                <a:gd name="T50" fmla="*/ 4 w 944"/>
                <a:gd name="T51" fmla="*/ 753 h 1094"/>
                <a:gd name="T52" fmla="*/ 0 w 944"/>
                <a:gd name="T53" fmla="*/ 749 h 1094"/>
                <a:gd name="T54" fmla="*/ 0 w 944"/>
                <a:gd name="T55" fmla="*/ 988 h 1094"/>
                <a:gd name="T56" fmla="*/ 14 w 944"/>
                <a:gd name="T57" fmla="*/ 1009 h 1094"/>
                <a:gd name="T58" fmla="*/ 500 w 944"/>
                <a:gd name="T59" fmla="*/ 1094 h 1094"/>
                <a:gd name="T60" fmla="*/ 501 w 944"/>
                <a:gd name="T61" fmla="*/ 1094 h 1094"/>
                <a:gd name="T62" fmla="*/ 523 w 944"/>
                <a:gd name="T63" fmla="*/ 1072 h 1094"/>
                <a:gd name="T64" fmla="*/ 523 w 944"/>
                <a:gd name="T65" fmla="*/ 848 h 1094"/>
                <a:gd name="T66" fmla="*/ 778 w 944"/>
                <a:gd name="T67" fmla="*/ 835 h 1094"/>
                <a:gd name="T68" fmla="*/ 815 w 944"/>
                <a:gd name="T69" fmla="*/ 705 h 1094"/>
                <a:gd name="T70" fmla="*/ 815 w 944"/>
                <a:gd name="T71" fmla="*/ 696 h 1094"/>
                <a:gd name="T72" fmla="*/ 807 w 944"/>
                <a:gd name="T73" fmla="*/ 519 h 1094"/>
                <a:gd name="T74" fmla="*/ 934 w 944"/>
                <a:gd name="T75" fmla="*/ 456 h 1094"/>
                <a:gd name="T76" fmla="*/ 878 w 944"/>
                <a:gd name="T77" fmla="*/ 353 h 10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44" h="1094">
                  <a:moveTo>
                    <a:pt x="878" y="353"/>
                  </a:moveTo>
                  <a:cubicBezTo>
                    <a:pt x="874" y="349"/>
                    <a:pt x="870" y="345"/>
                    <a:pt x="867" y="341"/>
                  </a:cubicBezTo>
                  <a:cubicBezTo>
                    <a:pt x="850" y="322"/>
                    <a:pt x="831" y="284"/>
                    <a:pt x="813" y="235"/>
                  </a:cubicBezTo>
                  <a:cubicBezTo>
                    <a:pt x="810" y="224"/>
                    <a:pt x="808" y="204"/>
                    <a:pt x="806" y="184"/>
                  </a:cubicBezTo>
                  <a:cubicBezTo>
                    <a:pt x="804" y="157"/>
                    <a:pt x="802" y="126"/>
                    <a:pt x="793" y="102"/>
                  </a:cubicBezTo>
                  <a:cubicBezTo>
                    <a:pt x="785" y="75"/>
                    <a:pt x="782" y="26"/>
                    <a:pt x="781" y="0"/>
                  </a:cubicBezTo>
                  <a:cubicBezTo>
                    <a:pt x="770" y="1"/>
                    <a:pt x="756" y="2"/>
                    <a:pt x="737" y="3"/>
                  </a:cubicBezTo>
                  <a:cubicBezTo>
                    <a:pt x="738" y="28"/>
                    <a:pt x="740" y="82"/>
                    <a:pt x="752" y="116"/>
                  </a:cubicBezTo>
                  <a:cubicBezTo>
                    <a:pt x="758" y="135"/>
                    <a:pt x="760" y="163"/>
                    <a:pt x="762" y="187"/>
                  </a:cubicBezTo>
                  <a:cubicBezTo>
                    <a:pt x="764" y="212"/>
                    <a:pt x="766" y="234"/>
                    <a:pt x="772" y="250"/>
                  </a:cubicBezTo>
                  <a:cubicBezTo>
                    <a:pt x="786" y="288"/>
                    <a:pt x="808" y="341"/>
                    <a:pt x="834" y="370"/>
                  </a:cubicBezTo>
                  <a:cubicBezTo>
                    <a:pt x="838" y="374"/>
                    <a:pt x="842" y="378"/>
                    <a:pt x="846" y="383"/>
                  </a:cubicBezTo>
                  <a:cubicBezTo>
                    <a:pt x="860" y="398"/>
                    <a:pt x="890" y="430"/>
                    <a:pt x="892" y="442"/>
                  </a:cubicBezTo>
                  <a:cubicBezTo>
                    <a:pt x="884" y="461"/>
                    <a:pt x="852" y="480"/>
                    <a:pt x="784" y="474"/>
                  </a:cubicBezTo>
                  <a:cubicBezTo>
                    <a:pt x="778" y="473"/>
                    <a:pt x="771" y="475"/>
                    <a:pt x="767" y="480"/>
                  </a:cubicBezTo>
                  <a:cubicBezTo>
                    <a:pt x="762" y="485"/>
                    <a:pt x="760" y="492"/>
                    <a:pt x="761" y="498"/>
                  </a:cubicBezTo>
                  <a:cubicBezTo>
                    <a:pt x="761" y="499"/>
                    <a:pt x="776" y="626"/>
                    <a:pt x="771" y="693"/>
                  </a:cubicBezTo>
                  <a:cubicBezTo>
                    <a:pt x="771" y="702"/>
                    <a:pt x="771" y="702"/>
                    <a:pt x="771" y="702"/>
                  </a:cubicBezTo>
                  <a:cubicBezTo>
                    <a:pt x="768" y="743"/>
                    <a:pt x="765" y="789"/>
                    <a:pt x="757" y="797"/>
                  </a:cubicBezTo>
                  <a:cubicBezTo>
                    <a:pt x="743" y="804"/>
                    <a:pt x="651" y="821"/>
                    <a:pt x="504" y="801"/>
                  </a:cubicBezTo>
                  <a:cubicBezTo>
                    <a:pt x="498" y="801"/>
                    <a:pt x="491" y="803"/>
                    <a:pt x="487" y="807"/>
                  </a:cubicBezTo>
                  <a:cubicBezTo>
                    <a:pt x="482" y="811"/>
                    <a:pt x="479" y="817"/>
                    <a:pt x="479" y="823"/>
                  </a:cubicBezTo>
                  <a:cubicBezTo>
                    <a:pt x="479" y="1050"/>
                    <a:pt x="479" y="1050"/>
                    <a:pt x="479" y="1050"/>
                  </a:cubicBezTo>
                  <a:cubicBezTo>
                    <a:pt x="413" y="1048"/>
                    <a:pt x="208" y="1037"/>
                    <a:pt x="44" y="974"/>
                  </a:cubicBezTo>
                  <a:cubicBezTo>
                    <a:pt x="44" y="784"/>
                    <a:pt x="44" y="784"/>
                    <a:pt x="44" y="784"/>
                  </a:cubicBezTo>
                  <a:cubicBezTo>
                    <a:pt x="30" y="776"/>
                    <a:pt x="11" y="759"/>
                    <a:pt x="4" y="753"/>
                  </a:cubicBezTo>
                  <a:cubicBezTo>
                    <a:pt x="3" y="752"/>
                    <a:pt x="1" y="750"/>
                    <a:pt x="0" y="749"/>
                  </a:cubicBezTo>
                  <a:cubicBezTo>
                    <a:pt x="0" y="988"/>
                    <a:pt x="0" y="988"/>
                    <a:pt x="0" y="988"/>
                  </a:cubicBezTo>
                  <a:cubicBezTo>
                    <a:pt x="0" y="997"/>
                    <a:pt x="5" y="1005"/>
                    <a:pt x="14" y="1009"/>
                  </a:cubicBezTo>
                  <a:cubicBezTo>
                    <a:pt x="217" y="1092"/>
                    <a:pt x="479" y="1094"/>
                    <a:pt x="500" y="1094"/>
                  </a:cubicBezTo>
                  <a:cubicBezTo>
                    <a:pt x="501" y="1094"/>
                    <a:pt x="501" y="1094"/>
                    <a:pt x="501" y="1094"/>
                  </a:cubicBezTo>
                  <a:cubicBezTo>
                    <a:pt x="513" y="1094"/>
                    <a:pt x="523" y="1084"/>
                    <a:pt x="523" y="1072"/>
                  </a:cubicBezTo>
                  <a:cubicBezTo>
                    <a:pt x="523" y="848"/>
                    <a:pt x="523" y="848"/>
                    <a:pt x="523" y="848"/>
                  </a:cubicBezTo>
                  <a:cubicBezTo>
                    <a:pt x="665" y="864"/>
                    <a:pt x="757" y="847"/>
                    <a:pt x="778" y="835"/>
                  </a:cubicBezTo>
                  <a:cubicBezTo>
                    <a:pt x="807" y="820"/>
                    <a:pt x="810" y="779"/>
                    <a:pt x="815" y="705"/>
                  </a:cubicBezTo>
                  <a:cubicBezTo>
                    <a:pt x="815" y="696"/>
                    <a:pt x="815" y="696"/>
                    <a:pt x="815" y="696"/>
                  </a:cubicBezTo>
                  <a:cubicBezTo>
                    <a:pt x="819" y="643"/>
                    <a:pt x="811" y="561"/>
                    <a:pt x="807" y="519"/>
                  </a:cubicBezTo>
                  <a:cubicBezTo>
                    <a:pt x="904" y="519"/>
                    <a:pt x="928" y="471"/>
                    <a:pt x="934" y="456"/>
                  </a:cubicBezTo>
                  <a:cubicBezTo>
                    <a:pt x="944" y="427"/>
                    <a:pt x="918" y="396"/>
                    <a:pt x="878" y="353"/>
                  </a:cubicBezTo>
                  <a:close/>
                </a:path>
              </a:pathLst>
            </a:custGeom>
            <a:solidFill>
              <a:srgbClr val="4F81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296" tIns="41148" rIns="82296" bIns="41148" numCol="1" anchor="t" anchorCtr="0" compatLnSpc="1">
              <a:prstTxWarp prst="textNoShape">
                <a:avLst/>
              </a:prstTxWarp>
            </a:bodyPr>
            <a:lstStyle/>
            <a:p>
              <a:pPr defTabSz="761970">
                <a:defRPr/>
              </a:pPr>
              <a:endParaRPr lang="en-US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7" name="Freeform 31"/>
            <p:cNvSpPr>
              <a:spLocks/>
            </p:cNvSpPr>
            <p:nvPr/>
          </p:nvSpPr>
          <p:spPr bwMode="auto">
            <a:xfrm>
              <a:off x="3310" y="908"/>
              <a:ext cx="2325" cy="1927"/>
            </a:xfrm>
            <a:custGeom>
              <a:avLst/>
              <a:gdLst>
                <a:gd name="T0" fmla="*/ 1207 w 1241"/>
                <a:gd name="T1" fmla="*/ 80 h 1028"/>
                <a:gd name="T2" fmla="*/ 1129 w 1241"/>
                <a:gd name="T3" fmla="*/ 255 h 1028"/>
                <a:gd name="T4" fmla="*/ 1126 w 1241"/>
                <a:gd name="T5" fmla="*/ 258 h 1028"/>
                <a:gd name="T6" fmla="*/ 767 w 1241"/>
                <a:gd name="T7" fmla="*/ 341 h 1028"/>
                <a:gd name="T8" fmla="*/ 645 w 1241"/>
                <a:gd name="T9" fmla="*/ 612 h 1028"/>
                <a:gd name="T10" fmla="*/ 558 w 1241"/>
                <a:gd name="T11" fmla="*/ 620 h 1028"/>
                <a:gd name="T12" fmla="*/ 553 w 1241"/>
                <a:gd name="T13" fmla="*/ 616 h 1028"/>
                <a:gd name="T14" fmla="*/ 386 w 1241"/>
                <a:gd name="T15" fmla="*/ 471 h 1028"/>
                <a:gd name="T16" fmla="*/ 386 w 1241"/>
                <a:gd name="T17" fmla="*/ 786 h 1028"/>
                <a:gd name="T18" fmla="*/ 386 w 1241"/>
                <a:gd name="T19" fmla="*/ 788 h 1028"/>
                <a:gd name="T20" fmla="*/ 386 w 1241"/>
                <a:gd name="T21" fmla="*/ 1021 h 1028"/>
                <a:gd name="T22" fmla="*/ 378 w 1241"/>
                <a:gd name="T23" fmla="*/ 1025 h 1028"/>
                <a:gd name="T24" fmla="*/ 151 w 1241"/>
                <a:gd name="T25" fmla="*/ 329 h 1028"/>
                <a:gd name="T26" fmla="*/ 667 w 1241"/>
                <a:gd name="T27" fmla="*/ 0 h 1028"/>
                <a:gd name="T28" fmla="*/ 1207 w 1241"/>
                <a:gd name="T29" fmla="*/ 80 h 1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41" h="1028">
                  <a:moveTo>
                    <a:pt x="1207" y="80"/>
                  </a:moveTo>
                  <a:cubicBezTo>
                    <a:pt x="1241" y="80"/>
                    <a:pt x="1146" y="185"/>
                    <a:pt x="1129" y="255"/>
                  </a:cubicBezTo>
                  <a:cubicBezTo>
                    <a:pt x="1129" y="256"/>
                    <a:pt x="1127" y="258"/>
                    <a:pt x="1126" y="258"/>
                  </a:cubicBezTo>
                  <a:cubicBezTo>
                    <a:pt x="1091" y="270"/>
                    <a:pt x="897" y="246"/>
                    <a:pt x="767" y="341"/>
                  </a:cubicBezTo>
                  <a:cubicBezTo>
                    <a:pt x="697" y="391"/>
                    <a:pt x="645" y="472"/>
                    <a:pt x="645" y="612"/>
                  </a:cubicBezTo>
                  <a:cubicBezTo>
                    <a:pt x="645" y="632"/>
                    <a:pt x="575" y="623"/>
                    <a:pt x="558" y="620"/>
                  </a:cubicBezTo>
                  <a:cubicBezTo>
                    <a:pt x="556" y="620"/>
                    <a:pt x="554" y="618"/>
                    <a:pt x="553" y="616"/>
                  </a:cubicBezTo>
                  <a:cubicBezTo>
                    <a:pt x="550" y="587"/>
                    <a:pt x="517" y="402"/>
                    <a:pt x="386" y="471"/>
                  </a:cubicBezTo>
                  <a:cubicBezTo>
                    <a:pt x="263" y="534"/>
                    <a:pt x="378" y="769"/>
                    <a:pt x="386" y="786"/>
                  </a:cubicBezTo>
                  <a:cubicBezTo>
                    <a:pt x="386" y="787"/>
                    <a:pt x="386" y="788"/>
                    <a:pt x="386" y="788"/>
                  </a:cubicBezTo>
                  <a:cubicBezTo>
                    <a:pt x="386" y="1021"/>
                    <a:pt x="386" y="1021"/>
                    <a:pt x="386" y="1021"/>
                  </a:cubicBezTo>
                  <a:cubicBezTo>
                    <a:pt x="386" y="1025"/>
                    <a:pt x="381" y="1028"/>
                    <a:pt x="378" y="1025"/>
                  </a:cubicBezTo>
                  <a:cubicBezTo>
                    <a:pt x="321" y="972"/>
                    <a:pt x="0" y="652"/>
                    <a:pt x="151" y="329"/>
                  </a:cubicBezTo>
                  <a:cubicBezTo>
                    <a:pt x="224" y="177"/>
                    <a:pt x="371" y="0"/>
                    <a:pt x="667" y="0"/>
                  </a:cubicBezTo>
                  <a:cubicBezTo>
                    <a:pt x="1004" y="0"/>
                    <a:pt x="895" y="86"/>
                    <a:pt x="1207" y="80"/>
                  </a:cubicBezTo>
                  <a:close/>
                </a:path>
              </a:pathLst>
            </a:custGeom>
            <a:solidFill>
              <a:srgbClr val="1F49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296" tIns="41148" rIns="82296" bIns="41148" numCol="1" anchor="t" anchorCtr="0" compatLnSpc="1">
              <a:prstTxWarp prst="textNoShape">
                <a:avLst/>
              </a:prstTxWarp>
            </a:bodyPr>
            <a:lstStyle/>
            <a:p>
              <a:pPr defTabSz="761970">
                <a:defRPr/>
              </a:pPr>
              <a:endParaRPr lang="en-US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8" name="Freeform 32"/>
            <p:cNvSpPr>
              <a:spLocks/>
            </p:cNvSpPr>
            <p:nvPr/>
          </p:nvSpPr>
          <p:spPr bwMode="auto">
            <a:xfrm>
              <a:off x="2029" y="1393"/>
              <a:ext cx="1629" cy="1564"/>
            </a:xfrm>
            <a:custGeom>
              <a:avLst/>
              <a:gdLst>
                <a:gd name="T0" fmla="*/ 832 w 870"/>
                <a:gd name="T1" fmla="*/ 540 h 834"/>
                <a:gd name="T2" fmla="*/ 772 w 870"/>
                <a:gd name="T3" fmla="*/ 112 h 834"/>
                <a:gd name="T4" fmla="*/ 466 w 870"/>
                <a:gd name="T5" fmla="*/ 0 h 834"/>
                <a:gd name="T6" fmla="*/ 27 w 870"/>
                <a:gd name="T7" fmla="*/ 65 h 834"/>
                <a:gd name="T8" fmla="*/ 91 w 870"/>
                <a:gd name="T9" fmla="*/ 206 h 834"/>
                <a:gd name="T10" fmla="*/ 93 w 870"/>
                <a:gd name="T11" fmla="*/ 209 h 834"/>
                <a:gd name="T12" fmla="*/ 385 w 870"/>
                <a:gd name="T13" fmla="*/ 276 h 834"/>
                <a:gd name="T14" fmla="*/ 484 w 870"/>
                <a:gd name="T15" fmla="*/ 497 h 834"/>
                <a:gd name="T16" fmla="*/ 555 w 870"/>
                <a:gd name="T17" fmla="*/ 503 h 834"/>
                <a:gd name="T18" fmla="*/ 558 w 870"/>
                <a:gd name="T19" fmla="*/ 500 h 834"/>
                <a:gd name="T20" fmla="*/ 694 w 870"/>
                <a:gd name="T21" fmla="*/ 382 h 834"/>
                <a:gd name="T22" fmla="*/ 694 w 870"/>
                <a:gd name="T23" fmla="*/ 638 h 834"/>
                <a:gd name="T24" fmla="*/ 694 w 870"/>
                <a:gd name="T25" fmla="*/ 640 h 834"/>
                <a:gd name="T26" fmla="*/ 694 w 870"/>
                <a:gd name="T27" fmla="*/ 829 h 834"/>
                <a:gd name="T28" fmla="*/ 701 w 870"/>
                <a:gd name="T29" fmla="*/ 832 h 834"/>
                <a:gd name="T30" fmla="*/ 870 w 870"/>
                <a:gd name="T31" fmla="*/ 604 h 834"/>
                <a:gd name="T32" fmla="*/ 832 w 870"/>
                <a:gd name="T33" fmla="*/ 540 h 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0" h="834">
                  <a:moveTo>
                    <a:pt x="832" y="540"/>
                  </a:moveTo>
                  <a:cubicBezTo>
                    <a:pt x="751" y="391"/>
                    <a:pt x="731" y="244"/>
                    <a:pt x="772" y="112"/>
                  </a:cubicBezTo>
                  <a:cubicBezTo>
                    <a:pt x="703" y="47"/>
                    <a:pt x="604" y="0"/>
                    <a:pt x="466" y="0"/>
                  </a:cubicBezTo>
                  <a:cubicBezTo>
                    <a:pt x="192" y="0"/>
                    <a:pt x="281" y="70"/>
                    <a:pt x="27" y="65"/>
                  </a:cubicBezTo>
                  <a:cubicBezTo>
                    <a:pt x="0" y="65"/>
                    <a:pt x="77" y="150"/>
                    <a:pt x="91" y="206"/>
                  </a:cubicBezTo>
                  <a:cubicBezTo>
                    <a:pt x="91" y="208"/>
                    <a:pt x="92" y="209"/>
                    <a:pt x="93" y="209"/>
                  </a:cubicBezTo>
                  <a:cubicBezTo>
                    <a:pt x="122" y="219"/>
                    <a:pt x="279" y="200"/>
                    <a:pt x="385" y="276"/>
                  </a:cubicBezTo>
                  <a:cubicBezTo>
                    <a:pt x="442" y="317"/>
                    <a:pt x="484" y="383"/>
                    <a:pt x="484" y="497"/>
                  </a:cubicBezTo>
                  <a:cubicBezTo>
                    <a:pt x="484" y="513"/>
                    <a:pt x="541" y="505"/>
                    <a:pt x="555" y="503"/>
                  </a:cubicBezTo>
                  <a:cubicBezTo>
                    <a:pt x="556" y="503"/>
                    <a:pt x="558" y="502"/>
                    <a:pt x="558" y="500"/>
                  </a:cubicBezTo>
                  <a:cubicBezTo>
                    <a:pt x="561" y="477"/>
                    <a:pt x="588" y="326"/>
                    <a:pt x="694" y="382"/>
                  </a:cubicBezTo>
                  <a:cubicBezTo>
                    <a:pt x="794" y="433"/>
                    <a:pt x="701" y="624"/>
                    <a:pt x="694" y="638"/>
                  </a:cubicBezTo>
                  <a:cubicBezTo>
                    <a:pt x="694" y="639"/>
                    <a:pt x="694" y="639"/>
                    <a:pt x="694" y="640"/>
                  </a:cubicBezTo>
                  <a:cubicBezTo>
                    <a:pt x="694" y="829"/>
                    <a:pt x="694" y="829"/>
                    <a:pt x="694" y="829"/>
                  </a:cubicBezTo>
                  <a:cubicBezTo>
                    <a:pt x="694" y="832"/>
                    <a:pt x="698" y="834"/>
                    <a:pt x="701" y="832"/>
                  </a:cubicBezTo>
                  <a:cubicBezTo>
                    <a:pt x="726" y="808"/>
                    <a:pt x="814" y="721"/>
                    <a:pt x="870" y="604"/>
                  </a:cubicBezTo>
                  <a:cubicBezTo>
                    <a:pt x="857" y="584"/>
                    <a:pt x="844" y="563"/>
                    <a:pt x="832" y="540"/>
                  </a:cubicBezTo>
                  <a:close/>
                </a:path>
              </a:pathLst>
            </a:custGeom>
            <a:solidFill>
              <a:srgbClr val="4F81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296" tIns="41148" rIns="82296" bIns="41148" numCol="1" anchor="t" anchorCtr="0" compatLnSpc="1">
              <a:prstTxWarp prst="textNoShape">
                <a:avLst/>
              </a:prstTxWarp>
            </a:bodyPr>
            <a:lstStyle/>
            <a:p>
              <a:pPr defTabSz="761970">
                <a:defRPr/>
              </a:pPr>
              <a:endParaRPr lang="en-US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54960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27696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02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742" y="561762"/>
            <a:ext cx="11474881" cy="332399"/>
          </a:xfrm>
        </p:spPr>
        <p:txBody>
          <a:bodyPr/>
          <a:lstStyle/>
          <a:p>
            <a:r>
              <a:rPr lang="en-US" sz="2400" dirty="0"/>
              <a:t>…and address gaps </a:t>
            </a:r>
            <a:r>
              <a:rPr lang="en-US" sz="2400" dirty="0" smtClean="0"/>
              <a:t>that hold back our full strength</a:t>
            </a:r>
            <a:endParaRPr lang="en-US" sz="2400" dirty="0"/>
          </a:p>
        </p:txBody>
      </p:sp>
      <p:sp>
        <p:nvSpPr>
          <p:cNvPr id="31" name="Oval 20"/>
          <p:cNvSpPr>
            <a:spLocks noChangeAspect="1" noChangeArrowheads="1"/>
          </p:cNvSpPr>
          <p:nvPr/>
        </p:nvSpPr>
        <p:spPr bwMode="auto">
          <a:xfrm>
            <a:off x="355742" y="1730732"/>
            <a:ext cx="1016352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r"/>
            <a:r>
              <a:rPr lang="en-US" sz="1400" b="1" dirty="0">
                <a:solidFill>
                  <a:srgbClr val="0033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ology </a:t>
            </a:r>
            <a:br>
              <a:rPr lang="en-US" sz="1400" b="1" dirty="0">
                <a:solidFill>
                  <a:srgbClr val="00334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00" b="1" dirty="0">
                <a:solidFill>
                  <a:srgbClr val="0033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turity</a:t>
            </a:r>
            <a:r>
              <a:rPr lang="en-US" sz="1400" b="1" baseline="30000" dirty="0">
                <a:solidFill>
                  <a:srgbClr val="0033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27" name="AutoShape 45">
            <a:extLst>
              <a:ext uri="{FF2B5EF4-FFF2-40B4-BE49-F238E27FC236}">
                <a16:creationId xmlns="" xmlns:a16="http://schemas.microsoft.com/office/drawing/2014/main" id="{A396E5A7-EAF0-44E6-9FED-51E234B25CB1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3795964" y="2489803"/>
            <a:ext cx="1644396" cy="16459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ounded Rectangle 31"/>
          <p:cNvSpPr/>
          <p:nvPr/>
        </p:nvSpPr>
        <p:spPr>
          <a:xfrm>
            <a:off x="718678" y="3001581"/>
            <a:ext cx="10686610" cy="1266552"/>
          </a:xfrm>
          <a:prstGeom prst="roundRect">
            <a:avLst/>
          </a:prstGeom>
          <a:noFill/>
          <a:ln w="82550" cap="rnd" cmpd="tri" algn="ctr">
            <a:solidFill>
              <a:schemeClr val="accent5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951899" y="2421867"/>
            <a:ext cx="1096766" cy="2482878"/>
            <a:chOff x="1658853" y="2849286"/>
            <a:chExt cx="864009" cy="1976102"/>
          </a:xfrm>
        </p:grpSpPr>
        <p:sp>
          <p:nvSpPr>
            <p:cNvPr id="14" name="Flowchart: Terminator 13"/>
            <p:cNvSpPr/>
            <p:nvPr/>
          </p:nvSpPr>
          <p:spPr>
            <a:xfrm rot="5400000">
              <a:off x="1123365" y="3595931"/>
              <a:ext cx="1570729" cy="499753"/>
            </a:xfrm>
            <a:prstGeom prst="flowChartTerminator">
              <a:avLst/>
            </a:prstGeom>
            <a:solidFill>
              <a:srgbClr val="1F4174"/>
            </a:solidFill>
          </p:spPr>
          <p:txBody>
            <a:bodyPr wrap="square" lIns="0" tIns="0" rIns="0" bIns="0" rtlCol="0"/>
            <a:lstStyle/>
            <a:p>
              <a:pPr hangingPunct="1"/>
              <a:endParaRPr lang="en-US" sz="125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lowchart: Terminator 34"/>
            <p:cNvSpPr/>
            <p:nvPr/>
          </p:nvSpPr>
          <p:spPr>
            <a:xfrm rot="5400000">
              <a:off x="1284935" y="3587460"/>
              <a:ext cx="1976102" cy="499753"/>
            </a:xfrm>
            <a:prstGeom prst="flowChartTerminator">
              <a:avLst/>
            </a:prstGeom>
            <a:solidFill>
              <a:srgbClr val="1F4174"/>
            </a:solidFill>
          </p:spPr>
          <p:txBody>
            <a:bodyPr wrap="square" lIns="0" tIns="0" rIns="0" bIns="0" rtlCol="0"/>
            <a:lstStyle/>
            <a:p>
              <a:pPr hangingPunct="1"/>
              <a:endParaRPr lang="en-US" sz="125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3" name="Group 42"/>
          <p:cNvGrpSpPr/>
          <p:nvPr/>
        </p:nvGrpSpPr>
        <p:grpSpPr>
          <a:xfrm rot="10800000">
            <a:off x="10005090" y="2278645"/>
            <a:ext cx="1096766" cy="2482878"/>
            <a:chOff x="1658853" y="2849286"/>
            <a:chExt cx="864009" cy="1976102"/>
          </a:xfrm>
        </p:grpSpPr>
        <p:sp>
          <p:nvSpPr>
            <p:cNvPr id="44" name="Flowchart: Terminator 43"/>
            <p:cNvSpPr/>
            <p:nvPr/>
          </p:nvSpPr>
          <p:spPr>
            <a:xfrm rot="5400000">
              <a:off x="1123365" y="3595931"/>
              <a:ext cx="1570729" cy="499753"/>
            </a:xfrm>
            <a:prstGeom prst="flowChartTerminator">
              <a:avLst/>
            </a:prstGeom>
            <a:solidFill>
              <a:srgbClr val="1F4174"/>
            </a:solidFill>
          </p:spPr>
          <p:txBody>
            <a:bodyPr wrap="square" lIns="0" tIns="0" rIns="0" bIns="0" rtlCol="0"/>
            <a:lstStyle/>
            <a:p>
              <a:pPr hangingPunct="1"/>
              <a:endParaRPr lang="en-US" sz="125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Flowchart: Terminator 44"/>
            <p:cNvSpPr/>
            <p:nvPr/>
          </p:nvSpPr>
          <p:spPr>
            <a:xfrm rot="5400000">
              <a:off x="1284935" y="3587460"/>
              <a:ext cx="1976102" cy="499753"/>
            </a:xfrm>
            <a:prstGeom prst="flowChartTerminator">
              <a:avLst/>
            </a:prstGeom>
            <a:solidFill>
              <a:srgbClr val="1F4174"/>
            </a:solidFill>
          </p:spPr>
          <p:txBody>
            <a:bodyPr wrap="square" lIns="0" tIns="0" rIns="0" bIns="0" rtlCol="0"/>
            <a:lstStyle/>
            <a:p>
              <a:pPr hangingPunct="1"/>
              <a:endParaRPr lang="en-US" sz="125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2716573" y="2927034"/>
            <a:ext cx="452004" cy="1493829"/>
            <a:chOff x="4258497" y="3221987"/>
            <a:chExt cx="714375" cy="1329309"/>
          </a:xfrm>
        </p:grpSpPr>
        <p:sp>
          <p:nvSpPr>
            <p:cNvPr id="28" name="Freeform 47">
              <a:extLst>
                <a:ext uri="{FF2B5EF4-FFF2-40B4-BE49-F238E27FC236}">
                  <a16:creationId xmlns="" xmlns:a16="http://schemas.microsoft.com/office/drawing/2014/main" id="{C3146830-4FFB-42F5-AD55-9DF282F740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58497" y="3221987"/>
              <a:ext cx="714375" cy="1329309"/>
            </a:xfrm>
            <a:custGeom>
              <a:avLst/>
              <a:gdLst>
                <a:gd name="T0" fmla="*/ 672 w 1001"/>
                <a:gd name="T1" fmla="*/ 44 h 1861"/>
                <a:gd name="T2" fmla="*/ 552 w 1001"/>
                <a:gd name="T3" fmla="*/ 778 h 1861"/>
                <a:gd name="T4" fmla="*/ 957 w 1001"/>
                <a:gd name="T5" fmla="*/ 666 h 1861"/>
                <a:gd name="T6" fmla="*/ 332 w 1001"/>
                <a:gd name="T7" fmla="*/ 1817 h 1861"/>
                <a:gd name="T8" fmla="*/ 452 w 1001"/>
                <a:gd name="T9" fmla="*/ 1085 h 1861"/>
                <a:gd name="T10" fmla="*/ 47 w 1001"/>
                <a:gd name="T11" fmla="*/ 1195 h 1861"/>
                <a:gd name="T12" fmla="*/ 672 w 1001"/>
                <a:gd name="T13" fmla="*/ 44 h 1861"/>
                <a:gd name="T14" fmla="*/ 957 w 1001"/>
                <a:gd name="T15" fmla="*/ 666 h 1861"/>
                <a:gd name="T16" fmla="*/ 957 w 1001"/>
                <a:gd name="T17" fmla="*/ 666 h 1861"/>
                <a:gd name="T18" fmla="*/ 672 w 1001"/>
                <a:gd name="T19" fmla="*/ 0 h 1861"/>
                <a:gd name="T20" fmla="*/ 634 w 1001"/>
                <a:gd name="T21" fmla="*/ 23 h 1861"/>
                <a:gd name="T22" fmla="*/ 9 w 1001"/>
                <a:gd name="T23" fmla="*/ 1174 h 1861"/>
                <a:gd name="T24" fmla="*/ 13 w 1001"/>
                <a:gd name="T25" fmla="*/ 1222 h 1861"/>
                <a:gd name="T26" fmla="*/ 47 w 1001"/>
                <a:gd name="T27" fmla="*/ 1239 h 1861"/>
                <a:gd name="T28" fmla="*/ 59 w 1001"/>
                <a:gd name="T29" fmla="*/ 1237 h 1861"/>
                <a:gd name="T30" fmla="*/ 397 w 1001"/>
                <a:gd name="T31" fmla="*/ 1145 h 1861"/>
                <a:gd name="T32" fmla="*/ 288 w 1001"/>
                <a:gd name="T33" fmla="*/ 1810 h 1861"/>
                <a:gd name="T34" fmla="*/ 318 w 1001"/>
                <a:gd name="T35" fmla="*/ 1858 h 1861"/>
                <a:gd name="T36" fmla="*/ 332 w 1001"/>
                <a:gd name="T37" fmla="*/ 1861 h 1861"/>
                <a:gd name="T38" fmla="*/ 371 w 1001"/>
                <a:gd name="T39" fmla="*/ 1838 h 1861"/>
                <a:gd name="T40" fmla="*/ 995 w 1001"/>
                <a:gd name="T41" fmla="*/ 688 h 1861"/>
                <a:gd name="T42" fmla="*/ 1001 w 1001"/>
                <a:gd name="T43" fmla="*/ 666 h 1861"/>
                <a:gd name="T44" fmla="*/ 959 w 1001"/>
                <a:gd name="T45" fmla="*/ 622 h 1861"/>
                <a:gd name="T46" fmla="*/ 957 w 1001"/>
                <a:gd name="T47" fmla="*/ 622 h 1861"/>
                <a:gd name="T48" fmla="*/ 954 w 1001"/>
                <a:gd name="T49" fmla="*/ 622 h 1861"/>
                <a:gd name="T50" fmla="*/ 944 w 1001"/>
                <a:gd name="T51" fmla="*/ 624 h 1861"/>
                <a:gd name="T52" fmla="*/ 607 w 1001"/>
                <a:gd name="T53" fmla="*/ 717 h 1861"/>
                <a:gd name="T54" fmla="*/ 716 w 1001"/>
                <a:gd name="T55" fmla="*/ 51 h 1861"/>
                <a:gd name="T56" fmla="*/ 687 w 1001"/>
                <a:gd name="T57" fmla="*/ 2 h 1861"/>
                <a:gd name="T58" fmla="*/ 672 w 1001"/>
                <a:gd name="T59" fmla="*/ 0 h 1861"/>
                <a:gd name="T60" fmla="*/ 672 w 1001"/>
                <a:gd name="T61" fmla="*/ 88 h 1861"/>
                <a:gd name="T62" fmla="*/ 672 w 1001"/>
                <a:gd name="T63" fmla="*/ 88 h 1861"/>
                <a:gd name="T64" fmla="*/ 672 w 1001"/>
                <a:gd name="T65" fmla="*/ 88 h 18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01" h="1861">
                  <a:moveTo>
                    <a:pt x="672" y="44"/>
                  </a:moveTo>
                  <a:cubicBezTo>
                    <a:pt x="552" y="778"/>
                    <a:pt x="552" y="778"/>
                    <a:pt x="552" y="778"/>
                  </a:cubicBezTo>
                  <a:cubicBezTo>
                    <a:pt x="957" y="666"/>
                    <a:pt x="957" y="666"/>
                    <a:pt x="957" y="666"/>
                  </a:cubicBezTo>
                  <a:cubicBezTo>
                    <a:pt x="332" y="1817"/>
                    <a:pt x="332" y="1817"/>
                    <a:pt x="332" y="1817"/>
                  </a:cubicBezTo>
                  <a:cubicBezTo>
                    <a:pt x="452" y="1085"/>
                    <a:pt x="452" y="1085"/>
                    <a:pt x="452" y="1085"/>
                  </a:cubicBezTo>
                  <a:cubicBezTo>
                    <a:pt x="47" y="1195"/>
                    <a:pt x="47" y="1195"/>
                    <a:pt x="47" y="1195"/>
                  </a:cubicBezTo>
                  <a:cubicBezTo>
                    <a:pt x="672" y="44"/>
                    <a:pt x="672" y="44"/>
                    <a:pt x="672" y="44"/>
                  </a:cubicBezTo>
                  <a:moveTo>
                    <a:pt x="957" y="666"/>
                  </a:moveTo>
                  <a:cubicBezTo>
                    <a:pt x="957" y="666"/>
                    <a:pt x="957" y="666"/>
                    <a:pt x="957" y="666"/>
                  </a:cubicBezTo>
                  <a:moveTo>
                    <a:pt x="672" y="0"/>
                  </a:moveTo>
                  <a:cubicBezTo>
                    <a:pt x="657" y="0"/>
                    <a:pt x="642" y="9"/>
                    <a:pt x="634" y="23"/>
                  </a:cubicBezTo>
                  <a:cubicBezTo>
                    <a:pt x="9" y="1174"/>
                    <a:pt x="9" y="1174"/>
                    <a:pt x="9" y="1174"/>
                  </a:cubicBezTo>
                  <a:cubicBezTo>
                    <a:pt x="0" y="1189"/>
                    <a:pt x="2" y="1208"/>
                    <a:pt x="13" y="1222"/>
                  </a:cubicBezTo>
                  <a:cubicBezTo>
                    <a:pt x="21" y="1233"/>
                    <a:pt x="34" y="1239"/>
                    <a:pt x="47" y="1239"/>
                  </a:cubicBezTo>
                  <a:cubicBezTo>
                    <a:pt x="51" y="1239"/>
                    <a:pt x="55" y="1238"/>
                    <a:pt x="59" y="1237"/>
                  </a:cubicBezTo>
                  <a:cubicBezTo>
                    <a:pt x="397" y="1145"/>
                    <a:pt x="397" y="1145"/>
                    <a:pt x="397" y="1145"/>
                  </a:cubicBezTo>
                  <a:cubicBezTo>
                    <a:pt x="288" y="1810"/>
                    <a:pt x="288" y="1810"/>
                    <a:pt x="288" y="1810"/>
                  </a:cubicBezTo>
                  <a:cubicBezTo>
                    <a:pt x="285" y="1831"/>
                    <a:pt x="297" y="1851"/>
                    <a:pt x="318" y="1858"/>
                  </a:cubicBezTo>
                  <a:cubicBezTo>
                    <a:pt x="322" y="1860"/>
                    <a:pt x="327" y="1861"/>
                    <a:pt x="332" y="1861"/>
                  </a:cubicBezTo>
                  <a:cubicBezTo>
                    <a:pt x="348" y="1861"/>
                    <a:pt x="363" y="1852"/>
                    <a:pt x="371" y="1838"/>
                  </a:cubicBezTo>
                  <a:cubicBezTo>
                    <a:pt x="995" y="688"/>
                    <a:pt x="995" y="688"/>
                    <a:pt x="995" y="688"/>
                  </a:cubicBezTo>
                  <a:cubicBezTo>
                    <a:pt x="999" y="681"/>
                    <a:pt x="1001" y="674"/>
                    <a:pt x="1001" y="666"/>
                  </a:cubicBezTo>
                  <a:cubicBezTo>
                    <a:pt x="1001" y="642"/>
                    <a:pt x="982" y="623"/>
                    <a:pt x="959" y="622"/>
                  </a:cubicBezTo>
                  <a:cubicBezTo>
                    <a:pt x="958" y="622"/>
                    <a:pt x="958" y="622"/>
                    <a:pt x="957" y="622"/>
                  </a:cubicBezTo>
                  <a:cubicBezTo>
                    <a:pt x="956" y="622"/>
                    <a:pt x="955" y="622"/>
                    <a:pt x="954" y="622"/>
                  </a:cubicBezTo>
                  <a:cubicBezTo>
                    <a:pt x="950" y="622"/>
                    <a:pt x="947" y="623"/>
                    <a:pt x="944" y="624"/>
                  </a:cubicBezTo>
                  <a:cubicBezTo>
                    <a:pt x="607" y="717"/>
                    <a:pt x="607" y="717"/>
                    <a:pt x="607" y="717"/>
                  </a:cubicBezTo>
                  <a:cubicBezTo>
                    <a:pt x="716" y="51"/>
                    <a:pt x="716" y="51"/>
                    <a:pt x="716" y="51"/>
                  </a:cubicBezTo>
                  <a:cubicBezTo>
                    <a:pt x="719" y="30"/>
                    <a:pt x="707" y="9"/>
                    <a:pt x="687" y="2"/>
                  </a:cubicBezTo>
                  <a:cubicBezTo>
                    <a:pt x="682" y="1"/>
                    <a:pt x="677" y="0"/>
                    <a:pt x="672" y="0"/>
                  </a:cubicBezTo>
                  <a:close/>
                  <a:moveTo>
                    <a:pt x="672" y="88"/>
                  </a:moveTo>
                  <a:cubicBezTo>
                    <a:pt x="672" y="88"/>
                    <a:pt x="672" y="88"/>
                    <a:pt x="672" y="88"/>
                  </a:cubicBezTo>
                  <a:cubicBezTo>
                    <a:pt x="672" y="88"/>
                    <a:pt x="672" y="88"/>
                    <a:pt x="672" y="88"/>
                  </a:cubicBezTo>
                  <a:close/>
                </a:path>
              </a:pathLst>
            </a:custGeom>
            <a:solidFill>
              <a:srgbClr val="4F81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eform 48">
              <a:extLst>
                <a:ext uri="{FF2B5EF4-FFF2-40B4-BE49-F238E27FC236}">
                  <a16:creationId xmlns="" xmlns:a16="http://schemas.microsoft.com/office/drawing/2014/main" id="{BD379E9F-E93F-4458-93F5-43AD19A6C28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3817" y="3423536"/>
              <a:ext cx="434023" cy="926211"/>
            </a:xfrm>
            <a:custGeom>
              <a:avLst/>
              <a:gdLst>
                <a:gd name="T0" fmla="*/ 529 w 1390"/>
                <a:gd name="T1" fmla="*/ 2431 h 2431"/>
                <a:gd name="T2" fmla="*/ 709 w 1390"/>
                <a:gd name="T3" fmla="*/ 1395 h 2431"/>
                <a:gd name="T4" fmla="*/ 0 w 1390"/>
                <a:gd name="T5" fmla="*/ 1586 h 2431"/>
                <a:gd name="T6" fmla="*/ 862 w 1390"/>
                <a:gd name="T7" fmla="*/ 0 h 2431"/>
                <a:gd name="T8" fmla="*/ 682 w 1390"/>
                <a:gd name="T9" fmla="*/ 1033 h 2431"/>
                <a:gd name="T10" fmla="*/ 1390 w 1390"/>
                <a:gd name="T11" fmla="*/ 843 h 2431"/>
                <a:gd name="T12" fmla="*/ 529 w 1390"/>
                <a:gd name="T13" fmla="*/ 2431 h 2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0" h="2431">
                  <a:moveTo>
                    <a:pt x="529" y="2431"/>
                  </a:moveTo>
                  <a:lnTo>
                    <a:pt x="709" y="1395"/>
                  </a:lnTo>
                  <a:lnTo>
                    <a:pt x="0" y="1586"/>
                  </a:lnTo>
                  <a:lnTo>
                    <a:pt x="862" y="0"/>
                  </a:lnTo>
                  <a:lnTo>
                    <a:pt x="682" y="1033"/>
                  </a:lnTo>
                  <a:lnTo>
                    <a:pt x="1390" y="843"/>
                  </a:lnTo>
                  <a:lnTo>
                    <a:pt x="529" y="2431"/>
                  </a:lnTo>
                  <a:close/>
                </a:path>
              </a:pathLst>
            </a:custGeom>
            <a:solidFill>
              <a:srgbClr val="1F49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59" name="Group 58"/>
          <p:cNvGrpSpPr/>
          <p:nvPr/>
        </p:nvGrpSpPr>
        <p:grpSpPr>
          <a:xfrm>
            <a:off x="4706071" y="2946363"/>
            <a:ext cx="452004" cy="1493829"/>
            <a:chOff x="4258497" y="3221987"/>
            <a:chExt cx="714375" cy="1329309"/>
          </a:xfrm>
        </p:grpSpPr>
        <p:sp>
          <p:nvSpPr>
            <p:cNvPr id="60" name="Freeform 47">
              <a:extLst>
                <a:ext uri="{FF2B5EF4-FFF2-40B4-BE49-F238E27FC236}">
                  <a16:creationId xmlns="" xmlns:a16="http://schemas.microsoft.com/office/drawing/2014/main" id="{C3146830-4FFB-42F5-AD55-9DF282F740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58497" y="3221987"/>
              <a:ext cx="714375" cy="1329309"/>
            </a:xfrm>
            <a:custGeom>
              <a:avLst/>
              <a:gdLst>
                <a:gd name="T0" fmla="*/ 672 w 1001"/>
                <a:gd name="T1" fmla="*/ 44 h 1861"/>
                <a:gd name="T2" fmla="*/ 552 w 1001"/>
                <a:gd name="T3" fmla="*/ 778 h 1861"/>
                <a:gd name="T4" fmla="*/ 957 w 1001"/>
                <a:gd name="T5" fmla="*/ 666 h 1861"/>
                <a:gd name="T6" fmla="*/ 332 w 1001"/>
                <a:gd name="T7" fmla="*/ 1817 h 1861"/>
                <a:gd name="T8" fmla="*/ 452 w 1001"/>
                <a:gd name="T9" fmla="*/ 1085 h 1861"/>
                <a:gd name="T10" fmla="*/ 47 w 1001"/>
                <a:gd name="T11" fmla="*/ 1195 h 1861"/>
                <a:gd name="T12" fmla="*/ 672 w 1001"/>
                <a:gd name="T13" fmla="*/ 44 h 1861"/>
                <a:gd name="T14" fmla="*/ 957 w 1001"/>
                <a:gd name="T15" fmla="*/ 666 h 1861"/>
                <a:gd name="T16" fmla="*/ 957 w 1001"/>
                <a:gd name="T17" fmla="*/ 666 h 1861"/>
                <a:gd name="T18" fmla="*/ 672 w 1001"/>
                <a:gd name="T19" fmla="*/ 0 h 1861"/>
                <a:gd name="T20" fmla="*/ 634 w 1001"/>
                <a:gd name="T21" fmla="*/ 23 h 1861"/>
                <a:gd name="T22" fmla="*/ 9 w 1001"/>
                <a:gd name="T23" fmla="*/ 1174 h 1861"/>
                <a:gd name="T24" fmla="*/ 13 w 1001"/>
                <a:gd name="T25" fmla="*/ 1222 h 1861"/>
                <a:gd name="T26" fmla="*/ 47 w 1001"/>
                <a:gd name="T27" fmla="*/ 1239 h 1861"/>
                <a:gd name="T28" fmla="*/ 59 w 1001"/>
                <a:gd name="T29" fmla="*/ 1237 h 1861"/>
                <a:gd name="T30" fmla="*/ 397 w 1001"/>
                <a:gd name="T31" fmla="*/ 1145 h 1861"/>
                <a:gd name="T32" fmla="*/ 288 w 1001"/>
                <a:gd name="T33" fmla="*/ 1810 h 1861"/>
                <a:gd name="T34" fmla="*/ 318 w 1001"/>
                <a:gd name="T35" fmla="*/ 1858 h 1861"/>
                <a:gd name="T36" fmla="*/ 332 w 1001"/>
                <a:gd name="T37" fmla="*/ 1861 h 1861"/>
                <a:gd name="T38" fmla="*/ 371 w 1001"/>
                <a:gd name="T39" fmla="*/ 1838 h 1861"/>
                <a:gd name="T40" fmla="*/ 995 w 1001"/>
                <a:gd name="T41" fmla="*/ 688 h 1861"/>
                <a:gd name="T42" fmla="*/ 1001 w 1001"/>
                <a:gd name="T43" fmla="*/ 666 h 1861"/>
                <a:gd name="T44" fmla="*/ 959 w 1001"/>
                <a:gd name="T45" fmla="*/ 622 h 1861"/>
                <a:gd name="T46" fmla="*/ 957 w 1001"/>
                <a:gd name="T47" fmla="*/ 622 h 1861"/>
                <a:gd name="T48" fmla="*/ 954 w 1001"/>
                <a:gd name="T49" fmla="*/ 622 h 1861"/>
                <a:gd name="T50" fmla="*/ 944 w 1001"/>
                <a:gd name="T51" fmla="*/ 624 h 1861"/>
                <a:gd name="T52" fmla="*/ 607 w 1001"/>
                <a:gd name="T53" fmla="*/ 717 h 1861"/>
                <a:gd name="T54" fmla="*/ 716 w 1001"/>
                <a:gd name="T55" fmla="*/ 51 h 1861"/>
                <a:gd name="T56" fmla="*/ 687 w 1001"/>
                <a:gd name="T57" fmla="*/ 2 h 1861"/>
                <a:gd name="T58" fmla="*/ 672 w 1001"/>
                <a:gd name="T59" fmla="*/ 0 h 1861"/>
                <a:gd name="T60" fmla="*/ 672 w 1001"/>
                <a:gd name="T61" fmla="*/ 88 h 1861"/>
                <a:gd name="T62" fmla="*/ 672 w 1001"/>
                <a:gd name="T63" fmla="*/ 88 h 1861"/>
                <a:gd name="T64" fmla="*/ 672 w 1001"/>
                <a:gd name="T65" fmla="*/ 88 h 18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01" h="1861">
                  <a:moveTo>
                    <a:pt x="672" y="44"/>
                  </a:moveTo>
                  <a:cubicBezTo>
                    <a:pt x="552" y="778"/>
                    <a:pt x="552" y="778"/>
                    <a:pt x="552" y="778"/>
                  </a:cubicBezTo>
                  <a:cubicBezTo>
                    <a:pt x="957" y="666"/>
                    <a:pt x="957" y="666"/>
                    <a:pt x="957" y="666"/>
                  </a:cubicBezTo>
                  <a:cubicBezTo>
                    <a:pt x="332" y="1817"/>
                    <a:pt x="332" y="1817"/>
                    <a:pt x="332" y="1817"/>
                  </a:cubicBezTo>
                  <a:cubicBezTo>
                    <a:pt x="452" y="1085"/>
                    <a:pt x="452" y="1085"/>
                    <a:pt x="452" y="1085"/>
                  </a:cubicBezTo>
                  <a:cubicBezTo>
                    <a:pt x="47" y="1195"/>
                    <a:pt x="47" y="1195"/>
                    <a:pt x="47" y="1195"/>
                  </a:cubicBezTo>
                  <a:cubicBezTo>
                    <a:pt x="672" y="44"/>
                    <a:pt x="672" y="44"/>
                    <a:pt x="672" y="44"/>
                  </a:cubicBezTo>
                  <a:moveTo>
                    <a:pt x="957" y="666"/>
                  </a:moveTo>
                  <a:cubicBezTo>
                    <a:pt x="957" y="666"/>
                    <a:pt x="957" y="666"/>
                    <a:pt x="957" y="666"/>
                  </a:cubicBezTo>
                  <a:moveTo>
                    <a:pt x="672" y="0"/>
                  </a:moveTo>
                  <a:cubicBezTo>
                    <a:pt x="657" y="0"/>
                    <a:pt x="642" y="9"/>
                    <a:pt x="634" y="23"/>
                  </a:cubicBezTo>
                  <a:cubicBezTo>
                    <a:pt x="9" y="1174"/>
                    <a:pt x="9" y="1174"/>
                    <a:pt x="9" y="1174"/>
                  </a:cubicBezTo>
                  <a:cubicBezTo>
                    <a:pt x="0" y="1189"/>
                    <a:pt x="2" y="1208"/>
                    <a:pt x="13" y="1222"/>
                  </a:cubicBezTo>
                  <a:cubicBezTo>
                    <a:pt x="21" y="1233"/>
                    <a:pt x="34" y="1239"/>
                    <a:pt x="47" y="1239"/>
                  </a:cubicBezTo>
                  <a:cubicBezTo>
                    <a:pt x="51" y="1239"/>
                    <a:pt x="55" y="1238"/>
                    <a:pt x="59" y="1237"/>
                  </a:cubicBezTo>
                  <a:cubicBezTo>
                    <a:pt x="397" y="1145"/>
                    <a:pt x="397" y="1145"/>
                    <a:pt x="397" y="1145"/>
                  </a:cubicBezTo>
                  <a:cubicBezTo>
                    <a:pt x="288" y="1810"/>
                    <a:pt x="288" y="1810"/>
                    <a:pt x="288" y="1810"/>
                  </a:cubicBezTo>
                  <a:cubicBezTo>
                    <a:pt x="285" y="1831"/>
                    <a:pt x="297" y="1851"/>
                    <a:pt x="318" y="1858"/>
                  </a:cubicBezTo>
                  <a:cubicBezTo>
                    <a:pt x="322" y="1860"/>
                    <a:pt x="327" y="1861"/>
                    <a:pt x="332" y="1861"/>
                  </a:cubicBezTo>
                  <a:cubicBezTo>
                    <a:pt x="348" y="1861"/>
                    <a:pt x="363" y="1852"/>
                    <a:pt x="371" y="1838"/>
                  </a:cubicBezTo>
                  <a:cubicBezTo>
                    <a:pt x="995" y="688"/>
                    <a:pt x="995" y="688"/>
                    <a:pt x="995" y="688"/>
                  </a:cubicBezTo>
                  <a:cubicBezTo>
                    <a:pt x="999" y="681"/>
                    <a:pt x="1001" y="674"/>
                    <a:pt x="1001" y="666"/>
                  </a:cubicBezTo>
                  <a:cubicBezTo>
                    <a:pt x="1001" y="642"/>
                    <a:pt x="982" y="623"/>
                    <a:pt x="959" y="622"/>
                  </a:cubicBezTo>
                  <a:cubicBezTo>
                    <a:pt x="958" y="622"/>
                    <a:pt x="958" y="622"/>
                    <a:pt x="957" y="622"/>
                  </a:cubicBezTo>
                  <a:cubicBezTo>
                    <a:pt x="956" y="622"/>
                    <a:pt x="955" y="622"/>
                    <a:pt x="954" y="622"/>
                  </a:cubicBezTo>
                  <a:cubicBezTo>
                    <a:pt x="950" y="622"/>
                    <a:pt x="947" y="623"/>
                    <a:pt x="944" y="624"/>
                  </a:cubicBezTo>
                  <a:cubicBezTo>
                    <a:pt x="607" y="717"/>
                    <a:pt x="607" y="717"/>
                    <a:pt x="607" y="717"/>
                  </a:cubicBezTo>
                  <a:cubicBezTo>
                    <a:pt x="716" y="51"/>
                    <a:pt x="716" y="51"/>
                    <a:pt x="716" y="51"/>
                  </a:cubicBezTo>
                  <a:cubicBezTo>
                    <a:pt x="719" y="30"/>
                    <a:pt x="707" y="9"/>
                    <a:pt x="687" y="2"/>
                  </a:cubicBezTo>
                  <a:cubicBezTo>
                    <a:pt x="682" y="1"/>
                    <a:pt x="677" y="0"/>
                    <a:pt x="672" y="0"/>
                  </a:cubicBezTo>
                  <a:close/>
                  <a:moveTo>
                    <a:pt x="672" y="88"/>
                  </a:moveTo>
                  <a:cubicBezTo>
                    <a:pt x="672" y="88"/>
                    <a:pt x="672" y="88"/>
                    <a:pt x="672" y="88"/>
                  </a:cubicBezTo>
                  <a:cubicBezTo>
                    <a:pt x="672" y="88"/>
                    <a:pt x="672" y="88"/>
                    <a:pt x="672" y="88"/>
                  </a:cubicBezTo>
                  <a:close/>
                </a:path>
              </a:pathLst>
            </a:custGeom>
            <a:solidFill>
              <a:srgbClr val="4F81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Freeform 48">
              <a:extLst>
                <a:ext uri="{FF2B5EF4-FFF2-40B4-BE49-F238E27FC236}">
                  <a16:creationId xmlns="" xmlns:a16="http://schemas.microsoft.com/office/drawing/2014/main" id="{BD379E9F-E93F-4458-93F5-43AD19A6C28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3817" y="3423536"/>
              <a:ext cx="434023" cy="926211"/>
            </a:xfrm>
            <a:custGeom>
              <a:avLst/>
              <a:gdLst>
                <a:gd name="T0" fmla="*/ 529 w 1390"/>
                <a:gd name="T1" fmla="*/ 2431 h 2431"/>
                <a:gd name="T2" fmla="*/ 709 w 1390"/>
                <a:gd name="T3" fmla="*/ 1395 h 2431"/>
                <a:gd name="T4" fmla="*/ 0 w 1390"/>
                <a:gd name="T5" fmla="*/ 1586 h 2431"/>
                <a:gd name="T6" fmla="*/ 862 w 1390"/>
                <a:gd name="T7" fmla="*/ 0 h 2431"/>
                <a:gd name="T8" fmla="*/ 682 w 1390"/>
                <a:gd name="T9" fmla="*/ 1033 h 2431"/>
                <a:gd name="T10" fmla="*/ 1390 w 1390"/>
                <a:gd name="T11" fmla="*/ 843 h 2431"/>
                <a:gd name="T12" fmla="*/ 529 w 1390"/>
                <a:gd name="T13" fmla="*/ 2431 h 2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0" h="2431">
                  <a:moveTo>
                    <a:pt x="529" y="2431"/>
                  </a:moveTo>
                  <a:lnTo>
                    <a:pt x="709" y="1395"/>
                  </a:lnTo>
                  <a:lnTo>
                    <a:pt x="0" y="1586"/>
                  </a:lnTo>
                  <a:lnTo>
                    <a:pt x="862" y="0"/>
                  </a:lnTo>
                  <a:lnTo>
                    <a:pt x="682" y="1033"/>
                  </a:lnTo>
                  <a:lnTo>
                    <a:pt x="1390" y="843"/>
                  </a:lnTo>
                  <a:lnTo>
                    <a:pt x="529" y="2431"/>
                  </a:lnTo>
                  <a:close/>
                </a:path>
              </a:pathLst>
            </a:custGeom>
            <a:solidFill>
              <a:srgbClr val="1F49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62" name="Group 61"/>
          <p:cNvGrpSpPr/>
          <p:nvPr/>
        </p:nvGrpSpPr>
        <p:grpSpPr>
          <a:xfrm>
            <a:off x="6695568" y="2946363"/>
            <a:ext cx="452004" cy="1493829"/>
            <a:chOff x="4258497" y="3221987"/>
            <a:chExt cx="714375" cy="1329309"/>
          </a:xfrm>
        </p:grpSpPr>
        <p:sp>
          <p:nvSpPr>
            <p:cNvPr id="63" name="Freeform 47">
              <a:extLst>
                <a:ext uri="{FF2B5EF4-FFF2-40B4-BE49-F238E27FC236}">
                  <a16:creationId xmlns="" xmlns:a16="http://schemas.microsoft.com/office/drawing/2014/main" id="{C3146830-4FFB-42F5-AD55-9DF282F740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58497" y="3221987"/>
              <a:ext cx="714375" cy="1329309"/>
            </a:xfrm>
            <a:custGeom>
              <a:avLst/>
              <a:gdLst>
                <a:gd name="T0" fmla="*/ 672 w 1001"/>
                <a:gd name="T1" fmla="*/ 44 h 1861"/>
                <a:gd name="T2" fmla="*/ 552 w 1001"/>
                <a:gd name="T3" fmla="*/ 778 h 1861"/>
                <a:gd name="T4" fmla="*/ 957 w 1001"/>
                <a:gd name="T5" fmla="*/ 666 h 1861"/>
                <a:gd name="T6" fmla="*/ 332 w 1001"/>
                <a:gd name="T7" fmla="*/ 1817 h 1861"/>
                <a:gd name="T8" fmla="*/ 452 w 1001"/>
                <a:gd name="T9" fmla="*/ 1085 h 1861"/>
                <a:gd name="T10" fmla="*/ 47 w 1001"/>
                <a:gd name="T11" fmla="*/ 1195 h 1861"/>
                <a:gd name="T12" fmla="*/ 672 w 1001"/>
                <a:gd name="T13" fmla="*/ 44 h 1861"/>
                <a:gd name="T14" fmla="*/ 957 w 1001"/>
                <a:gd name="T15" fmla="*/ 666 h 1861"/>
                <a:gd name="T16" fmla="*/ 957 w 1001"/>
                <a:gd name="T17" fmla="*/ 666 h 1861"/>
                <a:gd name="T18" fmla="*/ 672 w 1001"/>
                <a:gd name="T19" fmla="*/ 0 h 1861"/>
                <a:gd name="T20" fmla="*/ 634 w 1001"/>
                <a:gd name="T21" fmla="*/ 23 h 1861"/>
                <a:gd name="T22" fmla="*/ 9 w 1001"/>
                <a:gd name="T23" fmla="*/ 1174 h 1861"/>
                <a:gd name="T24" fmla="*/ 13 w 1001"/>
                <a:gd name="T25" fmla="*/ 1222 h 1861"/>
                <a:gd name="T26" fmla="*/ 47 w 1001"/>
                <a:gd name="T27" fmla="*/ 1239 h 1861"/>
                <a:gd name="T28" fmla="*/ 59 w 1001"/>
                <a:gd name="T29" fmla="*/ 1237 h 1861"/>
                <a:gd name="T30" fmla="*/ 397 w 1001"/>
                <a:gd name="T31" fmla="*/ 1145 h 1861"/>
                <a:gd name="T32" fmla="*/ 288 w 1001"/>
                <a:gd name="T33" fmla="*/ 1810 h 1861"/>
                <a:gd name="T34" fmla="*/ 318 w 1001"/>
                <a:gd name="T35" fmla="*/ 1858 h 1861"/>
                <a:gd name="T36" fmla="*/ 332 w 1001"/>
                <a:gd name="T37" fmla="*/ 1861 h 1861"/>
                <a:gd name="T38" fmla="*/ 371 w 1001"/>
                <a:gd name="T39" fmla="*/ 1838 h 1861"/>
                <a:gd name="T40" fmla="*/ 995 w 1001"/>
                <a:gd name="T41" fmla="*/ 688 h 1861"/>
                <a:gd name="T42" fmla="*/ 1001 w 1001"/>
                <a:gd name="T43" fmla="*/ 666 h 1861"/>
                <a:gd name="T44" fmla="*/ 959 w 1001"/>
                <a:gd name="T45" fmla="*/ 622 h 1861"/>
                <a:gd name="T46" fmla="*/ 957 w 1001"/>
                <a:gd name="T47" fmla="*/ 622 h 1861"/>
                <a:gd name="T48" fmla="*/ 954 w 1001"/>
                <a:gd name="T49" fmla="*/ 622 h 1861"/>
                <a:gd name="T50" fmla="*/ 944 w 1001"/>
                <a:gd name="T51" fmla="*/ 624 h 1861"/>
                <a:gd name="T52" fmla="*/ 607 w 1001"/>
                <a:gd name="T53" fmla="*/ 717 h 1861"/>
                <a:gd name="T54" fmla="*/ 716 w 1001"/>
                <a:gd name="T55" fmla="*/ 51 h 1861"/>
                <a:gd name="T56" fmla="*/ 687 w 1001"/>
                <a:gd name="T57" fmla="*/ 2 h 1861"/>
                <a:gd name="T58" fmla="*/ 672 w 1001"/>
                <a:gd name="T59" fmla="*/ 0 h 1861"/>
                <a:gd name="T60" fmla="*/ 672 w 1001"/>
                <a:gd name="T61" fmla="*/ 88 h 1861"/>
                <a:gd name="T62" fmla="*/ 672 w 1001"/>
                <a:gd name="T63" fmla="*/ 88 h 1861"/>
                <a:gd name="T64" fmla="*/ 672 w 1001"/>
                <a:gd name="T65" fmla="*/ 88 h 18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01" h="1861">
                  <a:moveTo>
                    <a:pt x="672" y="44"/>
                  </a:moveTo>
                  <a:cubicBezTo>
                    <a:pt x="552" y="778"/>
                    <a:pt x="552" y="778"/>
                    <a:pt x="552" y="778"/>
                  </a:cubicBezTo>
                  <a:cubicBezTo>
                    <a:pt x="957" y="666"/>
                    <a:pt x="957" y="666"/>
                    <a:pt x="957" y="666"/>
                  </a:cubicBezTo>
                  <a:cubicBezTo>
                    <a:pt x="332" y="1817"/>
                    <a:pt x="332" y="1817"/>
                    <a:pt x="332" y="1817"/>
                  </a:cubicBezTo>
                  <a:cubicBezTo>
                    <a:pt x="452" y="1085"/>
                    <a:pt x="452" y="1085"/>
                    <a:pt x="452" y="1085"/>
                  </a:cubicBezTo>
                  <a:cubicBezTo>
                    <a:pt x="47" y="1195"/>
                    <a:pt x="47" y="1195"/>
                    <a:pt x="47" y="1195"/>
                  </a:cubicBezTo>
                  <a:cubicBezTo>
                    <a:pt x="672" y="44"/>
                    <a:pt x="672" y="44"/>
                    <a:pt x="672" y="44"/>
                  </a:cubicBezTo>
                  <a:moveTo>
                    <a:pt x="957" y="666"/>
                  </a:moveTo>
                  <a:cubicBezTo>
                    <a:pt x="957" y="666"/>
                    <a:pt x="957" y="666"/>
                    <a:pt x="957" y="666"/>
                  </a:cubicBezTo>
                  <a:moveTo>
                    <a:pt x="672" y="0"/>
                  </a:moveTo>
                  <a:cubicBezTo>
                    <a:pt x="657" y="0"/>
                    <a:pt x="642" y="9"/>
                    <a:pt x="634" y="23"/>
                  </a:cubicBezTo>
                  <a:cubicBezTo>
                    <a:pt x="9" y="1174"/>
                    <a:pt x="9" y="1174"/>
                    <a:pt x="9" y="1174"/>
                  </a:cubicBezTo>
                  <a:cubicBezTo>
                    <a:pt x="0" y="1189"/>
                    <a:pt x="2" y="1208"/>
                    <a:pt x="13" y="1222"/>
                  </a:cubicBezTo>
                  <a:cubicBezTo>
                    <a:pt x="21" y="1233"/>
                    <a:pt x="34" y="1239"/>
                    <a:pt x="47" y="1239"/>
                  </a:cubicBezTo>
                  <a:cubicBezTo>
                    <a:pt x="51" y="1239"/>
                    <a:pt x="55" y="1238"/>
                    <a:pt x="59" y="1237"/>
                  </a:cubicBezTo>
                  <a:cubicBezTo>
                    <a:pt x="397" y="1145"/>
                    <a:pt x="397" y="1145"/>
                    <a:pt x="397" y="1145"/>
                  </a:cubicBezTo>
                  <a:cubicBezTo>
                    <a:pt x="288" y="1810"/>
                    <a:pt x="288" y="1810"/>
                    <a:pt x="288" y="1810"/>
                  </a:cubicBezTo>
                  <a:cubicBezTo>
                    <a:pt x="285" y="1831"/>
                    <a:pt x="297" y="1851"/>
                    <a:pt x="318" y="1858"/>
                  </a:cubicBezTo>
                  <a:cubicBezTo>
                    <a:pt x="322" y="1860"/>
                    <a:pt x="327" y="1861"/>
                    <a:pt x="332" y="1861"/>
                  </a:cubicBezTo>
                  <a:cubicBezTo>
                    <a:pt x="348" y="1861"/>
                    <a:pt x="363" y="1852"/>
                    <a:pt x="371" y="1838"/>
                  </a:cubicBezTo>
                  <a:cubicBezTo>
                    <a:pt x="995" y="688"/>
                    <a:pt x="995" y="688"/>
                    <a:pt x="995" y="688"/>
                  </a:cubicBezTo>
                  <a:cubicBezTo>
                    <a:pt x="999" y="681"/>
                    <a:pt x="1001" y="674"/>
                    <a:pt x="1001" y="666"/>
                  </a:cubicBezTo>
                  <a:cubicBezTo>
                    <a:pt x="1001" y="642"/>
                    <a:pt x="982" y="623"/>
                    <a:pt x="959" y="622"/>
                  </a:cubicBezTo>
                  <a:cubicBezTo>
                    <a:pt x="958" y="622"/>
                    <a:pt x="958" y="622"/>
                    <a:pt x="957" y="622"/>
                  </a:cubicBezTo>
                  <a:cubicBezTo>
                    <a:pt x="956" y="622"/>
                    <a:pt x="955" y="622"/>
                    <a:pt x="954" y="622"/>
                  </a:cubicBezTo>
                  <a:cubicBezTo>
                    <a:pt x="950" y="622"/>
                    <a:pt x="947" y="623"/>
                    <a:pt x="944" y="624"/>
                  </a:cubicBezTo>
                  <a:cubicBezTo>
                    <a:pt x="607" y="717"/>
                    <a:pt x="607" y="717"/>
                    <a:pt x="607" y="717"/>
                  </a:cubicBezTo>
                  <a:cubicBezTo>
                    <a:pt x="716" y="51"/>
                    <a:pt x="716" y="51"/>
                    <a:pt x="716" y="51"/>
                  </a:cubicBezTo>
                  <a:cubicBezTo>
                    <a:pt x="719" y="30"/>
                    <a:pt x="707" y="9"/>
                    <a:pt x="687" y="2"/>
                  </a:cubicBezTo>
                  <a:cubicBezTo>
                    <a:pt x="682" y="1"/>
                    <a:pt x="677" y="0"/>
                    <a:pt x="672" y="0"/>
                  </a:cubicBezTo>
                  <a:close/>
                  <a:moveTo>
                    <a:pt x="672" y="88"/>
                  </a:moveTo>
                  <a:cubicBezTo>
                    <a:pt x="672" y="88"/>
                    <a:pt x="672" y="88"/>
                    <a:pt x="672" y="88"/>
                  </a:cubicBezTo>
                  <a:cubicBezTo>
                    <a:pt x="672" y="88"/>
                    <a:pt x="672" y="88"/>
                    <a:pt x="672" y="88"/>
                  </a:cubicBezTo>
                  <a:close/>
                </a:path>
              </a:pathLst>
            </a:custGeom>
            <a:solidFill>
              <a:srgbClr val="4F81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" name="Freeform 48">
              <a:extLst>
                <a:ext uri="{FF2B5EF4-FFF2-40B4-BE49-F238E27FC236}">
                  <a16:creationId xmlns="" xmlns:a16="http://schemas.microsoft.com/office/drawing/2014/main" id="{BD379E9F-E93F-4458-93F5-43AD19A6C28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3817" y="3423536"/>
              <a:ext cx="434023" cy="926211"/>
            </a:xfrm>
            <a:custGeom>
              <a:avLst/>
              <a:gdLst>
                <a:gd name="T0" fmla="*/ 529 w 1390"/>
                <a:gd name="T1" fmla="*/ 2431 h 2431"/>
                <a:gd name="T2" fmla="*/ 709 w 1390"/>
                <a:gd name="T3" fmla="*/ 1395 h 2431"/>
                <a:gd name="T4" fmla="*/ 0 w 1390"/>
                <a:gd name="T5" fmla="*/ 1586 h 2431"/>
                <a:gd name="T6" fmla="*/ 862 w 1390"/>
                <a:gd name="T7" fmla="*/ 0 h 2431"/>
                <a:gd name="T8" fmla="*/ 682 w 1390"/>
                <a:gd name="T9" fmla="*/ 1033 h 2431"/>
                <a:gd name="T10" fmla="*/ 1390 w 1390"/>
                <a:gd name="T11" fmla="*/ 843 h 2431"/>
                <a:gd name="T12" fmla="*/ 529 w 1390"/>
                <a:gd name="T13" fmla="*/ 2431 h 2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0" h="2431">
                  <a:moveTo>
                    <a:pt x="529" y="2431"/>
                  </a:moveTo>
                  <a:lnTo>
                    <a:pt x="709" y="1395"/>
                  </a:lnTo>
                  <a:lnTo>
                    <a:pt x="0" y="1586"/>
                  </a:lnTo>
                  <a:lnTo>
                    <a:pt x="862" y="0"/>
                  </a:lnTo>
                  <a:lnTo>
                    <a:pt x="682" y="1033"/>
                  </a:lnTo>
                  <a:lnTo>
                    <a:pt x="1390" y="843"/>
                  </a:lnTo>
                  <a:lnTo>
                    <a:pt x="529" y="2431"/>
                  </a:lnTo>
                  <a:close/>
                </a:path>
              </a:pathLst>
            </a:custGeom>
            <a:solidFill>
              <a:srgbClr val="1F49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65" name="Group 64"/>
          <p:cNvGrpSpPr/>
          <p:nvPr/>
        </p:nvGrpSpPr>
        <p:grpSpPr>
          <a:xfrm>
            <a:off x="8685065" y="2946363"/>
            <a:ext cx="452004" cy="1493829"/>
            <a:chOff x="4258497" y="3221987"/>
            <a:chExt cx="714375" cy="1329309"/>
          </a:xfrm>
        </p:grpSpPr>
        <p:sp>
          <p:nvSpPr>
            <p:cNvPr id="66" name="Freeform 47">
              <a:extLst>
                <a:ext uri="{FF2B5EF4-FFF2-40B4-BE49-F238E27FC236}">
                  <a16:creationId xmlns="" xmlns:a16="http://schemas.microsoft.com/office/drawing/2014/main" id="{C3146830-4FFB-42F5-AD55-9DF282F740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58497" y="3221987"/>
              <a:ext cx="714375" cy="1329309"/>
            </a:xfrm>
            <a:custGeom>
              <a:avLst/>
              <a:gdLst>
                <a:gd name="T0" fmla="*/ 672 w 1001"/>
                <a:gd name="T1" fmla="*/ 44 h 1861"/>
                <a:gd name="T2" fmla="*/ 552 w 1001"/>
                <a:gd name="T3" fmla="*/ 778 h 1861"/>
                <a:gd name="T4" fmla="*/ 957 w 1001"/>
                <a:gd name="T5" fmla="*/ 666 h 1861"/>
                <a:gd name="T6" fmla="*/ 332 w 1001"/>
                <a:gd name="T7" fmla="*/ 1817 h 1861"/>
                <a:gd name="T8" fmla="*/ 452 w 1001"/>
                <a:gd name="T9" fmla="*/ 1085 h 1861"/>
                <a:gd name="T10" fmla="*/ 47 w 1001"/>
                <a:gd name="T11" fmla="*/ 1195 h 1861"/>
                <a:gd name="T12" fmla="*/ 672 w 1001"/>
                <a:gd name="T13" fmla="*/ 44 h 1861"/>
                <a:gd name="T14" fmla="*/ 957 w 1001"/>
                <a:gd name="T15" fmla="*/ 666 h 1861"/>
                <a:gd name="T16" fmla="*/ 957 w 1001"/>
                <a:gd name="T17" fmla="*/ 666 h 1861"/>
                <a:gd name="T18" fmla="*/ 672 w 1001"/>
                <a:gd name="T19" fmla="*/ 0 h 1861"/>
                <a:gd name="T20" fmla="*/ 634 w 1001"/>
                <a:gd name="T21" fmla="*/ 23 h 1861"/>
                <a:gd name="T22" fmla="*/ 9 w 1001"/>
                <a:gd name="T23" fmla="*/ 1174 h 1861"/>
                <a:gd name="T24" fmla="*/ 13 w 1001"/>
                <a:gd name="T25" fmla="*/ 1222 h 1861"/>
                <a:gd name="T26" fmla="*/ 47 w 1001"/>
                <a:gd name="T27" fmla="*/ 1239 h 1861"/>
                <a:gd name="T28" fmla="*/ 59 w 1001"/>
                <a:gd name="T29" fmla="*/ 1237 h 1861"/>
                <a:gd name="T30" fmla="*/ 397 w 1001"/>
                <a:gd name="T31" fmla="*/ 1145 h 1861"/>
                <a:gd name="T32" fmla="*/ 288 w 1001"/>
                <a:gd name="T33" fmla="*/ 1810 h 1861"/>
                <a:gd name="T34" fmla="*/ 318 w 1001"/>
                <a:gd name="T35" fmla="*/ 1858 h 1861"/>
                <a:gd name="T36" fmla="*/ 332 w 1001"/>
                <a:gd name="T37" fmla="*/ 1861 h 1861"/>
                <a:gd name="T38" fmla="*/ 371 w 1001"/>
                <a:gd name="T39" fmla="*/ 1838 h 1861"/>
                <a:gd name="T40" fmla="*/ 995 w 1001"/>
                <a:gd name="T41" fmla="*/ 688 h 1861"/>
                <a:gd name="T42" fmla="*/ 1001 w 1001"/>
                <a:gd name="T43" fmla="*/ 666 h 1861"/>
                <a:gd name="T44" fmla="*/ 959 w 1001"/>
                <a:gd name="T45" fmla="*/ 622 h 1861"/>
                <a:gd name="T46" fmla="*/ 957 w 1001"/>
                <a:gd name="T47" fmla="*/ 622 h 1861"/>
                <a:gd name="T48" fmla="*/ 954 w 1001"/>
                <a:gd name="T49" fmla="*/ 622 h 1861"/>
                <a:gd name="T50" fmla="*/ 944 w 1001"/>
                <a:gd name="T51" fmla="*/ 624 h 1861"/>
                <a:gd name="T52" fmla="*/ 607 w 1001"/>
                <a:gd name="T53" fmla="*/ 717 h 1861"/>
                <a:gd name="T54" fmla="*/ 716 w 1001"/>
                <a:gd name="T55" fmla="*/ 51 h 1861"/>
                <a:gd name="T56" fmla="*/ 687 w 1001"/>
                <a:gd name="T57" fmla="*/ 2 h 1861"/>
                <a:gd name="T58" fmla="*/ 672 w 1001"/>
                <a:gd name="T59" fmla="*/ 0 h 1861"/>
                <a:gd name="T60" fmla="*/ 672 w 1001"/>
                <a:gd name="T61" fmla="*/ 88 h 1861"/>
                <a:gd name="T62" fmla="*/ 672 w 1001"/>
                <a:gd name="T63" fmla="*/ 88 h 1861"/>
                <a:gd name="T64" fmla="*/ 672 w 1001"/>
                <a:gd name="T65" fmla="*/ 88 h 18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01" h="1861">
                  <a:moveTo>
                    <a:pt x="672" y="44"/>
                  </a:moveTo>
                  <a:cubicBezTo>
                    <a:pt x="552" y="778"/>
                    <a:pt x="552" y="778"/>
                    <a:pt x="552" y="778"/>
                  </a:cubicBezTo>
                  <a:cubicBezTo>
                    <a:pt x="957" y="666"/>
                    <a:pt x="957" y="666"/>
                    <a:pt x="957" y="666"/>
                  </a:cubicBezTo>
                  <a:cubicBezTo>
                    <a:pt x="332" y="1817"/>
                    <a:pt x="332" y="1817"/>
                    <a:pt x="332" y="1817"/>
                  </a:cubicBezTo>
                  <a:cubicBezTo>
                    <a:pt x="452" y="1085"/>
                    <a:pt x="452" y="1085"/>
                    <a:pt x="452" y="1085"/>
                  </a:cubicBezTo>
                  <a:cubicBezTo>
                    <a:pt x="47" y="1195"/>
                    <a:pt x="47" y="1195"/>
                    <a:pt x="47" y="1195"/>
                  </a:cubicBezTo>
                  <a:cubicBezTo>
                    <a:pt x="672" y="44"/>
                    <a:pt x="672" y="44"/>
                    <a:pt x="672" y="44"/>
                  </a:cubicBezTo>
                  <a:moveTo>
                    <a:pt x="957" y="666"/>
                  </a:moveTo>
                  <a:cubicBezTo>
                    <a:pt x="957" y="666"/>
                    <a:pt x="957" y="666"/>
                    <a:pt x="957" y="666"/>
                  </a:cubicBezTo>
                  <a:moveTo>
                    <a:pt x="672" y="0"/>
                  </a:moveTo>
                  <a:cubicBezTo>
                    <a:pt x="657" y="0"/>
                    <a:pt x="642" y="9"/>
                    <a:pt x="634" y="23"/>
                  </a:cubicBezTo>
                  <a:cubicBezTo>
                    <a:pt x="9" y="1174"/>
                    <a:pt x="9" y="1174"/>
                    <a:pt x="9" y="1174"/>
                  </a:cubicBezTo>
                  <a:cubicBezTo>
                    <a:pt x="0" y="1189"/>
                    <a:pt x="2" y="1208"/>
                    <a:pt x="13" y="1222"/>
                  </a:cubicBezTo>
                  <a:cubicBezTo>
                    <a:pt x="21" y="1233"/>
                    <a:pt x="34" y="1239"/>
                    <a:pt x="47" y="1239"/>
                  </a:cubicBezTo>
                  <a:cubicBezTo>
                    <a:pt x="51" y="1239"/>
                    <a:pt x="55" y="1238"/>
                    <a:pt x="59" y="1237"/>
                  </a:cubicBezTo>
                  <a:cubicBezTo>
                    <a:pt x="397" y="1145"/>
                    <a:pt x="397" y="1145"/>
                    <a:pt x="397" y="1145"/>
                  </a:cubicBezTo>
                  <a:cubicBezTo>
                    <a:pt x="288" y="1810"/>
                    <a:pt x="288" y="1810"/>
                    <a:pt x="288" y="1810"/>
                  </a:cubicBezTo>
                  <a:cubicBezTo>
                    <a:pt x="285" y="1831"/>
                    <a:pt x="297" y="1851"/>
                    <a:pt x="318" y="1858"/>
                  </a:cubicBezTo>
                  <a:cubicBezTo>
                    <a:pt x="322" y="1860"/>
                    <a:pt x="327" y="1861"/>
                    <a:pt x="332" y="1861"/>
                  </a:cubicBezTo>
                  <a:cubicBezTo>
                    <a:pt x="348" y="1861"/>
                    <a:pt x="363" y="1852"/>
                    <a:pt x="371" y="1838"/>
                  </a:cubicBezTo>
                  <a:cubicBezTo>
                    <a:pt x="995" y="688"/>
                    <a:pt x="995" y="688"/>
                    <a:pt x="995" y="688"/>
                  </a:cubicBezTo>
                  <a:cubicBezTo>
                    <a:pt x="999" y="681"/>
                    <a:pt x="1001" y="674"/>
                    <a:pt x="1001" y="666"/>
                  </a:cubicBezTo>
                  <a:cubicBezTo>
                    <a:pt x="1001" y="642"/>
                    <a:pt x="982" y="623"/>
                    <a:pt x="959" y="622"/>
                  </a:cubicBezTo>
                  <a:cubicBezTo>
                    <a:pt x="958" y="622"/>
                    <a:pt x="958" y="622"/>
                    <a:pt x="957" y="622"/>
                  </a:cubicBezTo>
                  <a:cubicBezTo>
                    <a:pt x="956" y="622"/>
                    <a:pt x="955" y="622"/>
                    <a:pt x="954" y="622"/>
                  </a:cubicBezTo>
                  <a:cubicBezTo>
                    <a:pt x="950" y="622"/>
                    <a:pt x="947" y="623"/>
                    <a:pt x="944" y="624"/>
                  </a:cubicBezTo>
                  <a:cubicBezTo>
                    <a:pt x="607" y="717"/>
                    <a:pt x="607" y="717"/>
                    <a:pt x="607" y="717"/>
                  </a:cubicBezTo>
                  <a:cubicBezTo>
                    <a:pt x="716" y="51"/>
                    <a:pt x="716" y="51"/>
                    <a:pt x="716" y="51"/>
                  </a:cubicBezTo>
                  <a:cubicBezTo>
                    <a:pt x="719" y="30"/>
                    <a:pt x="707" y="9"/>
                    <a:pt x="687" y="2"/>
                  </a:cubicBezTo>
                  <a:cubicBezTo>
                    <a:pt x="682" y="1"/>
                    <a:pt x="677" y="0"/>
                    <a:pt x="672" y="0"/>
                  </a:cubicBezTo>
                  <a:close/>
                  <a:moveTo>
                    <a:pt x="672" y="88"/>
                  </a:moveTo>
                  <a:cubicBezTo>
                    <a:pt x="672" y="88"/>
                    <a:pt x="672" y="88"/>
                    <a:pt x="672" y="88"/>
                  </a:cubicBezTo>
                  <a:cubicBezTo>
                    <a:pt x="672" y="88"/>
                    <a:pt x="672" y="88"/>
                    <a:pt x="672" y="88"/>
                  </a:cubicBezTo>
                  <a:close/>
                </a:path>
              </a:pathLst>
            </a:custGeom>
            <a:solidFill>
              <a:srgbClr val="4F81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7" name="Freeform 48">
              <a:extLst>
                <a:ext uri="{FF2B5EF4-FFF2-40B4-BE49-F238E27FC236}">
                  <a16:creationId xmlns="" xmlns:a16="http://schemas.microsoft.com/office/drawing/2014/main" id="{BD379E9F-E93F-4458-93F5-43AD19A6C28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3817" y="3423536"/>
              <a:ext cx="434023" cy="926211"/>
            </a:xfrm>
            <a:custGeom>
              <a:avLst/>
              <a:gdLst>
                <a:gd name="T0" fmla="*/ 529 w 1390"/>
                <a:gd name="T1" fmla="*/ 2431 h 2431"/>
                <a:gd name="T2" fmla="*/ 709 w 1390"/>
                <a:gd name="T3" fmla="*/ 1395 h 2431"/>
                <a:gd name="T4" fmla="*/ 0 w 1390"/>
                <a:gd name="T5" fmla="*/ 1586 h 2431"/>
                <a:gd name="T6" fmla="*/ 862 w 1390"/>
                <a:gd name="T7" fmla="*/ 0 h 2431"/>
                <a:gd name="T8" fmla="*/ 682 w 1390"/>
                <a:gd name="T9" fmla="*/ 1033 h 2431"/>
                <a:gd name="T10" fmla="*/ 1390 w 1390"/>
                <a:gd name="T11" fmla="*/ 843 h 2431"/>
                <a:gd name="T12" fmla="*/ 529 w 1390"/>
                <a:gd name="T13" fmla="*/ 2431 h 2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0" h="2431">
                  <a:moveTo>
                    <a:pt x="529" y="2431"/>
                  </a:moveTo>
                  <a:lnTo>
                    <a:pt x="709" y="1395"/>
                  </a:lnTo>
                  <a:lnTo>
                    <a:pt x="0" y="1586"/>
                  </a:lnTo>
                  <a:lnTo>
                    <a:pt x="862" y="0"/>
                  </a:lnTo>
                  <a:lnTo>
                    <a:pt x="682" y="1033"/>
                  </a:lnTo>
                  <a:lnTo>
                    <a:pt x="1390" y="843"/>
                  </a:lnTo>
                  <a:lnTo>
                    <a:pt x="529" y="2431"/>
                  </a:lnTo>
                  <a:close/>
                </a:path>
              </a:pathLst>
            </a:custGeom>
            <a:solidFill>
              <a:srgbClr val="1F49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11" name="TextBox 110"/>
          <p:cNvSpPr txBox="1"/>
          <p:nvPr/>
        </p:nvSpPr>
        <p:spPr>
          <a:xfrm>
            <a:off x="848769" y="3187693"/>
            <a:ext cx="1308774" cy="95846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67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ong R&amp;D assets</a:t>
            </a:r>
          </a:p>
        </p:txBody>
      </p:sp>
      <p:sp>
        <p:nvSpPr>
          <p:cNvPr id="113" name="TextBox 112"/>
          <p:cNvSpPr txBox="1"/>
          <p:nvPr/>
        </p:nvSpPr>
        <p:spPr>
          <a:xfrm>
            <a:off x="9925811" y="3020951"/>
            <a:ext cx="1308774" cy="95846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67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ong end-industry players</a:t>
            </a:r>
          </a:p>
        </p:txBody>
      </p:sp>
      <p:sp>
        <p:nvSpPr>
          <p:cNvPr id="114" name="TextBox 113"/>
          <p:cNvSpPr txBox="1"/>
          <p:nvPr/>
        </p:nvSpPr>
        <p:spPr>
          <a:xfrm>
            <a:off x="2535002" y="4512292"/>
            <a:ext cx="1149516" cy="28498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rgbClr val="1F4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lent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2211880" y="4507345"/>
            <a:ext cx="285418" cy="294882"/>
            <a:chOff x="2732159" y="5378753"/>
            <a:chExt cx="342502" cy="353858"/>
          </a:xfrm>
        </p:grpSpPr>
        <p:sp>
          <p:nvSpPr>
            <p:cNvPr id="116" name="Oval 20"/>
            <p:cNvSpPr>
              <a:spLocks noChangeAspect="1" noChangeArrowheads="1"/>
            </p:cNvSpPr>
            <p:nvPr/>
          </p:nvSpPr>
          <p:spPr bwMode="auto">
            <a:xfrm>
              <a:off x="2732159" y="5378753"/>
              <a:ext cx="342502" cy="353858"/>
            </a:xfrm>
            <a:prstGeom prst="ellipse">
              <a:avLst/>
            </a:prstGeom>
            <a:solidFill>
              <a:srgbClr val="1F4174"/>
            </a:solidFill>
          </p:spPr>
          <p:txBody>
            <a:bodyPr wrap="square" lIns="0" tIns="0" rIns="0" bIns="0" rtlCol="0"/>
            <a:lstStyle/>
            <a:p>
              <a:pPr hangingPunct="1"/>
              <a:endParaRPr lang="en-US" sz="125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17" name="Group 19">
              <a:extLst>
                <a:ext uri="{FF2B5EF4-FFF2-40B4-BE49-F238E27FC236}">
                  <a16:creationId xmlns="" xmlns:a16="http://schemas.microsoft.com/office/drawing/2014/main" id="{B2BDCBC9-AD64-46C7-9C25-7BE4D612758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768339" y="5398997"/>
              <a:ext cx="276593" cy="286030"/>
              <a:chOff x="1682" y="0"/>
              <a:chExt cx="4316" cy="4320"/>
            </a:xfrm>
          </p:grpSpPr>
          <p:sp>
            <p:nvSpPr>
              <p:cNvPr id="118" name="AutoShape 18">
                <a:extLst>
                  <a:ext uri="{FF2B5EF4-FFF2-40B4-BE49-F238E27FC236}">
                    <a16:creationId xmlns="" xmlns:a16="http://schemas.microsoft.com/office/drawing/2014/main" id="{D66828EB-2B5A-4B7C-B5FE-ED4AA9BC1D8E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9" name="Freeform 20">
                <a:extLst>
                  <a:ext uri="{FF2B5EF4-FFF2-40B4-BE49-F238E27FC236}">
                    <a16:creationId xmlns="" xmlns:a16="http://schemas.microsoft.com/office/drawing/2014/main" id="{9A4C7BA0-0AAF-4521-8F78-FD6D83AF25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54" y="1273"/>
                <a:ext cx="2772" cy="2548"/>
              </a:xfrm>
              <a:custGeom>
                <a:avLst/>
                <a:gdLst>
                  <a:gd name="T0" fmla="*/ 1125 w 1480"/>
                  <a:gd name="T1" fmla="*/ 456 h 1359"/>
                  <a:gd name="T2" fmla="*/ 1152 w 1480"/>
                  <a:gd name="T3" fmla="*/ 539 h 1359"/>
                  <a:gd name="T4" fmla="*/ 1036 w 1480"/>
                  <a:gd name="T5" fmla="*/ 573 h 1359"/>
                  <a:gd name="T6" fmla="*/ 577 w 1480"/>
                  <a:gd name="T7" fmla="*/ 301 h 1359"/>
                  <a:gd name="T8" fmla="*/ 540 w 1480"/>
                  <a:gd name="T9" fmla="*/ 323 h 1359"/>
                  <a:gd name="T10" fmla="*/ 391 w 1480"/>
                  <a:gd name="T11" fmla="*/ 541 h 1359"/>
                  <a:gd name="T12" fmla="*/ 370 w 1480"/>
                  <a:gd name="T13" fmla="*/ 384 h 1359"/>
                  <a:gd name="T14" fmla="*/ 748 w 1480"/>
                  <a:gd name="T15" fmla="*/ 0 h 1359"/>
                  <a:gd name="T16" fmla="*/ 1126 w 1480"/>
                  <a:gd name="T17" fmla="*/ 384 h 1359"/>
                  <a:gd name="T18" fmla="*/ 1125 w 1480"/>
                  <a:gd name="T19" fmla="*/ 456 h 1359"/>
                  <a:gd name="T20" fmla="*/ 745 w 1480"/>
                  <a:gd name="T21" fmla="*/ 1212 h 1359"/>
                  <a:gd name="T22" fmla="*/ 735 w 1480"/>
                  <a:gd name="T23" fmla="*/ 1212 h 1359"/>
                  <a:gd name="T24" fmla="*/ 501 w 1480"/>
                  <a:gd name="T25" fmla="*/ 1021 h 1359"/>
                  <a:gd name="T26" fmla="*/ 501 w 1480"/>
                  <a:gd name="T27" fmla="*/ 1021 h 1359"/>
                  <a:gd name="T28" fmla="*/ 183 w 1480"/>
                  <a:gd name="T29" fmla="*/ 1075 h 1359"/>
                  <a:gd name="T30" fmla="*/ 4 w 1480"/>
                  <a:gd name="T31" fmla="*/ 1335 h 1359"/>
                  <a:gd name="T32" fmla="*/ 21 w 1480"/>
                  <a:gd name="T33" fmla="*/ 1359 h 1359"/>
                  <a:gd name="T34" fmla="*/ 1459 w 1480"/>
                  <a:gd name="T35" fmla="*/ 1359 h 1359"/>
                  <a:gd name="T36" fmla="*/ 1476 w 1480"/>
                  <a:gd name="T37" fmla="*/ 1335 h 1359"/>
                  <a:gd name="T38" fmla="*/ 1297 w 1480"/>
                  <a:gd name="T39" fmla="*/ 1075 h 1359"/>
                  <a:gd name="T40" fmla="*/ 979 w 1480"/>
                  <a:gd name="T41" fmla="*/ 1021 h 1359"/>
                  <a:gd name="T42" fmla="*/ 979 w 1480"/>
                  <a:gd name="T43" fmla="*/ 1021 h 1359"/>
                  <a:gd name="T44" fmla="*/ 745 w 1480"/>
                  <a:gd name="T45" fmla="*/ 1212 h 1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80" h="1359">
                    <a:moveTo>
                      <a:pt x="1125" y="456"/>
                    </a:moveTo>
                    <a:cubicBezTo>
                      <a:pt x="1123" y="476"/>
                      <a:pt x="1130" y="507"/>
                      <a:pt x="1152" y="539"/>
                    </a:cubicBezTo>
                    <a:cubicBezTo>
                      <a:pt x="1152" y="539"/>
                      <a:pt x="1074" y="594"/>
                      <a:pt x="1036" y="573"/>
                    </a:cubicBezTo>
                    <a:cubicBezTo>
                      <a:pt x="993" y="549"/>
                      <a:pt x="813" y="300"/>
                      <a:pt x="577" y="301"/>
                    </a:cubicBezTo>
                    <a:cubicBezTo>
                      <a:pt x="577" y="301"/>
                      <a:pt x="551" y="315"/>
                      <a:pt x="540" y="323"/>
                    </a:cubicBezTo>
                    <a:cubicBezTo>
                      <a:pt x="433" y="395"/>
                      <a:pt x="428" y="575"/>
                      <a:pt x="391" y="541"/>
                    </a:cubicBezTo>
                    <a:cubicBezTo>
                      <a:pt x="377" y="525"/>
                      <a:pt x="370" y="431"/>
                      <a:pt x="370" y="384"/>
                    </a:cubicBezTo>
                    <a:cubicBezTo>
                      <a:pt x="370" y="172"/>
                      <a:pt x="534" y="0"/>
                      <a:pt x="748" y="0"/>
                    </a:cubicBezTo>
                    <a:cubicBezTo>
                      <a:pt x="962" y="0"/>
                      <a:pt x="1126" y="172"/>
                      <a:pt x="1126" y="384"/>
                    </a:cubicBezTo>
                    <a:cubicBezTo>
                      <a:pt x="1126" y="409"/>
                      <a:pt x="1127" y="433"/>
                      <a:pt x="1125" y="456"/>
                    </a:cubicBezTo>
                    <a:close/>
                    <a:moveTo>
                      <a:pt x="745" y="1212"/>
                    </a:moveTo>
                    <a:cubicBezTo>
                      <a:pt x="742" y="1215"/>
                      <a:pt x="738" y="1215"/>
                      <a:pt x="735" y="1212"/>
                    </a:cubicBezTo>
                    <a:cubicBezTo>
                      <a:pt x="660" y="1152"/>
                      <a:pt x="501" y="1021"/>
                      <a:pt x="501" y="1021"/>
                    </a:cubicBezTo>
                    <a:cubicBezTo>
                      <a:pt x="501" y="1021"/>
                      <a:pt x="501" y="1021"/>
                      <a:pt x="501" y="1021"/>
                    </a:cubicBezTo>
                    <a:cubicBezTo>
                      <a:pt x="501" y="1021"/>
                      <a:pt x="294" y="1023"/>
                      <a:pt x="183" y="1075"/>
                    </a:cubicBezTo>
                    <a:cubicBezTo>
                      <a:pt x="93" y="1116"/>
                      <a:pt x="27" y="1274"/>
                      <a:pt x="4" y="1335"/>
                    </a:cubicBezTo>
                    <a:cubicBezTo>
                      <a:pt x="0" y="1346"/>
                      <a:pt x="9" y="1359"/>
                      <a:pt x="21" y="1359"/>
                    </a:cubicBezTo>
                    <a:cubicBezTo>
                      <a:pt x="1459" y="1359"/>
                      <a:pt x="1459" y="1359"/>
                      <a:pt x="1459" y="1359"/>
                    </a:cubicBezTo>
                    <a:cubicBezTo>
                      <a:pt x="1471" y="1359"/>
                      <a:pt x="1480" y="1346"/>
                      <a:pt x="1476" y="1335"/>
                    </a:cubicBezTo>
                    <a:cubicBezTo>
                      <a:pt x="1453" y="1274"/>
                      <a:pt x="1387" y="1116"/>
                      <a:pt x="1297" y="1075"/>
                    </a:cubicBezTo>
                    <a:cubicBezTo>
                      <a:pt x="1186" y="1023"/>
                      <a:pt x="979" y="1021"/>
                      <a:pt x="979" y="1021"/>
                    </a:cubicBezTo>
                    <a:cubicBezTo>
                      <a:pt x="979" y="1021"/>
                      <a:pt x="979" y="1021"/>
                      <a:pt x="979" y="1021"/>
                    </a:cubicBezTo>
                    <a:cubicBezTo>
                      <a:pt x="979" y="1021"/>
                      <a:pt x="847" y="1130"/>
                      <a:pt x="745" y="121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0" name="Freeform 21">
                <a:extLst>
                  <a:ext uri="{FF2B5EF4-FFF2-40B4-BE49-F238E27FC236}">
                    <a16:creationId xmlns="" xmlns:a16="http://schemas.microsoft.com/office/drawing/2014/main" id="{081DFDF9-FAE4-4BE7-BDD0-B1CE42F8EAD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88" y="396"/>
                <a:ext cx="2904" cy="2835"/>
              </a:xfrm>
              <a:custGeom>
                <a:avLst/>
                <a:gdLst>
                  <a:gd name="T0" fmla="*/ 390 w 1550"/>
                  <a:gd name="T1" fmla="*/ 1015 h 1512"/>
                  <a:gd name="T2" fmla="*/ 434 w 1550"/>
                  <a:gd name="T3" fmla="*/ 1051 h 1512"/>
                  <a:gd name="T4" fmla="*/ 483 w 1550"/>
                  <a:gd name="T5" fmla="*/ 1121 h 1512"/>
                  <a:gd name="T6" fmla="*/ 776 w 1550"/>
                  <a:gd name="T7" fmla="*/ 1451 h 1512"/>
                  <a:gd name="T8" fmla="*/ 1068 w 1550"/>
                  <a:gd name="T9" fmla="*/ 1121 h 1512"/>
                  <a:gd name="T10" fmla="*/ 1107 w 1550"/>
                  <a:gd name="T11" fmla="*/ 1082 h 1512"/>
                  <a:gd name="T12" fmla="*/ 1106 w 1550"/>
                  <a:gd name="T13" fmla="*/ 1145 h 1512"/>
                  <a:gd name="T14" fmla="*/ 977 w 1550"/>
                  <a:gd name="T15" fmla="*/ 1400 h 1512"/>
                  <a:gd name="T16" fmla="*/ 933 w 1550"/>
                  <a:gd name="T17" fmla="*/ 1499 h 1512"/>
                  <a:gd name="T18" fmla="*/ 776 w 1550"/>
                  <a:gd name="T19" fmla="*/ 1495 h 1512"/>
                  <a:gd name="T20" fmla="*/ 633 w 1550"/>
                  <a:gd name="T21" fmla="*/ 1512 h 1512"/>
                  <a:gd name="T22" fmla="*/ 589 w 1550"/>
                  <a:gd name="T23" fmla="*/ 1411 h 1512"/>
                  <a:gd name="T24" fmla="*/ 446 w 1550"/>
                  <a:gd name="T25" fmla="*/ 1146 h 1512"/>
                  <a:gd name="T26" fmla="*/ 774 w 1550"/>
                  <a:gd name="T27" fmla="*/ 0 h 1512"/>
                  <a:gd name="T28" fmla="*/ 774 w 1550"/>
                  <a:gd name="T29" fmla="*/ 0 h 1512"/>
                  <a:gd name="T30" fmla="*/ 721 w 1550"/>
                  <a:gd name="T31" fmla="*/ 117 h 1512"/>
                  <a:gd name="T32" fmla="*/ 687 w 1550"/>
                  <a:gd name="T33" fmla="*/ 222 h 1512"/>
                  <a:gd name="T34" fmla="*/ 774 w 1550"/>
                  <a:gd name="T35" fmla="*/ 288 h 1512"/>
                  <a:gd name="T36" fmla="*/ 863 w 1550"/>
                  <a:gd name="T37" fmla="*/ 222 h 1512"/>
                  <a:gd name="T38" fmla="*/ 829 w 1550"/>
                  <a:gd name="T39" fmla="*/ 117 h 1512"/>
                  <a:gd name="T40" fmla="*/ 336 w 1550"/>
                  <a:gd name="T41" fmla="*/ 175 h 1512"/>
                  <a:gd name="T42" fmla="*/ 336 w 1550"/>
                  <a:gd name="T43" fmla="*/ 175 h 1512"/>
                  <a:gd name="T44" fmla="*/ 294 w 1550"/>
                  <a:gd name="T45" fmla="*/ 264 h 1512"/>
                  <a:gd name="T46" fmla="*/ 269 w 1550"/>
                  <a:gd name="T47" fmla="*/ 342 h 1512"/>
                  <a:gd name="T48" fmla="*/ 336 w 1550"/>
                  <a:gd name="T49" fmla="*/ 390 h 1512"/>
                  <a:gd name="T50" fmla="*/ 406 w 1550"/>
                  <a:gd name="T51" fmla="*/ 342 h 1512"/>
                  <a:gd name="T52" fmla="*/ 380 w 1550"/>
                  <a:gd name="T53" fmla="*/ 264 h 1512"/>
                  <a:gd name="T54" fmla="*/ 94 w 1550"/>
                  <a:gd name="T55" fmla="*/ 450 h 1512"/>
                  <a:gd name="T56" fmla="*/ 94 w 1550"/>
                  <a:gd name="T57" fmla="*/ 450 h 1512"/>
                  <a:gd name="T58" fmla="*/ 64 w 1550"/>
                  <a:gd name="T59" fmla="*/ 509 h 1512"/>
                  <a:gd name="T60" fmla="*/ 46 w 1550"/>
                  <a:gd name="T61" fmla="*/ 563 h 1512"/>
                  <a:gd name="T62" fmla="*/ 94 w 1550"/>
                  <a:gd name="T63" fmla="*/ 595 h 1512"/>
                  <a:gd name="T64" fmla="*/ 142 w 1550"/>
                  <a:gd name="T65" fmla="*/ 563 h 1512"/>
                  <a:gd name="T66" fmla="*/ 123 w 1550"/>
                  <a:gd name="T67" fmla="*/ 509 h 1512"/>
                  <a:gd name="T68" fmla="*/ 1456 w 1550"/>
                  <a:gd name="T69" fmla="*/ 450 h 1512"/>
                  <a:gd name="T70" fmla="*/ 1456 w 1550"/>
                  <a:gd name="T71" fmla="*/ 450 h 1512"/>
                  <a:gd name="T72" fmla="*/ 1429 w 1550"/>
                  <a:gd name="T73" fmla="*/ 509 h 1512"/>
                  <a:gd name="T74" fmla="*/ 1411 w 1550"/>
                  <a:gd name="T75" fmla="*/ 563 h 1512"/>
                  <a:gd name="T76" fmla="*/ 1456 w 1550"/>
                  <a:gd name="T77" fmla="*/ 595 h 1512"/>
                  <a:gd name="T78" fmla="*/ 1504 w 1550"/>
                  <a:gd name="T79" fmla="*/ 563 h 1512"/>
                  <a:gd name="T80" fmla="*/ 1488 w 1550"/>
                  <a:gd name="T81" fmla="*/ 509 h 1512"/>
                  <a:gd name="T82" fmla="*/ 1212 w 1550"/>
                  <a:gd name="T83" fmla="*/ 175 h 1512"/>
                  <a:gd name="T84" fmla="*/ 1212 w 1550"/>
                  <a:gd name="T85" fmla="*/ 175 h 1512"/>
                  <a:gd name="T86" fmla="*/ 1170 w 1550"/>
                  <a:gd name="T87" fmla="*/ 264 h 1512"/>
                  <a:gd name="T88" fmla="*/ 1141 w 1550"/>
                  <a:gd name="T89" fmla="*/ 342 h 1512"/>
                  <a:gd name="T90" fmla="*/ 1212 w 1550"/>
                  <a:gd name="T91" fmla="*/ 390 h 1512"/>
                  <a:gd name="T92" fmla="*/ 1282 w 1550"/>
                  <a:gd name="T93" fmla="*/ 342 h 1512"/>
                  <a:gd name="T94" fmla="*/ 1255 w 1550"/>
                  <a:gd name="T95" fmla="*/ 264 h 1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550" h="1512">
                    <a:moveTo>
                      <a:pt x="387" y="1024"/>
                    </a:moveTo>
                    <a:cubicBezTo>
                      <a:pt x="388" y="1021"/>
                      <a:pt x="388" y="1018"/>
                      <a:pt x="390" y="1015"/>
                    </a:cubicBezTo>
                    <a:cubicBezTo>
                      <a:pt x="393" y="1023"/>
                      <a:pt x="397" y="1030"/>
                      <a:pt x="401" y="1037"/>
                    </a:cubicBezTo>
                    <a:cubicBezTo>
                      <a:pt x="411" y="1050"/>
                      <a:pt x="426" y="1051"/>
                      <a:pt x="434" y="1051"/>
                    </a:cubicBezTo>
                    <a:cubicBezTo>
                      <a:pt x="439" y="1073"/>
                      <a:pt x="449" y="1101"/>
                      <a:pt x="470" y="1108"/>
                    </a:cubicBezTo>
                    <a:cubicBezTo>
                      <a:pt x="476" y="1111"/>
                      <a:pt x="481" y="1115"/>
                      <a:pt x="483" y="1121"/>
                    </a:cubicBezTo>
                    <a:cubicBezTo>
                      <a:pt x="518" y="1210"/>
                      <a:pt x="576" y="1343"/>
                      <a:pt x="597" y="1362"/>
                    </a:cubicBezTo>
                    <a:cubicBezTo>
                      <a:pt x="632" y="1392"/>
                      <a:pt x="726" y="1451"/>
                      <a:pt x="776" y="1451"/>
                    </a:cubicBezTo>
                    <a:cubicBezTo>
                      <a:pt x="825" y="1451"/>
                      <a:pt x="919" y="1392"/>
                      <a:pt x="954" y="1362"/>
                    </a:cubicBezTo>
                    <a:cubicBezTo>
                      <a:pt x="975" y="1343"/>
                      <a:pt x="1033" y="1210"/>
                      <a:pt x="1068" y="1121"/>
                    </a:cubicBezTo>
                    <a:cubicBezTo>
                      <a:pt x="1070" y="1116"/>
                      <a:pt x="1073" y="1112"/>
                      <a:pt x="1078" y="1110"/>
                    </a:cubicBezTo>
                    <a:cubicBezTo>
                      <a:pt x="1092" y="1103"/>
                      <a:pt x="1101" y="1093"/>
                      <a:pt x="1107" y="1082"/>
                    </a:cubicBezTo>
                    <a:cubicBezTo>
                      <a:pt x="1125" y="1080"/>
                      <a:pt x="1144" y="1073"/>
                      <a:pt x="1160" y="1065"/>
                    </a:cubicBezTo>
                    <a:cubicBezTo>
                      <a:pt x="1155" y="1087"/>
                      <a:pt x="1141" y="1123"/>
                      <a:pt x="1106" y="1145"/>
                    </a:cubicBezTo>
                    <a:cubicBezTo>
                      <a:pt x="1086" y="1194"/>
                      <a:pt x="1018" y="1363"/>
                      <a:pt x="983" y="1394"/>
                    </a:cubicBezTo>
                    <a:cubicBezTo>
                      <a:pt x="981" y="1396"/>
                      <a:pt x="979" y="1398"/>
                      <a:pt x="977" y="1400"/>
                    </a:cubicBezTo>
                    <a:cubicBezTo>
                      <a:pt x="977" y="1463"/>
                      <a:pt x="977" y="1463"/>
                      <a:pt x="977" y="1463"/>
                    </a:cubicBezTo>
                    <a:cubicBezTo>
                      <a:pt x="968" y="1470"/>
                      <a:pt x="952" y="1483"/>
                      <a:pt x="933" y="1499"/>
                    </a:cubicBezTo>
                    <a:cubicBezTo>
                      <a:pt x="933" y="1432"/>
                      <a:pt x="933" y="1432"/>
                      <a:pt x="933" y="1432"/>
                    </a:cubicBezTo>
                    <a:cubicBezTo>
                      <a:pt x="885" y="1463"/>
                      <a:pt x="821" y="1495"/>
                      <a:pt x="776" y="1495"/>
                    </a:cubicBezTo>
                    <a:cubicBezTo>
                      <a:pt x="735" y="1495"/>
                      <a:pt x="679" y="1469"/>
                      <a:pt x="633" y="1441"/>
                    </a:cubicBezTo>
                    <a:cubicBezTo>
                      <a:pt x="633" y="1512"/>
                      <a:pt x="633" y="1512"/>
                      <a:pt x="633" y="1512"/>
                    </a:cubicBezTo>
                    <a:cubicBezTo>
                      <a:pt x="616" y="1498"/>
                      <a:pt x="601" y="1486"/>
                      <a:pt x="589" y="1476"/>
                    </a:cubicBezTo>
                    <a:cubicBezTo>
                      <a:pt x="589" y="1411"/>
                      <a:pt x="589" y="1411"/>
                      <a:pt x="589" y="1411"/>
                    </a:cubicBezTo>
                    <a:cubicBezTo>
                      <a:pt x="581" y="1405"/>
                      <a:pt x="574" y="1399"/>
                      <a:pt x="568" y="1394"/>
                    </a:cubicBezTo>
                    <a:cubicBezTo>
                      <a:pt x="534" y="1364"/>
                      <a:pt x="466" y="1197"/>
                      <a:pt x="446" y="1146"/>
                    </a:cubicBezTo>
                    <a:cubicBezTo>
                      <a:pt x="397" y="1120"/>
                      <a:pt x="387" y="1049"/>
                      <a:pt x="387" y="1024"/>
                    </a:cubicBezTo>
                    <a:close/>
                    <a:moveTo>
                      <a:pt x="774" y="0"/>
                    </a:moveTo>
                    <a:cubicBezTo>
                      <a:pt x="774" y="0"/>
                      <a:pt x="774" y="0"/>
                      <a:pt x="774" y="0"/>
                    </a:cubicBezTo>
                    <a:cubicBezTo>
                      <a:pt x="774" y="0"/>
                      <a:pt x="774" y="0"/>
                      <a:pt x="774" y="0"/>
                    </a:cubicBezTo>
                    <a:cubicBezTo>
                      <a:pt x="774" y="0"/>
                      <a:pt x="774" y="0"/>
                      <a:pt x="774" y="0"/>
                    </a:cubicBezTo>
                    <a:cubicBezTo>
                      <a:pt x="721" y="117"/>
                      <a:pt x="721" y="117"/>
                      <a:pt x="721" y="117"/>
                    </a:cubicBezTo>
                    <a:cubicBezTo>
                      <a:pt x="600" y="136"/>
                      <a:pt x="600" y="136"/>
                      <a:pt x="600" y="136"/>
                    </a:cubicBezTo>
                    <a:cubicBezTo>
                      <a:pt x="687" y="222"/>
                      <a:pt x="687" y="222"/>
                      <a:pt x="687" y="222"/>
                    </a:cubicBezTo>
                    <a:cubicBezTo>
                      <a:pt x="667" y="350"/>
                      <a:pt x="667" y="350"/>
                      <a:pt x="667" y="350"/>
                    </a:cubicBezTo>
                    <a:cubicBezTo>
                      <a:pt x="774" y="288"/>
                      <a:pt x="774" y="288"/>
                      <a:pt x="774" y="288"/>
                    </a:cubicBezTo>
                    <a:cubicBezTo>
                      <a:pt x="885" y="350"/>
                      <a:pt x="885" y="350"/>
                      <a:pt x="885" y="350"/>
                    </a:cubicBezTo>
                    <a:cubicBezTo>
                      <a:pt x="863" y="222"/>
                      <a:pt x="863" y="222"/>
                      <a:pt x="863" y="222"/>
                    </a:cubicBezTo>
                    <a:cubicBezTo>
                      <a:pt x="950" y="136"/>
                      <a:pt x="950" y="136"/>
                      <a:pt x="950" y="136"/>
                    </a:cubicBezTo>
                    <a:cubicBezTo>
                      <a:pt x="829" y="117"/>
                      <a:pt x="829" y="117"/>
                      <a:pt x="829" y="117"/>
                    </a:cubicBezTo>
                    <a:cubicBezTo>
                      <a:pt x="774" y="0"/>
                      <a:pt x="774" y="0"/>
                      <a:pt x="774" y="0"/>
                    </a:cubicBezTo>
                    <a:close/>
                    <a:moveTo>
                      <a:pt x="336" y="175"/>
                    </a:moveTo>
                    <a:cubicBezTo>
                      <a:pt x="336" y="175"/>
                      <a:pt x="336" y="175"/>
                      <a:pt x="336" y="175"/>
                    </a:cubicBezTo>
                    <a:cubicBezTo>
                      <a:pt x="336" y="175"/>
                      <a:pt x="336" y="175"/>
                      <a:pt x="336" y="175"/>
                    </a:cubicBezTo>
                    <a:cubicBezTo>
                      <a:pt x="336" y="175"/>
                      <a:pt x="336" y="175"/>
                      <a:pt x="336" y="175"/>
                    </a:cubicBezTo>
                    <a:cubicBezTo>
                      <a:pt x="294" y="264"/>
                      <a:pt x="294" y="264"/>
                      <a:pt x="294" y="264"/>
                    </a:cubicBezTo>
                    <a:cubicBezTo>
                      <a:pt x="200" y="274"/>
                      <a:pt x="200" y="274"/>
                      <a:pt x="200" y="274"/>
                    </a:cubicBezTo>
                    <a:cubicBezTo>
                      <a:pt x="269" y="342"/>
                      <a:pt x="269" y="342"/>
                      <a:pt x="269" y="342"/>
                    </a:cubicBezTo>
                    <a:cubicBezTo>
                      <a:pt x="254" y="438"/>
                      <a:pt x="254" y="438"/>
                      <a:pt x="254" y="438"/>
                    </a:cubicBezTo>
                    <a:cubicBezTo>
                      <a:pt x="336" y="390"/>
                      <a:pt x="336" y="390"/>
                      <a:pt x="336" y="390"/>
                    </a:cubicBezTo>
                    <a:cubicBezTo>
                      <a:pt x="420" y="438"/>
                      <a:pt x="420" y="438"/>
                      <a:pt x="420" y="438"/>
                    </a:cubicBezTo>
                    <a:cubicBezTo>
                      <a:pt x="406" y="342"/>
                      <a:pt x="406" y="342"/>
                      <a:pt x="406" y="342"/>
                    </a:cubicBezTo>
                    <a:cubicBezTo>
                      <a:pt x="475" y="274"/>
                      <a:pt x="475" y="274"/>
                      <a:pt x="475" y="274"/>
                    </a:cubicBezTo>
                    <a:cubicBezTo>
                      <a:pt x="380" y="264"/>
                      <a:pt x="380" y="264"/>
                      <a:pt x="380" y="264"/>
                    </a:cubicBezTo>
                    <a:cubicBezTo>
                      <a:pt x="336" y="175"/>
                      <a:pt x="336" y="175"/>
                      <a:pt x="336" y="175"/>
                    </a:cubicBezTo>
                    <a:close/>
                    <a:moveTo>
                      <a:pt x="94" y="450"/>
                    </a:moveTo>
                    <a:cubicBezTo>
                      <a:pt x="94" y="450"/>
                      <a:pt x="94" y="450"/>
                      <a:pt x="94" y="450"/>
                    </a:cubicBezTo>
                    <a:cubicBezTo>
                      <a:pt x="94" y="450"/>
                      <a:pt x="94" y="450"/>
                      <a:pt x="94" y="450"/>
                    </a:cubicBezTo>
                    <a:cubicBezTo>
                      <a:pt x="94" y="450"/>
                      <a:pt x="94" y="450"/>
                      <a:pt x="94" y="450"/>
                    </a:cubicBezTo>
                    <a:cubicBezTo>
                      <a:pt x="64" y="509"/>
                      <a:pt x="64" y="509"/>
                      <a:pt x="64" y="509"/>
                    </a:cubicBezTo>
                    <a:cubicBezTo>
                      <a:pt x="0" y="519"/>
                      <a:pt x="0" y="519"/>
                      <a:pt x="0" y="519"/>
                    </a:cubicBezTo>
                    <a:cubicBezTo>
                      <a:pt x="46" y="563"/>
                      <a:pt x="46" y="563"/>
                      <a:pt x="46" y="563"/>
                    </a:cubicBezTo>
                    <a:cubicBezTo>
                      <a:pt x="37" y="625"/>
                      <a:pt x="37" y="625"/>
                      <a:pt x="37" y="625"/>
                    </a:cubicBezTo>
                    <a:cubicBezTo>
                      <a:pt x="94" y="595"/>
                      <a:pt x="94" y="595"/>
                      <a:pt x="94" y="595"/>
                    </a:cubicBezTo>
                    <a:cubicBezTo>
                      <a:pt x="152" y="625"/>
                      <a:pt x="152" y="625"/>
                      <a:pt x="152" y="625"/>
                    </a:cubicBezTo>
                    <a:cubicBezTo>
                      <a:pt x="142" y="563"/>
                      <a:pt x="142" y="563"/>
                      <a:pt x="142" y="563"/>
                    </a:cubicBezTo>
                    <a:cubicBezTo>
                      <a:pt x="187" y="519"/>
                      <a:pt x="187" y="519"/>
                      <a:pt x="187" y="519"/>
                    </a:cubicBezTo>
                    <a:cubicBezTo>
                      <a:pt x="123" y="509"/>
                      <a:pt x="123" y="509"/>
                      <a:pt x="123" y="509"/>
                    </a:cubicBezTo>
                    <a:cubicBezTo>
                      <a:pt x="94" y="450"/>
                      <a:pt x="94" y="450"/>
                      <a:pt x="94" y="450"/>
                    </a:cubicBezTo>
                    <a:close/>
                    <a:moveTo>
                      <a:pt x="1456" y="450"/>
                    </a:moveTo>
                    <a:cubicBezTo>
                      <a:pt x="1456" y="450"/>
                      <a:pt x="1456" y="450"/>
                      <a:pt x="1456" y="450"/>
                    </a:cubicBezTo>
                    <a:cubicBezTo>
                      <a:pt x="1456" y="450"/>
                      <a:pt x="1456" y="450"/>
                      <a:pt x="1456" y="450"/>
                    </a:cubicBezTo>
                    <a:cubicBezTo>
                      <a:pt x="1456" y="450"/>
                      <a:pt x="1456" y="450"/>
                      <a:pt x="1456" y="450"/>
                    </a:cubicBezTo>
                    <a:cubicBezTo>
                      <a:pt x="1429" y="509"/>
                      <a:pt x="1429" y="509"/>
                      <a:pt x="1429" y="509"/>
                    </a:cubicBezTo>
                    <a:cubicBezTo>
                      <a:pt x="1363" y="519"/>
                      <a:pt x="1363" y="519"/>
                      <a:pt x="1363" y="519"/>
                    </a:cubicBezTo>
                    <a:cubicBezTo>
                      <a:pt x="1411" y="563"/>
                      <a:pt x="1411" y="563"/>
                      <a:pt x="1411" y="563"/>
                    </a:cubicBezTo>
                    <a:cubicBezTo>
                      <a:pt x="1400" y="625"/>
                      <a:pt x="1400" y="625"/>
                      <a:pt x="1400" y="625"/>
                    </a:cubicBezTo>
                    <a:cubicBezTo>
                      <a:pt x="1456" y="595"/>
                      <a:pt x="1456" y="595"/>
                      <a:pt x="1456" y="595"/>
                    </a:cubicBezTo>
                    <a:cubicBezTo>
                      <a:pt x="1517" y="625"/>
                      <a:pt x="1517" y="625"/>
                      <a:pt x="1517" y="625"/>
                    </a:cubicBezTo>
                    <a:cubicBezTo>
                      <a:pt x="1504" y="563"/>
                      <a:pt x="1504" y="563"/>
                      <a:pt x="1504" y="563"/>
                    </a:cubicBezTo>
                    <a:cubicBezTo>
                      <a:pt x="1550" y="519"/>
                      <a:pt x="1550" y="519"/>
                      <a:pt x="1550" y="519"/>
                    </a:cubicBezTo>
                    <a:cubicBezTo>
                      <a:pt x="1488" y="509"/>
                      <a:pt x="1488" y="509"/>
                      <a:pt x="1488" y="509"/>
                    </a:cubicBezTo>
                    <a:cubicBezTo>
                      <a:pt x="1456" y="450"/>
                      <a:pt x="1456" y="450"/>
                      <a:pt x="1456" y="450"/>
                    </a:cubicBezTo>
                    <a:close/>
                    <a:moveTo>
                      <a:pt x="1212" y="175"/>
                    </a:moveTo>
                    <a:cubicBezTo>
                      <a:pt x="1212" y="175"/>
                      <a:pt x="1212" y="175"/>
                      <a:pt x="1212" y="175"/>
                    </a:cubicBezTo>
                    <a:cubicBezTo>
                      <a:pt x="1212" y="175"/>
                      <a:pt x="1212" y="175"/>
                      <a:pt x="1212" y="175"/>
                    </a:cubicBezTo>
                    <a:cubicBezTo>
                      <a:pt x="1212" y="175"/>
                      <a:pt x="1212" y="175"/>
                      <a:pt x="1212" y="175"/>
                    </a:cubicBezTo>
                    <a:cubicBezTo>
                      <a:pt x="1170" y="264"/>
                      <a:pt x="1170" y="264"/>
                      <a:pt x="1170" y="264"/>
                    </a:cubicBezTo>
                    <a:cubicBezTo>
                      <a:pt x="1075" y="274"/>
                      <a:pt x="1075" y="274"/>
                      <a:pt x="1075" y="274"/>
                    </a:cubicBezTo>
                    <a:cubicBezTo>
                      <a:pt x="1141" y="342"/>
                      <a:pt x="1141" y="342"/>
                      <a:pt x="1141" y="342"/>
                    </a:cubicBezTo>
                    <a:cubicBezTo>
                      <a:pt x="1127" y="438"/>
                      <a:pt x="1127" y="438"/>
                      <a:pt x="1127" y="438"/>
                    </a:cubicBezTo>
                    <a:cubicBezTo>
                      <a:pt x="1212" y="390"/>
                      <a:pt x="1212" y="390"/>
                      <a:pt x="1212" y="390"/>
                    </a:cubicBezTo>
                    <a:cubicBezTo>
                      <a:pt x="1298" y="438"/>
                      <a:pt x="1298" y="438"/>
                      <a:pt x="1298" y="438"/>
                    </a:cubicBezTo>
                    <a:cubicBezTo>
                      <a:pt x="1282" y="342"/>
                      <a:pt x="1282" y="342"/>
                      <a:pt x="1282" y="342"/>
                    </a:cubicBezTo>
                    <a:cubicBezTo>
                      <a:pt x="1350" y="274"/>
                      <a:pt x="1350" y="274"/>
                      <a:pt x="1350" y="274"/>
                    </a:cubicBezTo>
                    <a:cubicBezTo>
                      <a:pt x="1255" y="264"/>
                      <a:pt x="1255" y="264"/>
                      <a:pt x="1255" y="264"/>
                    </a:cubicBezTo>
                    <a:cubicBezTo>
                      <a:pt x="1212" y="175"/>
                      <a:pt x="1212" y="175"/>
                      <a:pt x="1212" y="17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121" name="Rectangle 120"/>
          <p:cNvSpPr/>
          <p:nvPr/>
        </p:nvSpPr>
        <p:spPr>
          <a:xfrm>
            <a:off x="4240826" y="4508592"/>
            <a:ext cx="1376117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r>
              <a:rPr lang="en-US" sz="1400" b="1" dirty="0">
                <a:solidFill>
                  <a:srgbClr val="1F4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vity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3977180" y="4507345"/>
            <a:ext cx="285418" cy="294882"/>
            <a:chOff x="5099152" y="5378314"/>
            <a:chExt cx="342502" cy="353858"/>
          </a:xfrm>
        </p:grpSpPr>
        <p:sp>
          <p:nvSpPr>
            <p:cNvPr id="123" name="Oval 20"/>
            <p:cNvSpPr>
              <a:spLocks noChangeAspect="1" noChangeArrowheads="1"/>
            </p:cNvSpPr>
            <p:nvPr/>
          </p:nvSpPr>
          <p:spPr bwMode="auto">
            <a:xfrm>
              <a:off x="5099152" y="5378314"/>
              <a:ext cx="342502" cy="353858"/>
            </a:xfrm>
            <a:prstGeom prst="ellipse">
              <a:avLst/>
            </a:prstGeom>
            <a:solidFill>
              <a:srgbClr val="1F4174"/>
            </a:solidFill>
          </p:spPr>
          <p:txBody>
            <a:bodyPr wrap="square" lIns="0" tIns="0" rIns="0" bIns="0" rtlCol="0"/>
            <a:lstStyle/>
            <a:p>
              <a:pPr hangingPunct="1"/>
              <a:endParaRPr lang="en-US" sz="125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24" name="bcgIcons_Link">
              <a:extLst>
                <a:ext uri="{FF2B5EF4-FFF2-40B4-BE49-F238E27FC236}">
                  <a16:creationId xmlns="" xmlns:a16="http://schemas.microsoft.com/office/drawing/2014/main" id="{2C9B8DF6-F098-4B5A-A443-79578ADE988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129001" y="5383305"/>
              <a:ext cx="293608" cy="303624"/>
              <a:chOff x="1682" y="0"/>
              <a:chExt cx="4316" cy="4320"/>
            </a:xfrm>
          </p:grpSpPr>
          <p:sp>
            <p:nvSpPr>
              <p:cNvPr id="125" name="AutoShape 28">
                <a:extLst>
                  <a:ext uri="{FF2B5EF4-FFF2-40B4-BE49-F238E27FC236}">
                    <a16:creationId xmlns="" xmlns:a16="http://schemas.microsoft.com/office/drawing/2014/main" id="{E9E4A9FC-3D4F-4906-B344-921954462444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6" name="Freeform 30">
                <a:extLst>
                  <a:ext uri="{FF2B5EF4-FFF2-40B4-BE49-F238E27FC236}">
                    <a16:creationId xmlns="" xmlns:a16="http://schemas.microsoft.com/office/drawing/2014/main" id="{BE5677DC-0985-4636-84FF-25B0730E06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903" y="1224"/>
                <a:ext cx="1874" cy="1875"/>
              </a:xfrm>
              <a:custGeom>
                <a:avLst/>
                <a:gdLst>
                  <a:gd name="T0" fmla="*/ 142 w 1000"/>
                  <a:gd name="T1" fmla="*/ 929 h 1000"/>
                  <a:gd name="T2" fmla="*/ 71 w 1000"/>
                  <a:gd name="T3" fmla="*/ 1000 h 1000"/>
                  <a:gd name="T4" fmla="*/ 0 w 1000"/>
                  <a:gd name="T5" fmla="*/ 929 h 1000"/>
                  <a:gd name="T6" fmla="*/ 0 w 1000"/>
                  <a:gd name="T7" fmla="*/ 849 h 1000"/>
                  <a:gd name="T8" fmla="*/ 0 w 1000"/>
                  <a:gd name="T9" fmla="*/ 382 h 1000"/>
                  <a:gd name="T10" fmla="*/ 71 w 1000"/>
                  <a:gd name="T11" fmla="*/ 311 h 1000"/>
                  <a:gd name="T12" fmla="*/ 142 w 1000"/>
                  <a:gd name="T13" fmla="*/ 382 h 1000"/>
                  <a:gd name="T14" fmla="*/ 142 w 1000"/>
                  <a:gd name="T15" fmla="*/ 846 h 1000"/>
                  <a:gd name="T16" fmla="*/ 142 w 1000"/>
                  <a:gd name="T17" fmla="*/ 929 h 1000"/>
                  <a:gd name="T18" fmla="*/ 465 w 1000"/>
                  <a:gd name="T19" fmla="*/ 142 h 1000"/>
                  <a:gd name="T20" fmla="*/ 929 w 1000"/>
                  <a:gd name="T21" fmla="*/ 142 h 1000"/>
                  <a:gd name="T22" fmla="*/ 1000 w 1000"/>
                  <a:gd name="T23" fmla="*/ 71 h 1000"/>
                  <a:gd name="T24" fmla="*/ 929 w 1000"/>
                  <a:gd name="T25" fmla="*/ 0 h 1000"/>
                  <a:gd name="T26" fmla="*/ 462 w 1000"/>
                  <a:gd name="T27" fmla="*/ 0 h 1000"/>
                  <a:gd name="T28" fmla="*/ 382 w 1000"/>
                  <a:gd name="T29" fmla="*/ 0 h 1000"/>
                  <a:gd name="T30" fmla="*/ 311 w 1000"/>
                  <a:gd name="T31" fmla="*/ 71 h 1000"/>
                  <a:gd name="T32" fmla="*/ 382 w 1000"/>
                  <a:gd name="T33" fmla="*/ 142 h 1000"/>
                  <a:gd name="T34" fmla="*/ 465 w 1000"/>
                  <a:gd name="T35" fmla="*/ 142 h 10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00" h="1000">
                    <a:moveTo>
                      <a:pt x="142" y="929"/>
                    </a:moveTo>
                    <a:cubicBezTo>
                      <a:pt x="142" y="968"/>
                      <a:pt x="110" y="1000"/>
                      <a:pt x="71" y="1000"/>
                    </a:cubicBezTo>
                    <a:cubicBezTo>
                      <a:pt x="32" y="1000"/>
                      <a:pt x="0" y="968"/>
                      <a:pt x="0" y="929"/>
                    </a:cubicBezTo>
                    <a:cubicBezTo>
                      <a:pt x="0" y="849"/>
                      <a:pt x="0" y="849"/>
                      <a:pt x="0" y="849"/>
                    </a:cubicBezTo>
                    <a:cubicBezTo>
                      <a:pt x="0" y="382"/>
                      <a:pt x="0" y="382"/>
                      <a:pt x="0" y="382"/>
                    </a:cubicBezTo>
                    <a:cubicBezTo>
                      <a:pt x="0" y="343"/>
                      <a:pt x="32" y="311"/>
                      <a:pt x="71" y="311"/>
                    </a:cubicBezTo>
                    <a:cubicBezTo>
                      <a:pt x="110" y="311"/>
                      <a:pt x="142" y="343"/>
                      <a:pt x="142" y="382"/>
                    </a:cubicBezTo>
                    <a:cubicBezTo>
                      <a:pt x="142" y="846"/>
                      <a:pt x="142" y="846"/>
                      <a:pt x="142" y="846"/>
                    </a:cubicBezTo>
                    <a:lnTo>
                      <a:pt x="142" y="929"/>
                    </a:lnTo>
                    <a:close/>
                    <a:moveTo>
                      <a:pt x="465" y="142"/>
                    </a:moveTo>
                    <a:cubicBezTo>
                      <a:pt x="929" y="142"/>
                      <a:pt x="929" y="142"/>
                      <a:pt x="929" y="142"/>
                    </a:cubicBezTo>
                    <a:cubicBezTo>
                      <a:pt x="968" y="142"/>
                      <a:pt x="1000" y="110"/>
                      <a:pt x="1000" y="71"/>
                    </a:cubicBezTo>
                    <a:cubicBezTo>
                      <a:pt x="1000" y="32"/>
                      <a:pt x="968" y="0"/>
                      <a:pt x="929" y="0"/>
                    </a:cubicBezTo>
                    <a:cubicBezTo>
                      <a:pt x="462" y="0"/>
                      <a:pt x="462" y="0"/>
                      <a:pt x="462" y="0"/>
                    </a:cubicBezTo>
                    <a:cubicBezTo>
                      <a:pt x="382" y="0"/>
                      <a:pt x="382" y="0"/>
                      <a:pt x="382" y="0"/>
                    </a:cubicBezTo>
                    <a:cubicBezTo>
                      <a:pt x="343" y="0"/>
                      <a:pt x="311" y="32"/>
                      <a:pt x="311" y="71"/>
                    </a:cubicBezTo>
                    <a:cubicBezTo>
                      <a:pt x="311" y="110"/>
                      <a:pt x="343" y="142"/>
                      <a:pt x="382" y="142"/>
                    </a:cubicBezTo>
                    <a:lnTo>
                      <a:pt x="465" y="14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7" name="Freeform 31">
                <a:extLst>
                  <a:ext uri="{FF2B5EF4-FFF2-40B4-BE49-F238E27FC236}">
                    <a16:creationId xmlns="" xmlns:a16="http://schemas.microsoft.com/office/drawing/2014/main" id="{466B932C-E4F0-4446-BF4C-7B284B3735A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21" y="884"/>
                <a:ext cx="3150" cy="2867"/>
              </a:xfrm>
              <a:custGeom>
                <a:avLst/>
                <a:gdLst>
                  <a:gd name="T0" fmla="*/ 497 w 1682"/>
                  <a:gd name="T1" fmla="*/ 1514 h 1682"/>
                  <a:gd name="T2" fmla="*/ 90 w 1682"/>
                  <a:gd name="T3" fmla="*/ 1592 h 1682"/>
                  <a:gd name="T4" fmla="*/ 168 w 1682"/>
                  <a:gd name="T5" fmla="*/ 1185 h 1682"/>
                  <a:gd name="T6" fmla="*/ 298 w 1682"/>
                  <a:gd name="T7" fmla="*/ 1067 h 1682"/>
                  <a:gd name="T8" fmla="*/ 299 w 1682"/>
                  <a:gd name="T9" fmla="*/ 1283 h 1682"/>
                  <a:gd name="T10" fmla="*/ 205 w 1682"/>
                  <a:gd name="T11" fmla="*/ 1377 h 1682"/>
                  <a:gd name="T12" fmla="*/ 305 w 1682"/>
                  <a:gd name="T13" fmla="*/ 1477 h 1682"/>
                  <a:gd name="T14" fmla="*/ 397 w 1682"/>
                  <a:gd name="T15" fmla="*/ 1385 h 1682"/>
                  <a:gd name="T16" fmla="*/ 528 w 1682"/>
                  <a:gd name="T17" fmla="*/ 1271 h 1682"/>
                  <a:gd name="T18" fmla="*/ 577 w 1682"/>
                  <a:gd name="T19" fmla="*/ 1105 h 1682"/>
                  <a:gd name="T20" fmla="*/ 1592 w 1682"/>
                  <a:gd name="T21" fmla="*/ 90 h 1682"/>
                  <a:gd name="T22" fmla="*/ 1185 w 1682"/>
                  <a:gd name="T23" fmla="*/ 168 h 1682"/>
                  <a:gd name="T24" fmla="*/ 1067 w 1682"/>
                  <a:gd name="T25" fmla="*/ 298 h 1682"/>
                  <a:gd name="T26" fmla="*/ 1283 w 1682"/>
                  <a:gd name="T27" fmla="*/ 299 h 1682"/>
                  <a:gd name="T28" fmla="*/ 1377 w 1682"/>
                  <a:gd name="T29" fmla="*/ 205 h 1682"/>
                  <a:gd name="T30" fmla="*/ 1477 w 1682"/>
                  <a:gd name="T31" fmla="*/ 305 h 1682"/>
                  <a:gd name="T32" fmla="*/ 1385 w 1682"/>
                  <a:gd name="T33" fmla="*/ 397 h 1682"/>
                  <a:gd name="T34" fmla="*/ 1271 w 1682"/>
                  <a:gd name="T35" fmla="*/ 528 h 1682"/>
                  <a:gd name="T36" fmla="*/ 1105 w 1682"/>
                  <a:gd name="T37" fmla="*/ 577 h 1682"/>
                  <a:gd name="T38" fmla="*/ 1514 w 1682"/>
                  <a:gd name="T39" fmla="*/ 497 h 1682"/>
                  <a:gd name="T40" fmla="*/ 1592 w 1682"/>
                  <a:gd name="T41" fmla="*/ 90 h 1682"/>
                  <a:gd name="T42" fmla="*/ 413 w 1682"/>
                  <a:gd name="T43" fmla="*/ 609 h 1682"/>
                  <a:gd name="T44" fmla="*/ 483 w 1682"/>
                  <a:gd name="T45" fmla="*/ 548 h 1682"/>
                  <a:gd name="T46" fmla="*/ 248 w 1682"/>
                  <a:gd name="T47" fmla="*/ 541 h 1682"/>
                  <a:gd name="T48" fmla="*/ 298 w 1682"/>
                  <a:gd name="T49" fmla="*/ 928 h 1682"/>
                  <a:gd name="T50" fmla="*/ 591 w 1682"/>
                  <a:gd name="T51" fmla="*/ 652 h 1682"/>
                  <a:gd name="T52" fmla="*/ 528 w 1682"/>
                  <a:gd name="T53" fmla="*/ 724 h 1682"/>
                  <a:gd name="T54" fmla="*/ 596 w 1682"/>
                  <a:gd name="T55" fmla="*/ 890 h 1682"/>
                  <a:gd name="T56" fmla="*/ 591 w 1682"/>
                  <a:gd name="T57" fmla="*/ 652 h 1682"/>
                  <a:gd name="T58" fmla="*/ 724 w 1682"/>
                  <a:gd name="T59" fmla="*/ 298 h 1682"/>
                  <a:gd name="T60" fmla="*/ 894 w 1682"/>
                  <a:gd name="T61" fmla="*/ 244 h 1682"/>
                  <a:gd name="T62" fmla="*/ 442 w 1682"/>
                  <a:gd name="T63" fmla="*/ 346 h 1682"/>
                  <a:gd name="T64" fmla="*/ 610 w 1682"/>
                  <a:gd name="T65" fmla="*/ 421 h 1682"/>
                  <a:gd name="T66" fmla="*/ 724 w 1682"/>
                  <a:gd name="T67" fmla="*/ 528 h 1682"/>
                  <a:gd name="T68" fmla="*/ 656 w 1682"/>
                  <a:gd name="T69" fmla="*/ 587 h 1682"/>
                  <a:gd name="T70" fmla="*/ 894 w 1682"/>
                  <a:gd name="T71" fmla="*/ 592 h 1682"/>
                  <a:gd name="T72" fmla="*/ 724 w 1682"/>
                  <a:gd name="T73" fmla="*/ 528 h 16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682" h="1682">
                    <a:moveTo>
                      <a:pt x="577" y="1433"/>
                    </a:moveTo>
                    <a:cubicBezTo>
                      <a:pt x="497" y="1514"/>
                      <a:pt x="497" y="1514"/>
                      <a:pt x="497" y="1514"/>
                    </a:cubicBezTo>
                    <a:cubicBezTo>
                      <a:pt x="419" y="1592"/>
                      <a:pt x="419" y="1592"/>
                      <a:pt x="419" y="1592"/>
                    </a:cubicBezTo>
                    <a:cubicBezTo>
                      <a:pt x="328" y="1682"/>
                      <a:pt x="181" y="1682"/>
                      <a:pt x="90" y="1592"/>
                    </a:cubicBezTo>
                    <a:cubicBezTo>
                      <a:pt x="0" y="1501"/>
                      <a:pt x="0" y="1354"/>
                      <a:pt x="90" y="1263"/>
                    </a:cubicBezTo>
                    <a:cubicBezTo>
                      <a:pt x="168" y="1185"/>
                      <a:pt x="168" y="1185"/>
                      <a:pt x="168" y="1185"/>
                    </a:cubicBezTo>
                    <a:cubicBezTo>
                      <a:pt x="249" y="1105"/>
                      <a:pt x="249" y="1105"/>
                      <a:pt x="249" y="1105"/>
                    </a:cubicBezTo>
                    <a:cubicBezTo>
                      <a:pt x="264" y="1090"/>
                      <a:pt x="280" y="1077"/>
                      <a:pt x="298" y="1067"/>
                    </a:cubicBezTo>
                    <a:cubicBezTo>
                      <a:pt x="298" y="1271"/>
                      <a:pt x="298" y="1271"/>
                      <a:pt x="298" y="1271"/>
                    </a:cubicBezTo>
                    <a:cubicBezTo>
                      <a:pt x="298" y="1275"/>
                      <a:pt x="298" y="1279"/>
                      <a:pt x="299" y="1283"/>
                    </a:cubicBezTo>
                    <a:cubicBezTo>
                      <a:pt x="281" y="1300"/>
                      <a:pt x="281" y="1300"/>
                      <a:pt x="281" y="1300"/>
                    </a:cubicBezTo>
                    <a:cubicBezTo>
                      <a:pt x="205" y="1377"/>
                      <a:pt x="205" y="1377"/>
                      <a:pt x="205" y="1377"/>
                    </a:cubicBezTo>
                    <a:cubicBezTo>
                      <a:pt x="177" y="1405"/>
                      <a:pt x="177" y="1450"/>
                      <a:pt x="205" y="1477"/>
                    </a:cubicBezTo>
                    <a:cubicBezTo>
                      <a:pt x="232" y="1505"/>
                      <a:pt x="277" y="1505"/>
                      <a:pt x="305" y="1477"/>
                    </a:cubicBezTo>
                    <a:cubicBezTo>
                      <a:pt x="384" y="1398"/>
                      <a:pt x="384" y="1398"/>
                      <a:pt x="384" y="1398"/>
                    </a:cubicBezTo>
                    <a:cubicBezTo>
                      <a:pt x="397" y="1385"/>
                      <a:pt x="397" y="1385"/>
                      <a:pt x="397" y="1385"/>
                    </a:cubicBezTo>
                    <a:cubicBezTo>
                      <a:pt x="402" y="1385"/>
                      <a:pt x="408" y="1386"/>
                      <a:pt x="413" y="1386"/>
                    </a:cubicBezTo>
                    <a:cubicBezTo>
                      <a:pt x="476" y="1386"/>
                      <a:pt x="528" y="1334"/>
                      <a:pt x="528" y="1271"/>
                    </a:cubicBezTo>
                    <a:cubicBezTo>
                      <a:pt x="528" y="1067"/>
                      <a:pt x="528" y="1067"/>
                      <a:pt x="528" y="1067"/>
                    </a:cubicBezTo>
                    <a:cubicBezTo>
                      <a:pt x="545" y="1077"/>
                      <a:pt x="562" y="1089"/>
                      <a:pt x="577" y="1105"/>
                    </a:cubicBezTo>
                    <a:cubicBezTo>
                      <a:pt x="668" y="1195"/>
                      <a:pt x="668" y="1343"/>
                      <a:pt x="577" y="1433"/>
                    </a:cubicBezTo>
                    <a:close/>
                    <a:moveTo>
                      <a:pt x="1592" y="90"/>
                    </a:moveTo>
                    <a:cubicBezTo>
                      <a:pt x="1501" y="0"/>
                      <a:pt x="1354" y="0"/>
                      <a:pt x="1263" y="90"/>
                    </a:cubicBezTo>
                    <a:cubicBezTo>
                      <a:pt x="1185" y="168"/>
                      <a:pt x="1185" y="168"/>
                      <a:pt x="1185" y="168"/>
                    </a:cubicBezTo>
                    <a:cubicBezTo>
                      <a:pt x="1105" y="249"/>
                      <a:pt x="1105" y="249"/>
                      <a:pt x="1105" y="249"/>
                    </a:cubicBezTo>
                    <a:cubicBezTo>
                      <a:pt x="1090" y="264"/>
                      <a:pt x="1077" y="280"/>
                      <a:pt x="1067" y="298"/>
                    </a:cubicBezTo>
                    <a:cubicBezTo>
                      <a:pt x="1271" y="298"/>
                      <a:pt x="1271" y="298"/>
                      <a:pt x="1271" y="298"/>
                    </a:cubicBezTo>
                    <a:cubicBezTo>
                      <a:pt x="1275" y="298"/>
                      <a:pt x="1279" y="298"/>
                      <a:pt x="1283" y="299"/>
                    </a:cubicBezTo>
                    <a:cubicBezTo>
                      <a:pt x="1300" y="281"/>
                      <a:pt x="1300" y="281"/>
                      <a:pt x="1300" y="281"/>
                    </a:cubicBezTo>
                    <a:cubicBezTo>
                      <a:pt x="1377" y="205"/>
                      <a:pt x="1377" y="205"/>
                      <a:pt x="1377" y="205"/>
                    </a:cubicBezTo>
                    <a:cubicBezTo>
                      <a:pt x="1405" y="177"/>
                      <a:pt x="1450" y="177"/>
                      <a:pt x="1477" y="205"/>
                    </a:cubicBezTo>
                    <a:cubicBezTo>
                      <a:pt x="1505" y="232"/>
                      <a:pt x="1505" y="277"/>
                      <a:pt x="1477" y="305"/>
                    </a:cubicBezTo>
                    <a:cubicBezTo>
                      <a:pt x="1398" y="384"/>
                      <a:pt x="1398" y="384"/>
                      <a:pt x="1398" y="384"/>
                    </a:cubicBezTo>
                    <a:cubicBezTo>
                      <a:pt x="1385" y="397"/>
                      <a:pt x="1385" y="397"/>
                      <a:pt x="1385" y="397"/>
                    </a:cubicBezTo>
                    <a:cubicBezTo>
                      <a:pt x="1385" y="402"/>
                      <a:pt x="1386" y="408"/>
                      <a:pt x="1386" y="413"/>
                    </a:cubicBezTo>
                    <a:cubicBezTo>
                      <a:pt x="1386" y="476"/>
                      <a:pt x="1334" y="528"/>
                      <a:pt x="1271" y="528"/>
                    </a:cubicBezTo>
                    <a:cubicBezTo>
                      <a:pt x="1067" y="528"/>
                      <a:pt x="1067" y="528"/>
                      <a:pt x="1067" y="528"/>
                    </a:cubicBezTo>
                    <a:cubicBezTo>
                      <a:pt x="1077" y="545"/>
                      <a:pt x="1089" y="562"/>
                      <a:pt x="1105" y="577"/>
                    </a:cubicBezTo>
                    <a:cubicBezTo>
                      <a:pt x="1195" y="668"/>
                      <a:pt x="1343" y="668"/>
                      <a:pt x="1433" y="577"/>
                    </a:cubicBezTo>
                    <a:cubicBezTo>
                      <a:pt x="1514" y="497"/>
                      <a:pt x="1514" y="497"/>
                      <a:pt x="1514" y="497"/>
                    </a:cubicBezTo>
                    <a:cubicBezTo>
                      <a:pt x="1592" y="419"/>
                      <a:pt x="1592" y="419"/>
                      <a:pt x="1592" y="419"/>
                    </a:cubicBezTo>
                    <a:cubicBezTo>
                      <a:pt x="1682" y="328"/>
                      <a:pt x="1682" y="181"/>
                      <a:pt x="1592" y="90"/>
                    </a:cubicBezTo>
                    <a:close/>
                    <a:moveTo>
                      <a:pt x="298" y="724"/>
                    </a:moveTo>
                    <a:cubicBezTo>
                      <a:pt x="298" y="661"/>
                      <a:pt x="349" y="609"/>
                      <a:pt x="413" y="609"/>
                    </a:cubicBezTo>
                    <a:cubicBezTo>
                      <a:pt x="416" y="609"/>
                      <a:pt x="419" y="609"/>
                      <a:pt x="421" y="609"/>
                    </a:cubicBezTo>
                    <a:cubicBezTo>
                      <a:pt x="483" y="548"/>
                      <a:pt x="483" y="548"/>
                      <a:pt x="483" y="548"/>
                    </a:cubicBezTo>
                    <a:cubicBezTo>
                      <a:pt x="350" y="438"/>
                      <a:pt x="350" y="438"/>
                      <a:pt x="350" y="438"/>
                    </a:cubicBezTo>
                    <a:cubicBezTo>
                      <a:pt x="248" y="541"/>
                      <a:pt x="248" y="541"/>
                      <a:pt x="248" y="541"/>
                    </a:cubicBezTo>
                    <a:cubicBezTo>
                      <a:pt x="151" y="637"/>
                      <a:pt x="151" y="793"/>
                      <a:pt x="248" y="890"/>
                    </a:cubicBezTo>
                    <a:cubicBezTo>
                      <a:pt x="263" y="905"/>
                      <a:pt x="280" y="918"/>
                      <a:pt x="298" y="928"/>
                    </a:cubicBezTo>
                    <a:lnTo>
                      <a:pt x="298" y="724"/>
                    </a:lnTo>
                    <a:close/>
                    <a:moveTo>
                      <a:pt x="591" y="652"/>
                    </a:moveTo>
                    <a:cubicBezTo>
                      <a:pt x="527" y="716"/>
                      <a:pt x="527" y="716"/>
                      <a:pt x="527" y="716"/>
                    </a:cubicBezTo>
                    <a:cubicBezTo>
                      <a:pt x="528" y="719"/>
                      <a:pt x="528" y="721"/>
                      <a:pt x="528" y="724"/>
                    </a:cubicBezTo>
                    <a:cubicBezTo>
                      <a:pt x="528" y="938"/>
                      <a:pt x="528" y="938"/>
                      <a:pt x="528" y="938"/>
                    </a:cubicBezTo>
                    <a:cubicBezTo>
                      <a:pt x="553" y="926"/>
                      <a:pt x="576" y="910"/>
                      <a:pt x="596" y="890"/>
                    </a:cubicBezTo>
                    <a:cubicBezTo>
                      <a:pt x="699" y="787"/>
                      <a:pt x="699" y="787"/>
                      <a:pt x="699" y="787"/>
                    </a:cubicBezTo>
                    <a:lnTo>
                      <a:pt x="591" y="652"/>
                    </a:lnTo>
                    <a:close/>
                    <a:moveTo>
                      <a:pt x="609" y="413"/>
                    </a:moveTo>
                    <a:cubicBezTo>
                      <a:pt x="609" y="349"/>
                      <a:pt x="661" y="298"/>
                      <a:pt x="724" y="298"/>
                    </a:cubicBezTo>
                    <a:cubicBezTo>
                      <a:pt x="935" y="298"/>
                      <a:pt x="935" y="298"/>
                      <a:pt x="935" y="298"/>
                    </a:cubicBezTo>
                    <a:cubicBezTo>
                      <a:pt x="924" y="278"/>
                      <a:pt x="910" y="260"/>
                      <a:pt x="894" y="244"/>
                    </a:cubicBezTo>
                    <a:cubicBezTo>
                      <a:pt x="797" y="147"/>
                      <a:pt x="641" y="147"/>
                      <a:pt x="545" y="244"/>
                    </a:cubicBezTo>
                    <a:cubicBezTo>
                      <a:pt x="442" y="346"/>
                      <a:pt x="442" y="346"/>
                      <a:pt x="442" y="346"/>
                    </a:cubicBezTo>
                    <a:cubicBezTo>
                      <a:pt x="552" y="479"/>
                      <a:pt x="552" y="479"/>
                      <a:pt x="552" y="479"/>
                    </a:cubicBezTo>
                    <a:cubicBezTo>
                      <a:pt x="610" y="421"/>
                      <a:pt x="610" y="421"/>
                      <a:pt x="610" y="421"/>
                    </a:cubicBezTo>
                    <a:cubicBezTo>
                      <a:pt x="609" y="419"/>
                      <a:pt x="609" y="416"/>
                      <a:pt x="609" y="413"/>
                    </a:cubicBezTo>
                    <a:close/>
                    <a:moveTo>
                      <a:pt x="724" y="528"/>
                    </a:moveTo>
                    <a:cubicBezTo>
                      <a:pt x="721" y="528"/>
                      <a:pt x="719" y="528"/>
                      <a:pt x="716" y="527"/>
                    </a:cubicBezTo>
                    <a:cubicBezTo>
                      <a:pt x="656" y="587"/>
                      <a:pt x="656" y="587"/>
                      <a:pt x="656" y="587"/>
                    </a:cubicBezTo>
                    <a:cubicBezTo>
                      <a:pt x="791" y="695"/>
                      <a:pt x="791" y="695"/>
                      <a:pt x="791" y="695"/>
                    </a:cubicBezTo>
                    <a:cubicBezTo>
                      <a:pt x="894" y="592"/>
                      <a:pt x="894" y="592"/>
                      <a:pt x="894" y="592"/>
                    </a:cubicBezTo>
                    <a:cubicBezTo>
                      <a:pt x="913" y="573"/>
                      <a:pt x="928" y="551"/>
                      <a:pt x="940" y="528"/>
                    </a:cubicBezTo>
                    <a:lnTo>
                      <a:pt x="724" y="52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128" name="TextBox 127"/>
          <p:cNvSpPr txBox="1"/>
          <p:nvPr/>
        </p:nvSpPr>
        <p:spPr>
          <a:xfrm>
            <a:off x="6166832" y="4512292"/>
            <a:ext cx="1378877" cy="28498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rgbClr val="1F4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ourcing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5832144" y="4507345"/>
            <a:ext cx="285418" cy="294882"/>
            <a:chOff x="7118353" y="5395160"/>
            <a:chExt cx="342502" cy="353858"/>
          </a:xfrm>
        </p:grpSpPr>
        <p:sp>
          <p:nvSpPr>
            <p:cNvPr id="130" name="Oval 20"/>
            <p:cNvSpPr>
              <a:spLocks noChangeAspect="1" noChangeArrowheads="1"/>
            </p:cNvSpPr>
            <p:nvPr/>
          </p:nvSpPr>
          <p:spPr bwMode="auto">
            <a:xfrm>
              <a:off x="7118353" y="5395160"/>
              <a:ext cx="342502" cy="353858"/>
            </a:xfrm>
            <a:prstGeom prst="ellipse">
              <a:avLst/>
            </a:prstGeom>
            <a:solidFill>
              <a:srgbClr val="1F4174"/>
            </a:solidFill>
          </p:spPr>
          <p:txBody>
            <a:bodyPr wrap="square" lIns="0" tIns="0" rIns="0" bIns="0" rtlCol="0"/>
            <a:lstStyle/>
            <a:p>
              <a:pPr hangingPunct="1"/>
              <a:endParaRPr lang="en-US" sz="125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31" name="bcgIcons_VentureCapital">
              <a:extLst>
                <a:ext uri="{FF2B5EF4-FFF2-40B4-BE49-F238E27FC236}">
                  <a16:creationId xmlns="" xmlns:a16="http://schemas.microsoft.com/office/drawing/2014/main" id="{CA8FD4A5-37C5-44B1-8C58-337EE258E90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152991" y="5414527"/>
              <a:ext cx="300667" cy="310923"/>
              <a:chOff x="1682" y="0"/>
              <a:chExt cx="4316" cy="4320"/>
            </a:xfrm>
          </p:grpSpPr>
          <p:sp>
            <p:nvSpPr>
              <p:cNvPr id="132" name="AutoShape 3">
                <a:extLst>
                  <a:ext uri="{FF2B5EF4-FFF2-40B4-BE49-F238E27FC236}">
                    <a16:creationId xmlns="" xmlns:a16="http://schemas.microsoft.com/office/drawing/2014/main" id="{A685C9B5-CAF2-4A20-BBFD-4AE9FAD941A0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3" name="Freeform 6">
                <a:extLst>
                  <a:ext uri="{FF2B5EF4-FFF2-40B4-BE49-F238E27FC236}">
                    <a16:creationId xmlns="" xmlns:a16="http://schemas.microsoft.com/office/drawing/2014/main" id="{2F934ACA-6C4E-4F6E-932A-23F3708462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98" y="517"/>
                <a:ext cx="3492" cy="3285"/>
              </a:xfrm>
              <a:custGeom>
                <a:avLst/>
                <a:gdLst>
                  <a:gd name="T0" fmla="*/ 1016 w 1864"/>
                  <a:gd name="T1" fmla="*/ 1613 h 1752"/>
                  <a:gd name="T2" fmla="*/ 97 w 1864"/>
                  <a:gd name="T3" fmla="*/ 1503 h 1752"/>
                  <a:gd name="T4" fmla="*/ 239 w 1864"/>
                  <a:gd name="T5" fmla="*/ 707 h 1752"/>
                  <a:gd name="T6" fmla="*/ 521 w 1864"/>
                  <a:gd name="T7" fmla="*/ 396 h 1752"/>
                  <a:gd name="T8" fmla="*/ 501 w 1864"/>
                  <a:gd name="T9" fmla="*/ 361 h 1752"/>
                  <a:gd name="T10" fmla="*/ 436 w 1864"/>
                  <a:gd name="T11" fmla="*/ 117 h 1752"/>
                  <a:gd name="T12" fmla="*/ 496 w 1864"/>
                  <a:gd name="T13" fmla="*/ 32 h 1752"/>
                  <a:gd name="T14" fmla="*/ 842 w 1864"/>
                  <a:gd name="T15" fmla="*/ 0 h 1752"/>
                  <a:gd name="T16" fmla="*/ 922 w 1864"/>
                  <a:gd name="T17" fmla="*/ 89 h 1752"/>
                  <a:gd name="T18" fmla="*/ 1053 w 1864"/>
                  <a:gd name="T19" fmla="*/ 197 h 1752"/>
                  <a:gd name="T20" fmla="*/ 911 w 1864"/>
                  <a:gd name="T21" fmla="*/ 362 h 1752"/>
                  <a:gd name="T22" fmla="*/ 905 w 1864"/>
                  <a:gd name="T23" fmla="*/ 418 h 1752"/>
                  <a:gd name="T24" fmla="*/ 1287 w 1864"/>
                  <a:gd name="T25" fmla="*/ 872 h 1752"/>
                  <a:gd name="T26" fmla="*/ 877 w 1864"/>
                  <a:gd name="T27" fmla="*/ 452 h 1752"/>
                  <a:gd name="T28" fmla="*/ 882 w 1864"/>
                  <a:gd name="T29" fmla="*/ 329 h 1752"/>
                  <a:gd name="T30" fmla="*/ 904 w 1864"/>
                  <a:gd name="T31" fmla="*/ 129 h 1752"/>
                  <a:gd name="T32" fmla="*/ 819 w 1864"/>
                  <a:gd name="T33" fmla="*/ 273 h 1752"/>
                  <a:gd name="T34" fmla="*/ 799 w 1864"/>
                  <a:gd name="T35" fmla="*/ 242 h 1752"/>
                  <a:gd name="T36" fmla="*/ 880 w 1864"/>
                  <a:gd name="T37" fmla="*/ 56 h 1752"/>
                  <a:gd name="T38" fmla="*/ 843 w 1864"/>
                  <a:gd name="T39" fmla="*/ 44 h 1752"/>
                  <a:gd name="T40" fmla="*/ 569 w 1864"/>
                  <a:gd name="T41" fmla="*/ 44 h 1752"/>
                  <a:gd name="T42" fmla="*/ 542 w 1864"/>
                  <a:gd name="T43" fmla="*/ 98 h 1752"/>
                  <a:gd name="T44" fmla="*/ 603 w 1864"/>
                  <a:gd name="T45" fmla="*/ 271 h 1752"/>
                  <a:gd name="T46" fmla="*/ 509 w 1864"/>
                  <a:gd name="T47" fmla="*/ 129 h 1752"/>
                  <a:gd name="T48" fmla="*/ 531 w 1864"/>
                  <a:gd name="T49" fmla="*/ 329 h 1752"/>
                  <a:gd name="T50" fmla="*/ 536 w 1864"/>
                  <a:gd name="T51" fmla="*/ 452 h 1752"/>
                  <a:gd name="T52" fmla="*/ 50 w 1864"/>
                  <a:gd name="T53" fmla="*/ 1247 h 1752"/>
                  <a:gd name="T54" fmla="*/ 397 w 1864"/>
                  <a:gd name="T55" fmla="*/ 1569 h 1752"/>
                  <a:gd name="T56" fmla="*/ 1034 w 1864"/>
                  <a:gd name="T57" fmla="*/ 1569 h 1752"/>
                  <a:gd name="T58" fmla="*/ 1631 w 1864"/>
                  <a:gd name="T59" fmla="*/ 1398 h 1752"/>
                  <a:gd name="T60" fmla="*/ 1509 w 1864"/>
                  <a:gd name="T61" fmla="*/ 1736 h 1752"/>
                  <a:gd name="T62" fmla="*/ 1201 w 1864"/>
                  <a:gd name="T63" fmla="*/ 1736 h 1752"/>
                  <a:gd name="T64" fmla="*/ 1078 w 1864"/>
                  <a:gd name="T65" fmla="*/ 1618 h 1752"/>
                  <a:gd name="T66" fmla="*/ 1201 w 1864"/>
                  <a:gd name="T67" fmla="*/ 1280 h 1752"/>
                  <a:gd name="T68" fmla="*/ 1509 w 1864"/>
                  <a:gd name="T69" fmla="*/ 1280 h 1752"/>
                  <a:gd name="T70" fmla="*/ 1631 w 1864"/>
                  <a:gd name="T71" fmla="*/ 1398 h 1752"/>
                  <a:gd name="T72" fmla="*/ 1498 w 1864"/>
                  <a:gd name="T73" fmla="*/ 1323 h 1752"/>
                  <a:gd name="T74" fmla="*/ 1211 w 1864"/>
                  <a:gd name="T75" fmla="*/ 1323 h 1752"/>
                  <a:gd name="T76" fmla="*/ 1122 w 1864"/>
                  <a:gd name="T77" fmla="*/ 1618 h 1752"/>
                  <a:gd name="T78" fmla="*/ 1355 w 1864"/>
                  <a:gd name="T79" fmla="*/ 1708 h 1752"/>
                  <a:gd name="T80" fmla="*/ 1587 w 1864"/>
                  <a:gd name="T81" fmla="*/ 1618 h 1752"/>
                  <a:gd name="T82" fmla="*/ 1806 w 1864"/>
                  <a:gd name="T83" fmla="*/ 853 h 1752"/>
                  <a:gd name="T84" fmla="*/ 1587 w 1864"/>
                  <a:gd name="T85" fmla="*/ 812 h 1752"/>
                  <a:gd name="T86" fmla="*/ 1311 w 1864"/>
                  <a:gd name="T87" fmla="*/ 946 h 1752"/>
                  <a:gd name="T88" fmla="*/ 1355 w 1864"/>
                  <a:gd name="T89" fmla="*/ 1220 h 1752"/>
                  <a:gd name="T90" fmla="*/ 1355 w 1864"/>
                  <a:gd name="T91" fmla="*/ 946 h 1752"/>
                  <a:gd name="T92" fmla="*/ 1587 w 1864"/>
                  <a:gd name="T93" fmla="*/ 856 h 1752"/>
                  <a:gd name="T94" fmla="*/ 1820 w 1864"/>
                  <a:gd name="T95" fmla="*/ 946 h 1752"/>
                  <a:gd name="T96" fmla="*/ 1731 w 1864"/>
                  <a:gd name="T97" fmla="*/ 1580 h 1752"/>
                  <a:gd name="T98" fmla="*/ 1675 w 1864"/>
                  <a:gd name="T99" fmla="*/ 1618 h 1752"/>
                  <a:gd name="T100" fmla="*/ 1741 w 1864"/>
                  <a:gd name="T101" fmla="*/ 1623 h 1752"/>
                  <a:gd name="T102" fmla="*/ 1864 w 1864"/>
                  <a:gd name="T103" fmla="*/ 946 h 17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864" h="1752">
                    <a:moveTo>
                      <a:pt x="1034" y="1613"/>
                    </a:moveTo>
                    <a:cubicBezTo>
                      <a:pt x="1028" y="1613"/>
                      <a:pt x="1022" y="1613"/>
                      <a:pt x="1016" y="1613"/>
                    </a:cubicBezTo>
                    <a:cubicBezTo>
                      <a:pt x="397" y="1613"/>
                      <a:pt x="397" y="1613"/>
                      <a:pt x="397" y="1613"/>
                    </a:cubicBezTo>
                    <a:cubicBezTo>
                      <a:pt x="266" y="1613"/>
                      <a:pt x="165" y="1576"/>
                      <a:pt x="97" y="1503"/>
                    </a:cubicBezTo>
                    <a:cubicBezTo>
                      <a:pt x="0" y="1398"/>
                      <a:pt x="5" y="1258"/>
                      <a:pt x="6" y="1245"/>
                    </a:cubicBezTo>
                    <a:cubicBezTo>
                      <a:pt x="6" y="1088"/>
                      <a:pt x="84" y="907"/>
                      <a:pt x="239" y="707"/>
                    </a:cubicBezTo>
                    <a:cubicBezTo>
                      <a:pt x="352" y="560"/>
                      <a:pt x="474" y="446"/>
                      <a:pt x="508" y="418"/>
                    </a:cubicBezTo>
                    <a:cubicBezTo>
                      <a:pt x="521" y="407"/>
                      <a:pt x="521" y="399"/>
                      <a:pt x="521" y="396"/>
                    </a:cubicBezTo>
                    <a:cubicBezTo>
                      <a:pt x="521" y="381"/>
                      <a:pt x="506" y="365"/>
                      <a:pt x="502" y="362"/>
                    </a:cubicBezTo>
                    <a:cubicBezTo>
                      <a:pt x="502" y="362"/>
                      <a:pt x="502" y="361"/>
                      <a:pt x="501" y="361"/>
                    </a:cubicBezTo>
                    <a:cubicBezTo>
                      <a:pt x="451" y="314"/>
                      <a:pt x="365" y="230"/>
                      <a:pt x="360" y="197"/>
                    </a:cubicBezTo>
                    <a:cubicBezTo>
                      <a:pt x="356" y="173"/>
                      <a:pt x="378" y="150"/>
                      <a:pt x="436" y="117"/>
                    </a:cubicBezTo>
                    <a:cubicBezTo>
                      <a:pt x="457" y="106"/>
                      <a:pt x="477" y="96"/>
                      <a:pt x="491" y="89"/>
                    </a:cubicBezTo>
                    <a:cubicBezTo>
                      <a:pt x="484" y="67"/>
                      <a:pt x="486" y="48"/>
                      <a:pt x="496" y="32"/>
                    </a:cubicBezTo>
                    <a:cubicBezTo>
                      <a:pt x="517" y="0"/>
                      <a:pt x="563" y="0"/>
                      <a:pt x="571" y="0"/>
                    </a:cubicBezTo>
                    <a:cubicBezTo>
                      <a:pt x="842" y="0"/>
                      <a:pt x="842" y="0"/>
                      <a:pt x="842" y="0"/>
                    </a:cubicBezTo>
                    <a:cubicBezTo>
                      <a:pt x="850" y="0"/>
                      <a:pt x="896" y="0"/>
                      <a:pt x="917" y="32"/>
                    </a:cubicBezTo>
                    <a:cubicBezTo>
                      <a:pt x="927" y="48"/>
                      <a:pt x="928" y="67"/>
                      <a:pt x="922" y="89"/>
                    </a:cubicBezTo>
                    <a:cubicBezTo>
                      <a:pt x="936" y="96"/>
                      <a:pt x="956" y="106"/>
                      <a:pt x="977" y="117"/>
                    </a:cubicBezTo>
                    <a:cubicBezTo>
                      <a:pt x="1035" y="150"/>
                      <a:pt x="1057" y="173"/>
                      <a:pt x="1053" y="197"/>
                    </a:cubicBezTo>
                    <a:cubicBezTo>
                      <a:pt x="1047" y="230"/>
                      <a:pt x="962" y="314"/>
                      <a:pt x="912" y="361"/>
                    </a:cubicBezTo>
                    <a:cubicBezTo>
                      <a:pt x="911" y="361"/>
                      <a:pt x="911" y="362"/>
                      <a:pt x="911" y="362"/>
                    </a:cubicBezTo>
                    <a:cubicBezTo>
                      <a:pt x="906" y="366"/>
                      <a:pt x="892" y="382"/>
                      <a:pt x="892" y="396"/>
                    </a:cubicBezTo>
                    <a:cubicBezTo>
                      <a:pt x="892" y="399"/>
                      <a:pt x="892" y="407"/>
                      <a:pt x="905" y="418"/>
                    </a:cubicBezTo>
                    <a:cubicBezTo>
                      <a:pt x="939" y="446"/>
                      <a:pt x="1061" y="560"/>
                      <a:pt x="1174" y="707"/>
                    </a:cubicBezTo>
                    <a:cubicBezTo>
                      <a:pt x="1218" y="763"/>
                      <a:pt x="1255" y="818"/>
                      <a:pt x="1287" y="872"/>
                    </a:cubicBezTo>
                    <a:cubicBezTo>
                      <a:pt x="1275" y="891"/>
                      <a:pt x="1270" y="910"/>
                      <a:pt x="1268" y="927"/>
                    </a:cubicBezTo>
                    <a:cubicBezTo>
                      <a:pt x="1127" y="669"/>
                      <a:pt x="881" y="455"/>
                      <a:pt x="877" y="452"/>
                    </a:cubicBezTo>
                    <a:cubicBezTo>
                      <a:pt x="854" y="432"/>
                      <a:pt x="848" y="411"/>
                      <a:pt x="848" y="396"/>
                    </a:cubicBezTo>
                    <a:cubicBezTo>
                      <a:pt x="848" y="360"/>
                      <a:pt x="877" y="333"/>
                      <a:pt x="882" y="329"/>
                    </a:cubicBezTo>
                    <a:cubicBezTo>
                      <a:pt x="936" y="278"/>
                      <a:pt x="997" y="214"/>
                      <a:pt x="1009" y="192"/>
                    </a:cubicBezTo>
                    <a:cubicBezTo>
                      <a:pt x="998" y="179"/>
                      <a:pt x="953" y="152"/>
                      <a:pt x="904" y="129"/>
                    </a:cubicBezTo>
                    <a:cubicBezTo>
                      <a:pt x="861" y="212"/>
                      <a:pt x="839" y="260"/>
                      <a:pt x="839" y="260"/>
                    </a:cubicBezTo>
                    <a:cubicBezTo>
                      <a:pt x="835" y="268"/>
                      <a:pt x="827" y="273"/>
                      <a:pt x="819" y="273"/>
                    </a:cubicBezTo>
                    <a:cubicBezTo>
                      <a:pt x="816" y="273"/>
                      <a:pt x="813" y="273"/>
                      <a:pt x="810" y="271"/>
                    </a:cubicBezTo>
                    <a:cubicBezTo>
                      <a:pt x="799" y="266"/>
                      <a:pt x="794" y="253"/>
                      <a:pt x="799" y="242"/>
                    </a:cubicBezTo>
                    <a:cubicBezTo>
                      <a:pt x="800" y="240"/>
                      <a:pt x="824" y="188"/>
                      <a:pt x="871" y="98"/>
                    </a:cubicBezTo>
                    <a:cubicBezTo>
                      <a:pt x="881" y="78"/>
                      <a:pt x="884" y="63"/>
                      <a:pt x="880" y="56"/>
                    </a:cubicBezTo>
                    <a:cubicBezTo>
                      <a:pt x="874" y="46"/>
                      <a:pt x="852" y="44"/>
                      <a:pt x="844" y="44"/>
                    </a:cubicBezTo>
                    <a:cubicBezTo>
                      <a:pt x="843" y="44"/>
                      <a:pt x="843" y="44"/>
                      <a:pt x="843" y="44"/>
                    </a:cubicBezTo>
                    <a:cubicBezTo>
                      <a:pt x="570" y="44"/>
                      <a:pt x="570" y="44"/>
                      <a:pt x="570" y="44"/>
                    </a:cubicBezTo>
                    <a:cubicBezTo>
                      <a:pt x="570" y="44"/>
                      <a:pt x="569" y="44"/>
                      <a:pt x="569" y="44"/>
                    </a:cubicBezTo>
                    <a:cubicBezTo>
                      <a:pt x="560" y="44"/>
                      <a:pt x="539" y="46"/>
                      <a:pt x="533" y="56"/>
                    </a:cubicBezTo>
                    <a:cubicBezTo>
                      <a:pt x="529" y="63"/>
                      <a:pt x="532" y="78"/>
                      <a:pt x="542" y="98"/>
                    </a:cubicBezTo>
                    <a:cubicBezTo>
                      <a:pt x="589" y="188"/>
                      <a:pt x="613" y="240"/>
                      <a:pt x="614" y="242"/>
                    </a:cubicBezTo>
                    <a:cubicBezTo>
                      <a:pt x="619" y="253"/>
                      <a:pt x="614" y="266"/>
                      <a:pt x="603" y="271"/>
                    </a:cubicBezTo>
                    <a:cubicBezTo>
                      <a:pt x="592" y="276"/>
                      <a:pt x="579" y="271"/>
                      <a:pt x="574" y="260"/>
                    </a:cubicBezTo>
                    <a:cubicBezTo>
                      <a:pt x="574" y="260"/>
                      <a:pt x="552" y="212"/>
                      <a:pt x="509" y="129"/>
                    </a:cubicBezTo>
                    <a:cubicBezTo>
                      <a:pt x="460" y="152"/>
                      <a:pt x="415" y="179"/>
                      <a:pt x="404" y="192"/>
                    </a:cubicBezTo>
                    <a:cubicBezTo>
                      <a:pt x="415" y="214"/>
                      <a:pt x="477" y="278"/>
                      <a:pt x="531" y="329"/>
                    </a:cubicBezTo>
                    <a:cubicBezTo>
                      <a:pt x="536" y="333"/>
                      <a:pt x="565" y="360"/>
                      <a:pt x="565" y="396"/>
                    </a:cubicBezTo>
                    <a:cubicBezTo>
                      <a:pt x="565" y="411"/>
                      <a:pt x="559" y="432"/>
                      <a:pt x="536" y="452"/>
                    </a:cubicBezTo>
                    <a:cubicBezTo>
                      <a:pt x="531" y="456"/>
                      <a:pt x="50" y="873"/>
                      <a:pt x="50" y="1246"/>
                    </a:cubicBezTo>
                    <a:cubicBezTo>
                      <a:pt x="50" y="1246"/>
                      <a:pt x="50" y="1247"/>
                      <a:pt x="50" y="1247"/>
                    </a:cubicBezTo>
                    <a:cubicBezTo>
                      <a:pt x="50" y="1248"/>
                      <a:pt x="42" y="1380"/>
                      <a:pt x="130" y="1473"/>
                    </a:cubicBezTo>
                    <a:cubicBezTo>
                      <a:pt x="189" y="1537"/>
                      <a:pt x="279" y="1569"/>
                      <a:pt x="397" y="1569"/>
                    </a:cubicBezTo>
                    <a:cubicBezTo>
                      <a:pt x="1016" y="1569"/>
                      <a:pt x="1016" y="1569"/>
                      <a:pt x="1016" y="1569"/>
                    </a:cubicBezTo>
                    <a:cubicBezTo>
                      <a:pt x="1022" y="1569"/>
                      <a:pt x="1028" y="1569"/>
                      <a:pt x="1034" y="1569"/>
                    </a:cubicBezTo>
                    <a:lnTo>
                      <a:pt x="1034" y="1613"/>
                    </a:lnTo>
                    <a:close/>
                    <a:moveTo>
                      <a:pt x="1631" y="1398"/>
                    </a:moveTo>
                    <a:cubicBezTo>
                      <a:pt x="1631" y="1618"/>
                      <a:pt x="1631" y="1618"/>
                      <a:pt x="1631" y="1618"/>
                    </a:cubicBezTo>
                    <a:cubicBezTo>
                      <a:pt x="1631" y="1658"/>
                      <a:pt x="1610" y="1711"/>
                      <a:pt x="1509" y="1736"/>
                    </a:cubicBezTo>
                    <a:cubicBezTo>
                      <a:pt x="1467" y="1746"/>
                      <a:pt x="1412" y="1752"/>
                      <a:pt x="1355" y="1752"/>
                    </a:cubicBezTo>
                    <a:cubicBezTo>
                      <a:pt x="1298" y="1752"/>
                      <a:pt x="1243" y="1746"/>
                      <a:pt x="1201" y="1736"/>
                    </a:cubicBezTo>
                    <a:cubicBezTo>
                      <a:pt x="1188" y="1733"/>
                      <a:pt x="1161" y="1726"/>
                      <a:pt x="1136" y="1712"/>
                    </a:cubicBezTo>
                    <a:cubicBezTo>
                      <a:pt x="1099" y="1690"/>
                      <a:pt x="1078" y="1657"/>
                      <a:pt x="1078" y="1618"/>
                    </a:cubicBezTo>
                    <a:cubicBezTo>
                      <a:pt x="1078" y="1398"/>
                      <a:pt x="1078" y="1398"/>
                      <a:pt x="1078" y="1398"/>
                    </a:cubicBezTo>
                    <a:cubicBezTo>
                      <a:pt x="1078" y="1358"/>
                      <a:pt x="1099" y="1305"/>
                      <a:pt x="1201" y="1280"/>
                    </a:cubicBezTo>
                    <a:cubicBezTo>
                      <a:pt x="1243" y="1270"/>
                      <a:pt x="1298" y="1264"/>
                      <a:pt x="1355" y="1264"/>
                    </a:cubicBezTo>
                    <a:cubicBezTo>
                      <a:pt x="1412" y="1264"/>
                      <a:pt x="1467" y="1270"/>
                      <a:pt x="1509" y="1280"/>
                    </a:cubicBezTo>
                    <a:cubicBezTo>
                      <a:pt x="1522" y="1283"/>
                      <a:pt x="1548" y="1290"/>
                      <a:pt x="1573" y="1304"/>
                    </a:cubicBezTo>
                    <a:cubicBezTo>
                      <a:pt x="1611" y="1326"/>
                      <a:pt x="1631" y="1360"/>
                      <a:pt x="1631" y="1398"/>
                    </a:cubicBezTo>
                    <a:close/>
                    <a:moveTo>
                      <a:pt x="1587" y="1398"/>
                    </a:moveTo>
                    <a:cubicBezTo>
                      <a:pt x="1587" y="1344"/>
                      <a:pt x="1520" y="1328"/>
                      <a:pt x="1498" y="1323"/>
                    </a:cubicBezTo>
                    <a:cubicBezTo>
                      <a:pt x="1459" y="1313"/>
                      <a:pt x="1408" y="1308"/>
                      <a:pt x="1355" y="1308"/>
                    </a:cubicBezTo>
                    <a:cubicBezTo>
                      <a:pt x="1301" y="1308"/>
                      <a:pt x="1250" y="1313"/>
                      <a:pt x="1211" y="1323"/>
                    </a:cubicBezTo>
                    <a:cubicBezTo>
                      <a:pt x="1189" y="1328"/>
                      <a:pt x="1122" y="1344"/>
                      <a:pt x="1122" y="1398"/>
                    </a:cubicBezTo>
                    <a:cubicBezTo>
                      <a:pt x="1122" y="1618"/>
                      <a:pt x="1122" y="1618"/>
                      <a:pt x="1122" y="1618"/>
                    </a:cubicBezTo>
                    <a:cubicBezTo>
                      <a:pt x="1122" y="1672"/>
                      <a:pt x="1189" y="1688"/>
                      <a:pt x="1211" y="1693"/>
                    </a:cubicBezTo>
                    <a:cubicBezTo>
                      <a:pt x="1250" y="1703"/>
                      <a:pt x="1301" y="1708"/>
                      <a:pt x="1355" y="1708"/>
                    </a:cubicBezTo>
                    <a:cubicBezTo>
                      <a:pt x="1408" y="1708"/>
                      <a:pt x="1459" y="1703"/>
                      <a:pt x="1498" y="1693"/>
                    </a:cubicBezTo>
                    <a:cubicBezTo>
                      <a:pt x="1520" y="1688"/>
                      <a:pt x="1587" y="1672"/>
                      <a:pt x="1587" y="1618"/>
                    </a:cubicBezTo>
                    <a:lnTo>
                      <a:pt x="1587" y="1398"/>
                    </a:lnTo>
                    <a:close/>
                    <a:moveTo>
                      <a:pt x="1806" y="853"/>
                    </a:moveTo>
                    <a:cubicBezTo>
                      <a:pt x="1781" y="838"/>
                      <a:pt x="1754" y="832"/>
                      <a:pt x="1741" y="828"/>
                    </a:cubicBezTo>
                    <a:cubicBezTo>
                      <a:pt x="1699" y="818"/>
                      <a:pt x="1644" y="812"/>
                      <a:pt x="1587" y="812"/>
                    </a:cubicBezTo>
                    <a:cubicBezTo>
                      <a:pt x="1530" y="812"/>
                      <a:pt x="1475" y="818"/>
                      <a:pt x="1433" y="828"/>
                    </a:cubicBezTo>
                    <a:cubicBezTo>
                      <a:pt x="1332" y="853"/>
                      <a:pt x="1311" y="906"/>
                      <a:pt x="1311" y="946"/>
                    </a:cubicBezTo>
                    <a:cubicBezTo>
                      <a:pt x="1311" y="1221"/>
                      <a:pt x="1311" y="1221"/>
                      <a:pt x="1311" y="1221"/>
                    </a:cubicBezTo>
                    <a:cubicBezTo>
                      <a:pt x="1325" y="1221"/>
                      <a:pt x="1340" y="1220"/>
                      <a:pt x="1355" y="1220"/>
                    </a:cubicBezTo>
                    <a:cubicBezTo>
                      <a:pt x="1355" y="1220"/>
                      <a:pt x="1355" y="1220"/>
                      <a:pt x="1355" y="1220"/>
                    </a:cubicBezTo>
                    <a:cubicBezTo>
                      <a:pt x="1355" y="946"/>
                      <a:pt x="1355" y="946"/>
                      <a:pt x="1355" y="946"/>
                    </a:cubicBezTo>
                    <a:cubicBezTo>
                      <a:pt x="1355" y="893"/>
                      <a:pt x="1422" y="877"/>
                      <a:pt x="1444" y="871"/>
                    </a:cubicBezTo>
                    <a:cubicBezTo>
                      <a:pt x="1482" y="862"/>
                      <a:pt x="1533" y="856"/>
                      <a:pt x="1587" y="856"/>
                    </a:cubicBezTo>
                    <a:cubicBezTo>
                      <a:pt x="1641" y="856"/>
                      <a:pt x="1692" y="862"/>
                      <a:pt x="1731" y="871"/>
                    </a:cubicBezTo>
                    <a:cubicBezTo>
                      <a:pt x="1753" y="877"/>
                      <a:pt x="1820" y="893"/>
                      <a:pt x="1820" y="946"/>
                    </a:cubicBezTo>
                    <a:cubicBezTo>
                      <a:pt x="1820" y="1505"/>
                      <a:pt x="1820" y="1505"/>
                      <a:pt x="1820" y="1505"/>
                    </a:cubicBezTo>
                    <a:cubicBezTo>
                      <a:pt x="1820" y="1558"/>
                      <a:pt x="1753" y="1575"/>
                      <a:pt x="1731" y="1580"/>
                    </a:cubicBezTo>
                    <a:cubicBezTo>
                      <a:pt x="1714" y="1584"/>
                      <a:pt x="1696" y="1587"/>
                      <a:pt x="1675" y="1590"/>
                    </a:cubicBezTo>
                    <a:cubicBezTo>
                      <a:pt x="1675" y="1618"/>
                      <a:pt x="1675" y="1618"/>
                      <a:pt x="1675" y="1618"/>
                    </a:cubicBezTo>
                    <a:cubicBezTo>
                      <a:pt x="1675" y="1623"/>
                      <a:pt x="1675" y="1628"/>
                      <a:pt x="1674" y="1634"/>
                    </a:cubicBezTo>
                    <a:cubicBezTo>
                      <a:pt x="1699" y="1631"/>
                      <a:pt x="1721" y="1628"/>
                      <a:pt x="1741" y="1623"/>
                    </a:cubicBezTo>
                    <a:cubicBezTo>
                      <a:pt x="1843" y="1598"/>
                      <a:pt x="1864" y="1545"/>
                      <a:pt x="1864" y="1505"/>
                    </a:cubicBezTo>
                    <a:cubicBezTo>
                      <a:pt x="1864" y="946"/>
                      <a:pt x="1864" y="946"/>
                      <a:pt x="1864" y="946"/>
                    </a:cubicBezTo>
                    <a:cubicBezTo>
                      <a:pt x="1864" y="908"/>
                      <a:pt x="1843" y="875"/>
                      <a:pt x="1806" y="85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4" name="Freeform 7">
                <a:extLst>
                  <a:ext uri="{FF2B5EF4-FFF2-40B4-BE49-F238E27FC236}">
                    <a16:creationId xmlns="" xmlns:a16="http://schemas.microsoft.com/office/drawing/2014/main" id="{E383ECDE-E767-4F2A-BC6F-349520F6FA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248" y="1230"/>
                <a:ext cx="3177" cy="2407"/>
              </a:xfrm>
              <a:custGeom>
                <a:avLst/>
                <a:gdLst>
                  <a:gd name="T0" fmla="*/ 936 w 1696"/>
                  <a:gd name="T1" fmla="*/ 1153 h 1284"/>
                  <a:gd name="T2" fmla="*/ 76 w 1696"/>
                  <a:gd name="T3" fmla="*/ 1069 h 1284"/>
                  <a:gd name="T4" fmla="*/ 6 w 1696"/>
                  <a:gd name="T5" fmla="*/ 866 h 1284"/>
                  <a:gd name="T6" fmla="*/ 479 w 1696"/>
                  <a:gd name="T7" fmla="*/ 99 h 1284"/>
                  <a:gd name="T8" fmla="*/ 520 w 1696"/>
                  <a:gd name="T9" fmla="*/ 3 h 1284"/>
                  <a:gd name="T10" fmla="*/ 733 w 1696"/>
                  <a:gd name="T11" fmla="*/ 3 h 1284"/>
                  <a:gd name="T12" fmla="*/ 774 w 1696"/>
                  <a:gd name="T13" fmla="*/ 99 h 1284"/>
                  <a:gd name="T14" fmla="*/ 1187 w 1696"/>
                  <a:gd name="T15" fmla="*/ 626 h 1284"/>
                  <a:gd name="T16" fmla="*/ 1110 w 1696"/>
                  <a:gd name="T17" fmla="*/ 857 h 1284"/>
                  <a:gd name="T18" fmla="*/ 954 w 1696"/>
                  <a:gd name="T19" fmla="*/ 1153 h 1284"/>
                  <a:gd name="T20" fmla="*/ 1651 w 1696"/>
                  <a:gd name="T21" fmla="*/ 754 h 1284"/>
                  <a:gd name="T22" fmla="*/ 1364 w 1696"/>
                  <a:gd name="T23" fmla="*/ 754 h 1284"/>
                  <a:gd name="T24" fmla="*/ 1319 w 1696"/>
                  <a:gd name="T25" fmla="*/ 788 h 1284"/>
                  <a:gd name="T26" fmla="*/ 1319 w 1696"/>
                  <a:gd name="T27" fmla="*/ 790 h 1284"/>
                  <a:gd name="T28" fmla="*/ 1507 w 1696"/>
                  <a:gd name="T29" fmla="*/ 836 h 1284"/>
                  <a:gd name="T30" fmla="*/ 1696 w 1696"/>
                  <a:gd name="T31" fmla="*/ 790 h 1284"/>
                  <a:gd name="T32" fmla="*/ 1696 w 1696"/>
                  <a:gd name="T33" fmla="*/ 788 h 1284"/>
                  <a:gd name="T34" fmla="*/ 1507 w 1696"/>
                  <a:gd name="T35" fmla="*/ 656 h 1284"/>
                  <a:gd name="T36" fmla="*/ 1319 w 1696"/>
                  <a:gd name="T37" fmla="*/ 626 h 1284"/>
                  <a:gd name="T38" fmla="*/ 1319 w 1696"/>
                  <a:gd name="T39" fmla="*/ 675 h 1284"/>
                  <a:gd name="T40" fmla="*/ 1319 w 1696"/>
                  <a:gd name="T41" fmla="*/ 678 h 1284"/>
                  <a:gd name="T42" fmla="*/ 1696 w 1696"/>
                  <a:gd name="T43" fmla="*/ 678 h 1284"/>
                  <a:gd name="T44" fmla="*/ 1695 w 1696"/>
                  <a:gd name="T45" fmla="*/ 675 h 1284"/>
                  <a:gd name="T46" fmla="*/ 1696 w 1696"/>
                  <a:gd name="T47" fmla="*/ 626 h 1284"/>
                  <a:gd name="T48" fmla="*/ 1507 w 1696"/>
                  <a:gd name="T49" fmla="*/ 656 h 1284"/>
                  <a:gd name="T50" fmla="*/ 1131 w 1696"/>
                  <a:gd name="T51" fmla="*/ 1091 h 1284"/>
                  <a:gd name="T52" fmla="*/ 1086 w 1696"/>
                  <a:gd name="T53" fmla="*/ 1125 h 1284"/>
                  <a:gd name="T54" fmla="*/ 1086 w 1696"/>
                  <a:gd name="T55" fmla="*/ 1128 h 1284"/>
                  <a:gd name="T56" fmla="*/ 1275 w 1696"/>
                  <a:gd name="T57" fmla="*/ 1174 h 1284"/>
                  <a:gd name="T58" fmla="*/ 1463 w 1696"/>
                  <a:gd name="T59" fmla="*/ 1128 h 1284"/>
                  <a:gd name="T60" fmla="*/ 1463 w 1696"/>
                  <a:gd name="T61" fmla="*/ 1125 h 1284"/>
                  <a:gd name="T62" fmla="*/ 1418 w 1696"/>
                  <a:gd name="T63" fmla="*/ 1091 h 1284"/>
                  <a:gd name="T64" fmla="*/ 1418 w 1696"/>
                  <a:gd name="T65" fmla="*/ 1203 h 1284"/>
                  <a:gd name="T66" fmla="*/ 1131 w 1696"/>
                  <a:gd name="T67" fmla="*/ 1203 h 1284"/>
                  <a:gd name="T68" fmla="*/ 1086 w 1696"/>
                  <a:gd name="T69" fmla="*/ 1237 h 1284"/>
                  <a:gd name="T70" fmla="*/ 1086 w 1696"/>
                  <a:gd name="T71" fmla="*/ 1239 h 1284"/>
                  <a:gd name="T72" fmla="*/ 1463 w 1696"/>
                  <a:gd name="T73" fmla="*/ 1239 h 1284"/>
                  <a:gd name="T74" fmla="*/ 1463 w 1696"/>
                  <a:gd name="T75" fmla="*/ 1237 h 1284"/>
                  <a:gd name="T76" fmla="*/ 1418 w 1696"/>
                  <a:gd name="T77" fmla="*/ 1203 h 1284"/>
                  <a:gd name="T78" fmla="*/ 1463 w 1696"/>
                  <a:gd name="T79" fmla="*/ 1017 h 1284"/>
                  <a:gd name="T80" fmla="*/ 1086 w 1696"/>
                  <a:gd name="T81" fmla="*/ 1017 h 1284"/>
                  <a:gd name="T82" fmla="*/ 1696 w 1696"/>
                  <a:gd name="T83" fmla="*/ 850 h 1284"/>
                  <a:gd name="T84" fmla="*/ 1507 w 1696"/>
                  <a:gd name="T85" fmla="*/ 880 h 1284"/>
                  <a:gd name="T86" fmla="*/ 1516 w 1696"/>
                  <a:gd name="T87" fmla="*/ 886 h 1284"/>
                  <a:gd name="T88" fmla="*/ 1696 w 1696"/>
                  <a:gd name="T89" fmla="*/ 903 h 1284"/>
                  <a:gd name="T90" fmla="*/ 1695 w 1696"/>
                  <a:gd name="T91" fmla="*/ 900 h 1284"/>
                  <a:gd name="T92" fmla="*/ 1696 w 1696"/>
                  <a:gd name="T93" fmla="*/ 850 h 1284"/>
                  <a:gd name="T94" fmla="*/ 1651 w 1696"/>
                  <a:gd name="T95" fmla="*/ 978 h 1284"/>
                  <a:gd name="T96" fmla="*/ 1595 w 1696"/>
                  <a:gd name="T97" fmla="*/ 1018 h 1284"/>
                  <a:gd name="T98" fmla="*/ 1696 w 1696"/>
                  <a:gd name="T99" fmla="*/ 1015 h 1284"/>
                  <a:gd name="T100" fmla="*/ 1695 w 1696"/>
                  <a:gd name="T101" fmla="*/ 1012 h 1284"/>
                  <a:gd name="T102" fmla="*/ 1696 w 1696"/>
                  <a:gd name="T103" fmla="*/ 962 h 1284"/>
                  <a:gd name="T104" fmla="*/ 1651 w 1696"/>
                  <a:gd name="T105" fmla="*/ 1090 h 1284"/>
                  <a:gd name="T106" fmla="*/ 1595 w 1696"/>
                  <a:gd name="T107" fmla="*/ 1165 h 1284"/>
                  <a:gd name="T108" fmla="*/ 1695 w 1696"/>
                  <a:gd name="T109" fmla="*/ 1124 h 1284"/>
                  <a:gd name="T110" fmla="*/ 1696 w 1696"/>
                  <a:gd name="T111" fmla="*/ 1074 h 1284"/>
                  <a:gd name="T112" fmla="*/ 1319 w 1696"/>
                  <a:gd name="T113" fmla="*/ 566 h 1284"/>
                  <a:gd name="T114" fmla="*/ 1507 w 1696"/>
                  <a:gd name="T115" fmla="*/ 612 h 1284"/>
                  <a:gd name="T116" fmla="*/ 1696 w 1696"/>
                  <a:gd name="T117" fmla="*/ 566 h 1284"/>
                  <a:gd name="T118" fmla="*/ 1695 w 1696"/>
                  <a:gd name="T119" fmla="*/ 563 h 1284"/>
                  <a:gd name="T120" fmla="*/ 1319 w 1696"/>
                  <a:gd name="T121" fmla="*/ 563 h 1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696" h="1284">
                    <a:moveTo>
                      <a:pt x="954" y="1153"/>
                    </a:moveTo>
                    <a:cubicBezTo>
                      <a:pt x="948" y="1153"/>
                      <a:pt x="942" y="1153"/>
                      <a:pt x="936" y="1153"/>
                    </a:cubicBezTo>
                    <a:cubicBezTo>
                      <a:pt x="317" y="1153"/>
                      <a:pt x="317" y="1153"/>
                      <a:pt x="317" y="1153"/>
                    </a:cubicBezTo>
                    <a:cubicBezTo>
                      <a:pt x="209" y="1153"/>
                      <a:pt x="128" y="1125"/>
                      <a:pt x="76" y="1069"/>
                    </a:cubicBezTo>
                    <a:cubicBezTo>
                      <a:pt x="0" y="988"/>
                      <a:pt x="6" y="870"/>
                      <a:pt x="6" y="870"/>
                    </a:cubicBezTo>
                    <a:cubicBezTo>
                      <a:pt x="6" y="868"/>
                      <a:pt x="6" y="867"/>
                      <a:pt x="6" y="866"/>
                    </a:cubicBezTo>
                    <a:cubicBezTo>
                      <a:pt x="6" y="729"/>
                      <a:pt x="80" y="559"/>
                      <a:pt x="222" y="376"/>
                    </a:cubicBezTo>
                    <a:cubicBezTo>
                      <a:pt x="330" y="234"/>
                      <a:pt x="447" y="126"/>
                      <a:pt x="479" y="99"/>
                    </a:cubicBezTo>
                    <a:cubicBezTo>
                      <a:pt x="505" y="77"/>
                      <a:pt x="520" y="48"/>
                      <a:pt x="520" y="17"/>
                    </a:cubicBezTo>
                    <a:cubicBezTo>
                      <a:pt x="521" y="12"/>
                      <a:pt x="520" y="8"/>
                      <a:pt x="520" y="3"/>
                    </a:cubicBezTo>
                    <a:cubicBezTo>
                      <a:pt x="552" y="1"/>
                      <a:pt x="589" y="0"/>
                      <a:pt x="630" y="0"/>
                    </a:cubicBezTo>
                    <a:cubicBezTo>
                      <a:pt x="668" y="0"/>
                      <a:pt x="703" y="1"/>
                      <a:pt x="733" y="3"/>
                    </a:cubicBezTo>
                    <a:cubicBezTo>
                      <a:pt x="733" y="7"/>
                      <a:pt x="732" y="12"/>
                      <a:pt x="732" y="17"/>
                    </a:cubicBezTo>
                    <a:cubicBezTo>
                      <a:pt x="733" y="48"/>
                      <a:pt x="748" y="77"/>
                      <a:pt x="774" y="99"/>
                    </a:cubicBezTo>
                    <a:cubicBezTo>
                      <a:pt x="806" y="126"/>
                      <a:pt x="922" y="234"/>
                      <a:pt x="1031" y="376"/>
                    </a:cubicBezTo>
                    <a:cubicBezTo>
                      <a:pt x="1098" y="463"/>
                      <a:pt x="1150" y="547"/>
                      <a:pt x="1187" y="626"/>
                    </a:cubicBezTo>
                    <a:cubicBezTo>
                      <a:pt x="1187" y="845"/>
                      <a:pt x="1187" y="845"/>
                      <a:pt x="1187" y="845"/>
                    </a:cubicBezTo>
                    <a:cubicBezTo>
                      <a:pt x="1159" y="847"/>
                      <a:pt x="1133" y="852"/>
                      <a:pt x="1110" y="857"/>
                    </a:cubicBezTo>
                    <a:cubicBezTo>
                      <a:pt x="974" y="890"/>
                      <a:pt x="954" y="972"/>
                      <a:pt x="954" y="1018"/>
                    </a:cubicBezTo>
                    <a:lnTo>
                      <a:pt x="954" y="1153"/>
                    </a:lnTo>
                    <a:close/>
                    <a:moveTo>
                      <a:pt x="1696" y="738"/>
                    </a:moveTo>
                    <a:cubicBezTo>
                      <a:pt x="1684" y="744"/>
                      <a:pt x="1669" y="749"/>
                      <a:pt x="1651" y="754"/>
                    </a:cubicBezTo>
                    <a:cubicBezTo>
                      <a:pt x="1612" y="763"/>
                      <a:pt x="1561" y="768"/>
                      <a:pt x="1507" y="768"/>
                    </a:cubicBezTo>
                    <a:cubicBezTo>
                      <a:pt x="1453" y="768"/>
                      <a:pt x="1402" y="763"/>
                      <a:pt x="1364" y="754"/>
                    </a:cubicBezTo>
                    <a:cubicBezTo>
                      <a:pt x="1346" y="749"/>
                      <a:pt x="1331" y="744"/>
                      <a:pt x="1319" y="738"/>
                    </a:cubicBezTo>
                    <a:cubicBezTo>
                      <a:pt x="1319" y="788"/>
                      <a:pt x="1319" y="788"/>
                      <a:pt x="1319" y="788"/>
                    </a:cubicBezTo>
                    <a:cubicBezTo>
                      <a:pt x="1319" y="788"/>
                      <a:pt x="1319" y="788"/>
                      <a:pt x="1319" y="788"/>
                    </a:cubicBezTo>
                    <a:cubicBezTo>
                      <a:pt x="1319" y="788"/>
                      <a:pt x="1319" y="789"/>
                      <a:pt x="1319" y="790"/>
                    </a:cubicBezTo>
                    <a:cubicBezTo>
                      <a:pt x="1319" y="790"/>
                      <a:pt x="1319" y="790"/>
                      <a:pt x="1319" y="790"/>
                    </a:cubicBezTo>
                    <a:cubicBezTo>
                      <a:pt x="1319" y="816"/>
                      <a:pt x="1403" y="836"/>
                      <a:pt x="1507" y="836"/>
                    </a:cubicBezTo>
                    <a:cubicBezTo>
                      <a:pt x="1611" y="836"/>
                      <a:pt x="1696" y="816"/>
                      <a:pt x="1696" y="790"/>
                    </a:cubicBezTo>
                    <a:cubicBezTo>
                      <a:pt x="1696" y="790"/>
                      <a:pt x="1696" y="790"/>
                      <a:pt x="1696" y="790"/>
                    </a:cubicBezTo>
                    <a:cubicBezTo>
                      <a:pt x="1696" y="789"/>
                      <a:pt x="1696" y="788"/>
                      <a:pt x="1695" y="788"/>
                    </a:cubicBezTo>
                    <a:cubicBezTo>
                      <a:pt x="1696" y="788"/>
                      <a:pt x="1696" y="788"/>
                      <a:pt x="1696" y="788"/>
                    </a:cubicBezTo>
                    <a:lnTo>
                      <a:pt x="1696" y="738"/>
                    </a:lnTo>
                    <a:close/>
                    <a:moveTo>
                      <a:pt x="1507" y="656"/>
                    </a:moveTo>
                    <a:cubicBezTo>
                      <a:pt x="1453" y="656"/>
                      <a:pt x="1402" y="651"/>
                      <a:pt x="1364" y="642"/>
                    </a:cubicBezTo>
                    <a:cubicBezTo>
                      <a:pt x="1346" y="637"/>
                      <a:pt x="1331" y="632"/>
                      <a:pt x="1319" y="626"/>
                    </a:cubicBezTo>
                    <a:cubicBezTo>
                      <a:pt x="1319" y="675"/>
                      <a:pt x="1319" y="675"/>
                      <a:pt x="1319" y="675"/>
                    </a:cubicBezTo>
                    <a:cubicBezTo>
                      <a:pt x="1319" y="675"/>
                      <a:pt x="1319" y="675"/>
                      <a:pt x="1319" y="675"/>
                    </a:cubicBezTo>
                    <a:cubicBezTo>
                      <a:pt x="1319" y="676"/>
                      <a:pt x="1319" y="677"/>
                      <a:pt x="1319" y="678"/>
                    </a:cubicBezTo>
                    <a:cubicBezTo>
                      <a:pt x="1319" y="678"/>
                      <a:pt x="1319" y="678"/>
                      <a:pt x="1319" y="678"/>
                    </a:cubicBezTo>
                    <a:cubicBezTo>
                      <a:pt x="1319" y="704"/>
                      <a:pt x="1403" y="724"/>
                      <a:pt x="1507" y="724"/>
                    </a:cubicBezTo>
                    <a:cubicBezTo>
                      <a:pt x="1611" y="724"/>
                      <a:pt x="1696" y="704"/>
                      <a:pt x="1696" y="678"/>
                    </a:cubicBezTo>
                    <a:cubicBezTo>
                      <a:pt x="1696" y="678"/>
                      <a:pt x="1696" y="678"/>
                      <a:pt x="1696" y="678"/>
                    </a:cubicBezTo>
                    <a:cubicBezTo>
                      <a:pt x="1696" y="677"/>
                      <a:pt x="1696" y="676"/>
                      <a:pt x="1695" y="675"/>
                    </a:cubicBezTo>
                    <a:cubicBezTo>
                      <a:pt x="1696" y="675"/>
                      <a:pt x="1696" y="675"/>
                      <a:pt x="1696" y="675"/>
                    </a:cubicBezTo>
                    <a:cubicBezTo>
                      <a:pt x="1696" y="626"/>
                      <a:pt x="1696" y="626"/>
                      <a:pt x="1696" y="626"/>
                    </a:cubicBezTo>
                    <a:cubicBezTo>
                      <a:pt x="1684" y="632"/>
                      <a:pt x="1669" y="637"/>
                      <a:pt x="1651" y="642"/>
                    </a:cubicBezTo>
                    <a:cubicBezTo>
                      <a:pt x="1612" y="651"/>
                      <a:pt x="1561" y="656"/>
                      <a:pt x="1507" y="656"/>
                    </a:cubicBezTo>
                    <a:close/>
                    <a:moveTo>
                      <a:pt x="1275" y="1106"/>
                    </a:moveTo>
                    <a:cubicBezTo>
                      <a:pt x="1221" y="1106"/>
                      <a:pt x="1170" y="1100"/>
                      <a:pt x="1131" y="1091"/>
                    </a:cubicBezTo>
                    <a:cubicBezTo>
                      <a:pt x="1113" y="1087"/>
                      <a:pt x="1098" y="1082"/>
                      <a:pt x="1086" y="1076"/>
                    </a:cubicBezTo>
                    <a:cubicBezTo>
                      <a:pt x="1086" y="1125"/>
                      <a:pt x="1086" y="1125"/>
                      <a:pt x="1086" y="1125"/>
                    </a:cubicBezTo>
                    <a:cubicBezTo>
                      <a:pt x="1087" y="1125"/>
                      <a:pt x="1087" y="1125"/>
                      <a:pt x="1087" y="1125"/>
                    </a:cubicBezTo>
                    <a:cubicBezTo>
                      <a:pt x="1086" y="1126"/>
                      <a:pt x="1086" y="1127"/>
                      <a:pt x="1086" y="1128"/>
                    </a:cubicBezTo>
                    <a:cubicBezTo>
                      <a:pt x="1086" y="1128"/>
                      <a:pt x="1086" y="1128"/>
                      <a:pt x="1086" y="1128"/>
                    </a:cubicBezTo>
                    <a:cubicBezTo>
                      <a:pt x="1086" y="1153"/>
                      <a:pt x="1171" y="1174"/>
                      <a:pt x="1275" y="1174"/>
                    </a:cubicBezTo>
                    <a:cubicBezTo>
                      <a:pt x="1379" y="1174"/>
                      <a:pt x="1463" y="1153"/>
                      <a:pt x="1463" y="1128"/>
                    </a:cubicBezTo>
                    <a:cubicBezTo>
                      <a:pt x="1463" y="1128"/>
                      <a:pt x="1463" y="1128"/>
                      <a:pt x="1463" y="1128"/>
                    </a:cubicBezTo>
                    <a:cubicBezTo>
                      <a:pt x="1463" y="1127"/>
                      <a:pt x="1463" y="1126"/>
                      <a:pt x="1463" y="1125"/>
                    </a:cubicBezTo>
                    <a:cubicBezTo>
                      <a:pt x="1463" y="1125"/>
                      <a:pt x="1463" y="1125"/>
                      <a:pt x="1463" y="1125"/>
                    </a:cubicBezTo>
                    <a:cubicBezTo>
                      <a:pt x="1463" y="1076"/>
                      <a:pt x="1463" y="1076"/>
                      <a:pt x="1463" y="1076"/>
                    </a:cubicBezTo>
                    <a:cubicBezTo>
                      <a:pt x="1451" y="1082"/>
                      <a:pt x="1436" y="1087"/>
                      <a:pt x="1418" y="1091"/>
                    </a:cubicBezTo>
                    <a:cubicBezTo>
                      <a:pt x="1379" y="1100"/>
                      <a:pt x="1328" y="1106"/>
                      <a:pt x="1275" y="1106"/>
                    </a:cubicBezTo>
                    <a:close/>
                    <a:moveTo>
                      <a:pt x="1418" y="1203"/>
                    </a:moveTo>
                    <a:cubicBezTo>
                      <a:pt x="1379" y="1213"/>
                      <a:pt x="1328" y="1218"/>
                      <a:pt x="1275" y="1218"/>
                    </a:cubicBezTo>
                    <a:cubicBezTo>
                      <a:pt x="1221" y="1218"/>
                      <a:pt x="1170" y="1213"/>
                      <a:pt x="1131" y="1203"/>
                    </a:cubicBezTo>
                    <a:cubicBezTo>
                      <a:pt x="1113" y="1199"/>
                      <a:pt x="1098" y="1194"/>
                      <a:pt x="1086" y="1188"/>
                    </a:cubicBezTo>
                    <a:cubicBezTo>
                      <a:pt x="1086" y="1237"/>
                      <a:pt x="1086" y="1237"/>
                      <a:pt x="1086" y="1237"/>
                    </a:cubicBezTo>
                    <a:cubicBezTo>
                      <a:pt x="1087" y="1237"/>
                      <a:pt x="1087" y="1237"/>
                      <a:pt x="1087" y="1237"/>
                    </a:cubicBezTo>
                    <a:cubicBezTo>
                      <a:pt x="1086" y="1238"/>
                      <a:pt x="1086" y="1238"/>
                      <a:pt x="1086" y="1239"/>
                    </a:cubicBezTo>
                    <a:cubicBezTo>
                      <a:pt x="1088" y="1264"/>
                      <a:pt x="1172" y="1284"/>
                      <a:pt x="1275" y="1284"/>
                    </a:cubicBezTo>
                    <a:cubicBezTo>
                      <a:pt x="1378" y="1284"/>
                      <a:pt x="1461" y="1264"/>
                      <a:pt x="1463" y="1239"/>
                    </a:cubicBezTo>
                    <a:cubicBezTo>
                      <a:pt x="1463" y="1238"/>
                      <a:pt x="1463" y="1238"/>
                      <a:pt x="1463" y="1237"/>
                    </a:cubicBezTo>
                    <a:cubicBezTo>
                      <a:pt x="1463" y="1237"/>
                      <a:pt x="1463" y="1237"/>
                      <a:pt x="1463" y="1237"/>
                    </a:cubicBezTo>
                    <a:cubicBezTo>
                      <a:pt x="1463" y="1188"/>
                      <a:pt x="1463" y="1188"/>
                      <a:pt x="1463" y="1188"/>
                    </a:cubicBezTo>
                    <a:cubicBezTo>
                      <a:pt x="1451" y="1194"/>
                      <a:pt x="1436" y="1199"/>
                      <a:pt x="1418" y="1203"/>
                    </a:cubicBezTo>
                    <a:close/>
                    <a:moveTo>
                      <a:pt x="1275" y="1062"/>
                    </a:moveTo>
                    <a:cubicBezTo>
                      <a:pt x="1377" y="1062"/>
                      <a:pt x="1461" y="1042"/>
                      <a:pt x="1463" y="1017"/>
                    </a:cubicBezTo>
                    <a:cubicBezTo>
                      <a:pt x="1461" y="992"/>
                      <a:pt x="1377" y="972"/>
                      <a:pt x="1275" y="972"/>
                    </a:cubicBezTo>
                    <a:cubicBezTo>
                      <a:pt x="1172" y="972"/>
                      <a:pt x="1089" y="992"/>
                      <a:pt x="1086" y="1017"/>
                    </a:cubicBezTo>
                    <a:cubicBezTo>
                      <a:pt x="1089" y="1042"/>
                      <a:pt x="1172" y="1062"/>
                      <a:pt x="1275" y="1062"/>
                    </a:cubicBezTo>
                    <a:close/>
                    <a:moveTo>
                      <a:pt x="1696" y="850"/>
                    </a:moveTo>
                    <a:cubicBezTo>
                      <a:pt x="1684" y="856"/>
                      <a:pt x="1669" y="861"/>
                      <a:pt x="1651" y="866"/>
                    </a:cubicBezTo>
                    <a:cubicBezTo>
                      <a:pt x="1612" y="875"/>
                      <a:pt x="1561" y="880"/>
                      <a:pt x="1507" y="880"/>
                    </a:cubicBezTo>
                    <a:cubicBezTo>
                      <a:pt x="1506" y="880"/>
                      <a:pt x="1505" y="880"/>
                      <a:pt x="1504" y="880"/>
                    </a:cubicBezTo>
                    <a:cubicBezTo>
                      <a:pt x="1508" y="882"/>
                      <a:pt x="1512" y="884"/>
                      <a:pt x="1516" y="886"/>
                    </a:cubicBezTo>
                    <a:cubicBezTo>
                      <a:pt x="1542" y="902"/>
                      <a:pt x="1562" y="922"/>
                      <a:pt x="1576" y="945"/>
                    </a:cubicBezTo>
                    <a:cubicBezTo>
                      <a:pt x="1646" y="939"/>
                      <a:pt x="1696" y="922"/>
                      <a:pt x="1696" y="903"/>
                    </a:cubicBezTo>
                    <a:cubicBezTo>
                      <a:pt x="1696" y="903"/>
                      <a:pt x="1696" y="903"/>
                      <a:pt x="1696" y="903"/>
                    </a:cubicBezTo>
                    <a:cubicBezTo>
                      <a:pt x="1696" y="902"/>
                      <a:pt x="1696" y="901"/>
                      <a:pt x="1695" y="900"/>
                    </a:cubicBezTo>
                    <a:cubicBezTo>
                      <a:pt x="1696" y="900"/>
                      <a:pt x="1696" y="900"/>
                      <a:pt x="1696" y="900"/>
                    </a:cubicBezTo>
                    <a:lnTo>
                      <a:pt x="1696" y="850"/>
                    </a:lnTo>
                    <a:close/>
                    <a:moveTo>
                      <a:pt x="1696" y="962"/>
                    </a:moveTo>
                    <a:cubicBezTo>
                      <a:pt x="1684" y="968"/>
                      <a:pt x="1669" y="973"/>
                      <a:pt x="1651" y="978"/>
                    </a:cubicBezTo>
                    <a:cubicBezTo>
                      <a:pt x="1634" y="982"/>
                      <a:pt x="1614" y="985"/>
                      <a:pt x="1592" y="988"/>
                    </a:cubicBezTo>
                    <a:cubicBezTo>
                      <a:pt x="1594" y="998"/>
                      <a:pt x="1595" y="1008"/>
                      <a:pt x="1595" y="1018"/>
                    </a:cubicBezTo>
                    <a:cubicBezTo>
                      <a:pt x="1595" y="1055"/>
                      <a:pt x="1595" y="1055"/>
                      <a:pt x="1595" y="1055"/>
                    </a:cubicBezTo>
                    <a:cubicBezTo>
                      <a:pt x="1655" y="1047"/>
                      <a:pt x="1696" y="1032"/>
                      <a:pt x="1696" y="1015"/>
                    </a:cubicBezTo>
                    <a:cubicBezTo>
                      <a:pt x="1696" y="1015"/>
                      <a:pt x="1696" y="1015"/>
                      <a:pt x="1696" y="1015"/>
                    </a:cubicBezTo>
                    <a:cubicBezTo>
                      <a:pt x="1696" y="1014"/>
                      <a:pt x="1696" y="1013"/>
                      <a:pt x="1695" y="1012"/>
                    </a:cubicBezTo>
                    <a:cubicBezTo>
                      <a:pt x="1696" y="1012"/>
                      <a:pt x="1696" y="1012"/>
                      <a:pt x="1696" y="1012"/>
                    </a:cubicBezTo>
                    <a:lnTo>
                      <a:pt x="1696" y="962"/>
                    </a:lnTo>
                    <a:close/>
                    <a:moveTo>
                      <a:pt x="1696" y="1074"/>
                    </a:moveTo>
                    <a:cubicBezTo>
                      <a:pt x="1684" y="1080"/>
                      <a:pt x="1669" y="1085"/>
                      <a:pt x="1651" y="1090"/>
                    </a:cubicBezTo>
                    <a:cubicBezTo>
                      <a:pt x="1634" y="1094"/>
                      <a:pt x="1616" y="1097"/>
                      <a:pt x="1595" y="1099"/>
                    </a:cubicBezTo>
                    <a:cubicBezTo>
                      <a:pt x="1595" y="1165"/>
                      <a:pt x="1595" y="1165"/>
                      <a:pt x="1595" y="1165"/>
                    </a:cubicBezTo>
                    <a:cubicBezTo>
                      <a:pt x="1654" y="1158"/>
                      <a:pt x="1695" y="1143"/>
                      <a:pt x="1696" y="1126"/>
                    </a:cubicBezTo>
                    <a:cubicBezTo>
                      <a:pt x="1696" y="1125"/>
                      <a:pt x="1696" y="1124"/>
                      <a:pt x="1695" y="1124"/>
                    </a:cubicBezTo>
                    <a:cubicBezTo>
                      <a:pt x="1696" y="1124"/>
                      <a:pt x="1696" y="1124"/>
                      <a:pt x="1696" y="1124"/>
                    </a:cubicBezTo>
                    <a:lnTo>
                      <a:pt x="1696" y="1074"/>
                    </a:lnTo>
                    <a:close/>
                    <a:moveTo>
                      <a:pt x="1319" y="565"/>
                    </a:moveTo>
                    <a:cubicBezTo>
                      <a:pt x="1319" y="565"/>
                      <a:pt x="1319" y="566"/>
                      <a:pt x="1319" y="566"/>
                    </a:cubicBezTo>
                    <a:cubicBezTo>
                      <a:pt x="1319" y="566"/>
                      <a:pt x="1319" y="566"/>
                      <a:pt x="1319" y="566"/>
                    </a:cubicBezTo>
                    <a:cubicBezTo>
                      <a:pt x="1319" y="592"/>
                      <a:pt x="1403" y="612"/>
                      <a:pt x="1507" y="612"/>
                    </a:cubicBezTo>
                    <a:cubicBezTo>
                      <a:pt x="1611" y="612"/>
                      <a:pt x="1696" y="592"/>
                      <a:pt x="1696" y="566"/>
                    </a:cubicBezTo>
                    <a:cubicBezTo>
                      <a:pt x="1696" y="566"/>
                      <a:pt x="1696" y="566"/>
                      <a:pt x="1696" y="566"/>
                    </a:cubicBezTo>
                    <a:cubicBezTo>
                      <a:pt x="1696" y="566"/>
                      <a:pt x="1696" y="565"/>
                      <a:pt x="1696" y="565"/>
                    </a:cubicBezTo>
                    <a:cubicBezTo>
                      <a:pt x="1696" y="564"/>
                      <a:pt x="1695" y="564"/>
                      <a:pt x="1695" y="563"/>
                    </a:cubicBezTo>
                    <a:cubicBezTo>
                      <a:pt x="1689" y="539"/>
                      <a:pt x="1607" y="520"/>
                      <a:pt x="1507" y="520"/>
                    </a:cubicBezTo>
                    <a:cubicBezTo>
                      <a:pt x="1407" y="520"/>
                      <a:pt x="1325" y="539"/>
                      <a:pt x="1319" y="563"/>
                    </a:cubicBezTo>
                    <a:cubicBezTo>
                      <a:pt x="1319" y="564"/>
                      <a:pt x="1319" y="564"/>
                      <a:pt x="1319" y="56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135" name="TextBox 134"/>
          <p:cNvSpPr txBox="1"/>
          <p:nvPr/>
        </p:nvSpPr>
        <p:spPr>
          <a:xfrm>
            <a:off x="8089878" y="4512292"/>
            <a:ext cx="1559873" cy="28498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 dirty="0">
                <a:solidFill>
                  <a:srgbClr val="1F41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ategic agenda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7842510" y="4507345"/>
            <a:ext cx="285418" cy="294882"/>
            <a:chOff x="9411012" y="5432771"/>
            <a:chExt cx="342502" cy="353858"/>
          </a:xfrm>
        </p:grpSpPr>
        <p:sp>
          <p:nvSpPr>
            <p:cNvPr id="137" name="Oval 20"/>
            <p:cNvSpPr>
              <a:spLocks noChangeAspect="1" noChangeArrowheads="1"/>
            </p:cNvSpPr>
            <p:nvPr/>
          </p:nvSpPr>
          <p:spPr bwMode="auto">
            <a:xfrm>
              <a:off x="9411012" y="5432771"/>
              <a:ext cx="342502" cy="353858"/>
            </a:xfrm>
            <a:prstGeom prst="ellipse">
              <a:avLst/>
            </a:prstGeom>
            <a:solidFill>
              <a:srgbClr val="1F4174"/>
            </a:solidFill>
          </p:spPr>
          <p:txBody>
            <a:bodyPr wrap="square" lIns="0" tIns="0" rIns="0" bIns="0" rtlCol="0"/>
            <a:lstStyle/>
            <a:p>
              <a:pPr hangingPunct="1"/>
              <a:endParaRPr lang="en-US" sz="125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38" name="bcgIcons_Target">
              <a:extLst>
                <a:ext uri="{FF2B5EF4-FFF2-40B4-BE49-F238E27FC236}">
                  <a16:creationId xmlns="" xmlns:a16="http://schemas.microsoft.com/office/drawing/2014/main" id="{02916922-81B1-4399-BF36-3FC0C6969C4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9425476" y="5451078"/>
              <a:ext cx="300667" cy="310923"/>
              <a:chOff x="1682" y="0"/>
              <a:chExt cx="4316" cy="4320"/>
            </a:xfrm>
          </p:grpSpPr>
          <p:sp>
            <p:nvSpPr>
              <p:cNvPr id="139" name="AutoShape 23">
                <a:extLst>
                  <a:ext uri="{FF2B5EF4-FFF2-40B4-BE49-F238E27FC236}">
                    <a16:creationId xmlns="" xmlns:a16="http://schemas.microsoft.com/office/drawing/2014/main" id="{89F4D31F-87B6-4E69-917E-65E2F97982B6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0" name="Freeform 25">
                <a:extLst>
                  <a:ext uri="{FF2B5EF4-FFF2-40B4-BE49-F238E27FC236}">
                    <a16:creationId xmlns="" xmlns:a16="http://schemas.microsoft.com/office/drawing/2014/main" id="{FA0FD38E-7CA9-4ECE-9013-798D4E40C5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82" y="838"/>
                <a:ext cx="1832" cy="1367"/>
              </a:xfrm>
              <a:custGeom>
                <a:avLst/>
                <a:gdLst>
                  <a:gd name="T0" fmla="*/ 25 w 978"/>
                  <a:gd name="T1" fmla="*/ 729 h 729"/>
                  <a:gd name="T2" fmla="*/ 7 w 978"/>
                  <a:gd name="T3" fmla="*/ 719 h 729"/>
                  <a:gd name="T4" fmla="*/ 13 w 978"/>
                  <a:gd name="T5" fmla="*/ 689 h 729"/>
                  <a:gd name="T6" fmla="*/ 888 w 978"/>
                  <a:gd name="T7" fmla="*/ 86 h 729"/>
                  <a:gd name="T8" fmla="*/ 919 w 978"/>
                  <a:gd name="T9" fmla="*/ 91 h 729"/>
                  <a:gd name="T10" fmla="*/ 913 w 978"/>
                  <a:gd name="T11" fmla="*/ 122 h 729"/>
                  <a:gd name="T12" fmla="*/ 38 w 978"/>
                  <a:gd name="T13" fmla="*/ 725 h 729"/>
                  <a:gd name="T14" fmla="*/ 25 w 978"/>
                  <a:gd name="T15" fmla="*/ 729 h 729"/>
                  <a:gd name="T16" fmla="*/ 578 w 978"/>
                  <a:gd name="T17" fmla="*/ 254 h 729"/>
                  <a:gd name="T18" fmla="*/ 586 w 978"/>
                  <a:gd name="T19" fmla="*/ 258 h 729"/>
                  <a:gd name="T20" fmla="*/ 825 w 978"/>
                  <a:gd name="T21" fmla="*/ 93 h 729"/>
                  <a:gd name="T22" fmla="*/ 826 w 978"/>
                  <a:gd name="T23" fmla="*/ 91 h 729"/>
                  <a:gd name="T24" fmla="*/ 849 w 978"/>
                  <a:gd name="T25" fmla="*/ 8 h 729"/>
                  <a:gd name="T26" fmla="*/ 841 w 978"/>
                  <a:gd name="T27" fmla="*/ 3 h 729"/>
                  <a:gd name="T28" fmla="*/ 602 w 978"/>
                  <a:gd name="T29" fmla="*/ 166 h 729"/>
                  <a:gd name="T30" fmla="*/ 599 w 978"/>
                  <a:gd name="T31" fmla="*/ 171 h 729"/>
                  <a:gd name="T32" fmla="*/ 578 w 978"/>
                  <a:gd name="T33" fmla="*/ 254 h 729"/>
                  <a:gd name="T34" fmla="*/ 646 w 978"/>
                  <a:gd name="T35" fmla="*/ 352 h 729"/>
                  <a:gd name="T36" fmla="*/ 730 w 978"/>
                  <a:gd name="T37" fmla="*/ 362 h 729"/>
                  <a:gd name="T38" fmla="*/ 736 w 978"/>
                  <a:gd name="T39" fmla="*/ 361 h 729"/>
                  <a:gd name="T40" fmla="*/ 974 w 978"/>
                  <a:gd name="T41" fmla="*/ 196 h 729"/>
                  <a:gd name="T42" fmla="*/ 972 w 978"/>
                  <a:gd name="T43" fmla="*/ 187 h 729"/>
                  <a:gd name="T44" fmla="*/ 886 w 978"/>
                  <a:gd name="T45" fmla="*/ 179 h 729"/>
                  <a:gd name="T46" fmla="*/ 884 w 978"/>
                  <a:gd name="T47" fmla="*/ 179 h 729"/>
                  <a:gd name="T48" fmla="*/ 644 w 978"/>
                  <a:gd name="T49" fmla="*/ 343 h 729"/>
                  <a:gd name="T50" fmla="*/ 646 w 978"/>
                  <a:gd name="T51" fmla="*/ 352 h 7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978" h="729">
                    <a:moveTo>
                      <a:pt x="25" y="729"/>
                    </a:moveTo>
                    <a:cubicBezTo>
                      <a:pt x="18" y="729"/>
                      <a:pt x="11" y="726"/>
                      <a:pt x="7" y="719"/>
                    </a:cubicBezTo>
                    <a:cubicBezTo>
                      <a:pt x="0" y="709"/>
                      <a:pt x="3" y="696"/>
                      <a:pt x="13" y="689"/>
                    </a:cubicBezTo>
                    <a:cubicBezTo>
                      <a:pt x="888" y="86"/>
                      <a:pt x="888" y="86"/>
                      <a:pt x="888" y="86"/>
                    </a:cubicBezTo>
                    <a:cubicBezTo>
                      <a:pt x="898" y="79"/>
                      <a:pt x="912" y="81"/>
                      <a:pt x="919" y="91"/>
                    </a:cubicBezTo>
                    <a:cubicBezTo>
                      <a:pt x="926" y="101"/>
                      <a:pt x="923" y="115"/>
                      <a:pt x="913" y="122"/>
                    </a:cubicBezTo>
                    <a:cubicBezTo>
                      <a:pt x="38" y="725"/>
                      <a:pt x="38" y="725"/>
                      <a:pt x="38" y="725"/>
                    </a:cubicBezTo>
                    <a:cubicBezTo>
                      <a:pt x="34" y="728"/>
                      <a:pt x="30" y="729"/>
                      <a:pt x="25" y="729"/>
                    </a:cubicBezTo>
                    <a:close/>
                    <a:moveTo>
                      <a:pt x="578" y="254"/>
                    </a:moveTo>
                    <a:cubicBezTo>
                      <a:pt x="577" y="258"/>
                      <a:pt x="582" y="259"/>
                      <a:pt x="586" y="258"/>
                    </a:cubicBezTo>
                    <a:cubicBezTo>
                      <a:pt x="586" y="258"/>
                      <a:pt x="586" y="258"/>
                      <a:pt x="825" y="93"/>
                    </a:cubicBezTo>
                    <a:cubicBezTo>
                      <a:pt x="826" y="93"/>
                      <a:pt x="826" y="93"/>
                      <a:pt x="826" y="91"/>
                    </a:cubicBezTo>
                    <a:cubicBezTo>
                      <a:pt x="826" y="91"/>
                      <a:pt x="826" y="91"/>
                      <a:pt x="849" y="8"/>
                    </a:cubicBezTo>
                    <a:cubicBezTo>
                      <a:pt x="850" y="3"/>
                      <a:pt x="845" y="0"/>
                      <a:pt x="841" y="3"/>
                    </a:cubicBezTo>
                    <a:cubicBezTo>
                      <a:pt x="841" y="3"/>
                      <a:pt x="841" y="3"/>
                      <a:pt x="602" y="166"/>
                    </a:cubicBezTo>
                    <a:cubicBezTo>
                      <a:pt x="601" y="168"/>
                      <a:pt x="601" y="168"/>
                      <a:pt x="599" y="171"/>
                    </a:cubicBezTo>
                    <a:cubicBezTo>
                      <a:pt x="599" y="171"/>
                      <a:pt x="599" y="171"/>
                      <a:pt x="578" y="254"/>
                    </a:cubicBezTo>
                    <a:close/>
                    <a:moveTo>
                      <a:pt x="646" y="352"/>
                    </a:moveTo>
                    <a:cubicBezTo>
                      <a:pt x="730" y="362"/>
                      <a:pt x="730" y="362"/>
                      <a:pt x="730" y="362"/>
                    </a:cubicBezTo>
                    <a:cubicBezTo>
                      <a:pt x="734" y="361"/>
                      <a:pt x="734" y="361"/>
                      <a:pt x="736" y="361"/>
                    </a:cubicBezTo>
                    <a:cubicBezTo>
                      <a:pt x="974" y="196"/>
                      <a:pt x="974" y="196"/>
                      <a:pt x="974" y="196"/>
                    </a:cubicBezTo>
                    <a:cubicBezTo>
                      <a:pt x="978" y="194"/>
                      <a:pt x="978" y="187"/>
                      <a:pt x="972" y="187"/>
                    </a:cubicBezTo>
                    <a:cubicBezTo>
                      <a:pt x="886" y="179"/>
                      <a:pt x="886" y="179"/>
                      <a:pt x="886" y="179"/>
                    </a:cubicBezTo>
                    <a:cubicBezTo>
                      <a:pt x="884" y="177"/>
                      <a:pt x="884" y="177"/>
                      <a:pt x="884" y="179"/>
                    </a:cubicBezTo>
                    <a:cubicBezTo>
                      <a:pt x="644" y="343"/>
                      <a:pt x="644" y="343"/>
                      <a:pt x="644" y="343"/>
                    </a:cubicBezTo>
                    <a:cubicBezTo>
                      <a:pt x="642" y="347"/>
                      <a:pt x="642" y="351"/>
                      <a:pt x="646" y="35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1" name="Freeform 26">
                <a:extLst>
                  <a:ext uri="{FF2B5EF4-FFF2-40B4-BE49-F238E27FC236}">
                    <a16:creationId xmlns="" xmlns:a16="http://schemas.microsoft.com/office/drawing/2014/main" id="{F562C458-32E3-43E7-BAF7-B4773D3C4A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22" y="756"/>
                <a:ext cx="2814" cy="2816"/>
              </a:xfrm>
              <a:custGeom>
                <a:avLst/>
                <a:gdLst>
                  <a:gd name="T0" fmla="*/ 1016 w 1502"/>
                  <a:gd name="T1" fmla="*/ 662 h 1502"/>
                  <a:gd name="T2" fmla="*/ 1030 w 1502"/>
                  <a:gd name="T3" fmla="*/ 751 h 1502"/>
                  <a:gd name="T4" fmla="*/ 751 w 1502"/>
                  <a:gd name="T5" fmla="*/ 1030 h 1502"/>
                  <a:gd name="T6" fmla="*/ 472 w 1502"/>
                  <a:gd name="T7" fmla="*/ 751 h 1502"/>
                  <a:gd name="T8" fmla="*/ 751 w 1502"/>
                  <a:gd name="T9" fmla="*/ 472 h 1502"/>
                  <a:gd name="T10" fmla="*/ 929 w 1502"/>
                  <a:gd name="T11" fmla="*/ 536 h 1502"/>
                  <a:gd name="T12" fmla="*/ 819 w 1502"/>
                  <a:gd name="T13" fmla="*/ 611 h 1502"/>
                  <a:gd name="T14" fmla="*/ 751 w 1502"/>
                  <a:gd name="T15" fmla="*/ 596 h 1502"/>
                  <a:gd name="T16" fmla="*/ 596 w 1502"/>
                  <a:gd name="T17" fmla="*/ 751 h 1502"/>
                  <a:gd name="T18" fmla="*/ 751 w 1502"/>
                  <a:gd name="T19" fmla="*/ 906 h 1502"/>
                  <a:gd name="T20" fmla="*/ 906 w 1502"/>
                  <a:gd name="T21" fmla="*/ 751 h 1502"/>
                  <a:gd name="T22" fmla="*/ 906 w 1502"/>
                  <a:gd name="T23" fmla="*/ 738 h 1502"/>
                  <a:gd name="T24" fmla="*/ 1016 w 1502"/>
                  <a:gd name="T25" fmla="*/ 662 h 1502"/>
                  <a:gd name="T26" fmla="*/ 1107 w 1502"/>
                  <a:gd name="T27" fmla="*/ 599 h 1502"/>
                  <a:gd name="T28" fmla="*/ 1138 w 1502"/>
                  <a:gd name="T29" fmla="*/ 751 h 1502"/>
                  <a:gd name="T30" fmla="*/ 751 w 1502"/>
                  <a:gd name="T31" fmla="*/ 1138 h 1502"/>
                  <a:gd name="T32" fmla="*/ 364 w 1502"/>
                  <a:gd name="T33" fmla="*/ 751 h 1502"/>
                  <a:gd name="T34" fmla="*/ 751 w 1502"/>
                  <a:gd name="T35" fmla="*/ 364 h 1502"/>
                  <a:gd name="T36" fmla="*/ 1020 w 1502"/>
                  <a:gd name="T37" fmla="*/ 473 h 1502"/>
                  <a:gd name="T38" fmla="*/ 1124 w 1502"/>
                  <a:gd name="T39" fmla="*/ 401 h 1502"/>
                  <a:gd name="T40" fmla="*/ 751 w 1502"/>
                  <a:gd name="T41" fmla="*/ 240 h 1502"/>
                  <a:gd name="T42" fmla="*/ 240 w 1502"/>
                  <a:gd name="T43" fmla="*/ 751 h 1502"/>
                  <a:gd name="T44" fmla="*/ 751 w 1502"/>
                  <a:gd name="T45" fmla="*/ 1262 h 1502"/>
                  <a:gd name="T46" fmla="*/ 1262 w 1502"/>
                  <a:gd name="T47" fmla="*/ 751 h 1502"/>
                  <a:gd name="T48" fmla="*/ 1211 w 1502"/>
                  <a:gd name="T49" fmla="*/ 528 h 1502"/>
                  <a:gd name="T50" fmla="*/ 1107 w 1502"/>
                  <a:gd name="T51" fmla="*/ 599 h 1502"/>
                  <a:gd name="T52" fmla="*/ 1333 w 1502"/>
                  <a:gd name="T53" fmla="*/ 443 h 1502"/>
                  <a:gd name="T54" fmla="*/ 1307 w 1502"/>
                  <a:gd name="T55" fmla="*/ 461 h 1502"/>
                  <a:gd name="T56" fmla="*/ 1378 w 1502"/>
                  <a:gd name="T57" fmla="*/ 751 h 1502"/>
                  <a:gd name="T58" fmla="*/ 751 w 1502"/>
                  <a:gd name="T59" fmla="*/ 1378 h 1502"/>
                  <a:gd name="T60" fmla="*/ 124 w 1502"/>
                  <a:gd name="T61" fmla="*/ 751 h 1502"/>
                  <a:gd name="T62" fmla="*/ 751 w 1502"/>
                  <a:gd name="T63" fmla="*/ 124 h 1502"/>
                  <a:gd name="T64" fmla="*/ 1220 w 1502"/>
                  <a:gd name="T65" fmla="*/ 335 h 1502"/>
                  <a:gd name="T66" fmla="*/ 1246 w 1502"/>
                  <a:gd name="T67" fmla="*/ 317 h 1502"/>
                  <a:gd name="T68" fmla="*/ 1273 w 1502"/>
                  <a:gd name="T69" fmla="*/ 211 h 1502"/>
                  <a:gd name="T70" fmla="*/ 751 w 1502"/>
                  <a:gd name="T71" fmla="*/ 0 h 1502"/>
                  <a:gd name="T72" fmla="*/ 0 w 1502"/>
                  <a:gd name="T73" fmla="*/ 751 h 1502"/>
                  <a:gd name="T74" fmla="*/ 751 w 1502"/>
                  <a:gd name="T75" fmla="*/ 1502 h 1502"/>
                  <a:gd name="T76" fmla="*/ 1502 w 1502"/>
                  <a:gd name="T77" fmla="*/ 751 h 1502"/>
                  <a:gd name="T78" fmla="*/ 1442 w 1502"/>
                  <a:gd name="T79" fmla="*/ 456 h 1502"/>
                  <a:gd name="T80" fmla="*/ 1333 w 1502"/>
                  <a:gd name="T81" fmla="*/ 443 h 15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502" h="1502">
                    <a:moveTo>
                      <a:pt x="1016" y="662"/>
                    </a:moveTo>
                    <a:cubicBezTo>
                      <a:pt x="1025" y="690"/>
                      <a:pt x="1030" y="720"/>
                      <a:pt x="1030" y="751"/>
                    </a:cubicBezTo>
                    <a:cubicBezTo>
                      <a:pt x="1030" y="905"/>
                      <a:pt x="905" y="1030"/>
                      <a:pt x="751" y="1030"/>
                    </a:cubicBezTo>
                    <a:cubicBezTo>
                      <a:pt x="597" y="1030"/>
                      <a:pt x="472" y="905"/>
                      <a:pt x="472" y="751"/>
                    </a:cubicBezTo>
                    <a:cubicBezTo>
                      <a:pt x="472" y="597"/>
                      <a:pt x="597" y="472"/>
                      <a:pt x="751" y="472"/>
                    </a:cubicBezTo>
                    <a:cubicBezTo>
                      <a:pt x="818" y="472"/>
                      <a:pt x="880" y="496"/>
                      <a:pt x="929" y="536"/>
                    </a:cubicBezTo>
                    <a:cubicBezTo>
                      <a:pt x="819" y="611"/>
                      <a:pt x="819" y="611"/>
                      <a:pt x="819" y="611"/>
                    </a:cubicBezTo>
                    <a:cubicBezTo>
                      <a:pt x="798" y="601"/>
                      <a:pt x="775" y="596"/>
                      <a:pt x="751" y="596"/>
                    </a:cubicBezTo>
                    <a:cubicBezTo>
                      <a:pt x="665" y="596"/>
                      <a:pt x="596" y="665"/>
                      <a:pt x="596" y="751"/>
                    </a:cubicBezTo>
                    <a:cubicBezTo>
                      <a:pt x="596" y="836"/>
                      <a:pt x="665" y="906"/>
                      <a:pt x="751" y="906"/>
                    </a:cubicBezTo>
                    <a:cubicBezTo>
                      <a:pt x="837" y="906"/>
                      <a:pt x="906" y="836"/>
                      <a:pt x="906" y="751"/>
                    </a:cubicBezTo>
                    <a:cubicBezTo>
                      <a:pt x="906" y="746"/>
                      <a:pt x="906" y="742"/>
                      <a:pt x="906" y="738"/>
                    </a:cubicBezTo>
                    <a:lnTo>
                      <a:pt x="1016" y="662"/>
                    </a:lnTo>
                    <a:close/>
                    <a:moveTo>
                      <a:pt x="1107" y="599"/>
                    </a:moveTo>
                    <a:cubicBezTo>
                      <a:pt x="1127" y="646"/>
                      <a:pt x="1138" y="697"/>
                      <a:pt x="1138" y="751"/>
                    </a:cubicBezTo>
                    <a:cubicBezTo>
                      <a:pt x="1138" y="964"/>
                      <a:pt x="964" y="1138"/>
                      <a:pt x="751" y="1138"/>
                    </a:cubicBezTo>
                    <a:cubicBezTo>
                      <a:pt x="537" y="1138"/>
                      <a:pt x="364" y="964"/>
                      <a:pt x="364" y="751"/>
                    </a:cubicBezTo>
                    <a:cubicBezTo>
                      <a:pt x="364" y="537"/>
                      <a:pt x="537" y="364"/>
                      <a:pt x="751" y="364"/>
                    </a:cubicBezTo>
                    <a:cubicBezTo>
                      <a:pt x="855" y="364"/>
                      <a:pt x="950" y="405"/>
                      <a:pt x="1020" y="473"/>
                    </a:cubicBezTo>
                    <a:cubicBezTo>
                      <a:pt x="1124" y="401"/>
                      <a:pt x="1124" y="401"/>
                      <a:pt x="1124" y="401"/>
                    </a:cubicBezTo>
                    <a:cubicBezTo>
                      <a:pt x="1030" y="302"/>
                      <a:pt x="898" y="240"/>
                      <a:pt x="751" y="240"/>
                    </a:cubicBezTo>
                    <a:cubicBezTo>
                      <a:pt x="469" y="240"/>
                      <a:pt x="240" y="469"/>
                      <a:pt x="240" y="751"/>
                    </a:cubicBezTo>
                    <a:cubicBezTo>
                      <a:pt x="240" y="1033"/>
                      <a:pt x="469" y="1262"/>
                      <a:pt x="751" y="1262"/>
                    </a:cubicBezTo>
                    <a:cubicBezTo>
                      <a:pt x="1033" y="1262"/>
                      <a:pt x="1262" y="1033"/>
                      <a:pt x="1262" y="751"/>
                    </a:cubicBezTo>
                    <a:cubicBezTo>
                      <a:pt x="1262" y="671"/>
                      <a:pt x="1244" y="595"/>
                      <a:pt x="1211" y="528"/>
                    </a:cubicBezTo>
                    <a:lnTo>
                      <a:pt x="1107" y="599"/>
                    </a:lnTo>
                    <a:close/>
                    <a:moveTo>
                      <a:pt x="1333" y="443"/>
                    </a:moveTo>
                    <a:cubicBezTo>
                      <a:pt x="1307" y="461"/>
                      <a:pt x="1307" y="461"/>
                      <a:pt x="1307" y="461"/>
                    </a:cubicBezTo>
                    <a:cubicBezTo>
                      <a:pt x="1352" y="548"/>
                      <a:pt x="1378" y="646"/>
                      <a:pt x="1378" y="751"/>
                    </a:cubicBezTo>
                    <a:cubicBezTo>
                      <a:pt x="1378" y="1097"/>
                      <a:pt x="1097" y="1378"/>
                      <a:pt x="751" y="1378"/>
                    </a:cubicBezTo>
                    <a:cubicBezTo>
                      <a:pt x="405" y="1378"/>
                      <a:pt x="124" y="1097"/>
                      <a:pt x="124" y="751"/>
                    </a:cubicBezTo>
                    <a:cubicBezTo>
                      <a:pt x="124" y="405"/>
                      <a:pt x="405" y="124"/>
                      <a:pt x="751" y="124"/>
                    </a:cubicBezTo>
                    <a:cubicBezTo>
                      <a:pt x="937" y="124"/>
                      <a:pt x="1105" y="205"/>
                      <a:pt x="1220" y="335"/>
                    </a:cubicBezTo>
                    <a:cubicBezTo>
                      <a:pt x="1246" y="317"/>
                      <a:pt x="1246" y="317"/>
                      <a:pt x="1246" y="317"/>
                    </a:cubicBezTo>
                    <a:cubicBezTo>
                      <a:pt x="1273" y="211"/>
                      <a:pt x="1273" y="211"/>
                      <a:pt x="1273" y="211"/>
                    </a:cubicBezTo>
                    <a:cubicBezTo>
                      <a:pt x="1138" y="80"/>
                      <a:pt x="954" y="0"/>
                      <a:pt x="751" y="0"/>
                    </a:cubicBezTo>
                    <a:cubicBezTo>
                      <a:pt x="337" y="0"/>
                      <a:pt x="0" y="337"/>
                      <a:pt x="0" y="751"/>
                    </a:cubicBezTo>
                    <a:cubicBezTo>
                      <a:pt x="0" y="1165"/>
                      <a:pt x="337" y="1502"/>
                      <a:pt x="751" y="1502"/>
                    </a:cubicBezTo>
                    <a:cubicBezTo>
                      <a:pt x="1165" y="1502"/>
                      <a:pt x="1502" y="1165"/>
                      <a:pt x="1502" y="751"/>
                    </a:cubicBezTo>
                    <a:cubicBezTo>
                      <a:pt x="1502" y="646"/>
                      <a:pt x="1480" y="547"/>
                      <a:pt x="1442" y="456"/>
                    </a:cubicBezTo>
                    <a:lnTo>
                      <a:pt x="1333" y="44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142" name="TextBox 141"/>
          <p:cNvSpPr txBox="1"/>
          <p:nvPr/>
        </p:nvSpPr>
        <p:spPr>
          <a:xfrm>
            <a:off x="2211880" y="4856455"/>
            <a:ext cx="1579658" cy="81131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167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ortage of entrepreneurial, technical &amp; mid-level mgmt. talent and ongoing workforce development</a:t>
            </a:r>
          </a:p>
        </p:txBody>
      </p:sp>
      <p:sp>
        <p:nvSpPr>
          <p:cNvPr id="149" name="AutoShape 45">
            <a:extLst>
              <a:ext uri="{FF2B5EF4-FFF2-40B4-BE49-F238E27FC236}">
                <a16:creationId xmlns="" xmlns:a16="http://schemas.microsoft.com/office/drawing/2014/main" id="{A396E5A7-EAF0-44E6-9FED-51E234B25CB1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9237653" y="5059623"/>
            <a:ext cx="1644396" cy="16459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5" name="TextBox 154"/>
          <p:cNvSpPr txBox="1"/>
          <p:nvPr/>
        </p:nvSpPr>
        <p:spPr>
          <a:xfrm>
            <a:off x="3977180" y="4856455"/>
            <a:ext cx="1666420" cy="81131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167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mited collaboration among ecosystem players resulting in mismatch b/w tech developed and industry needs</a:t>
            </a:r>
          </a:p>
        </p:txBody>
      </p:sp>
      <p:sp>
        <p:nvSpPr>
          <p:cNvPr id="156" name="Isosceles Triangle 155"/>
          <p:cNvSpPr/>
          <p:nvPr/>
        </p:nvSpPr>
        <p:spPr>
          <a:xfrm>
            <a:off x="1399528" y="1630880"/>
            <a:ext cx="9129243" cy="541681"/>
          </a:xfrm>
          <a:prstGeom prst="triangle">
            <a:avLst>
              <a:gd name="adj" fmla="val 100000"/>
            </a:avLst>
          </a:prstGeom>
          <a:solidFill>
            <a:srgbClr val="1F4174"/>
          </a:solidFill>
        </p:spPr>
        <p:txBody>
          <a:bodyPr wrap="square" lIns="0" tIns="0" rIns="0" bIns="0" rtlCol="0"/>
          <a:lstStyle/>
          <a:p>
            <a:pPr hangingPunct="1"/>
            <a:endParaRPr lang="en-US" sz="12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Oval 20"/>
          <p:cNvSpPr>
            <a:spLocks noChangeAspect="1" noChangeArrowheads="1"/>
          </p:cNvSpPr>
          <p:nvPr/>
        </p:nvSpPr>
        <p:spPr bwMode="auto">
          <a:xfrm>
            <a:off x="1498836" y="1917604"/>
            <a:ext cx="68448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Ideation</a:t>
            </a:r>
          </a:p>
        </p:txBody>
      </p:sp>
      <p:sp>
        <p:nvSpPr>
          <p:cNvPr id="12" name="Oval 20"/>
          <p:cNvSpPr>
            <a:spLocks noChangeAspect="1" noChangeArrowheads="1"/>
          </p:cNvSpPr>
          <p:nvPr/>
        </p:nvSpPr>
        <p:spPr bwMode="auto">
          <a:xfrm>
            <a:off x="4903210" y="1951384"/>
            <a:ext cx="225382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otyping and validation</a:t>
            </a:r>
          </a:p>
        </p:txBody>
      </p:sp>
      <p:sp>
        <p:nvSpPr>
          <p:cNvPr id="16" name="Oval 20"/>
          <p:cNvSpPr>
            <a:spLocks noChangeAspect="1" noChangeArrowheads="1"/>
          </p:cNvSpPr>
          <p:nvPr/>
        </p:nvSpPr>
        <p:spPr bwMode="auto">
          <a:xfrm>
            <a:off x="9566870" y="1951384"/>
            <a:ext cx="94416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ion</a:t>
            </a:r>
          </a:p>
        </p:txBody>
      </p:sp>
      <p:sp>
        <p:nvSpPr>
          <p:cNvPr id="157" name="TextBox 156"/>
          <p:cNvSpPr txBox="1"/>
          <p:nvPr/>
        </p:nvSpPr>
        <p:spPr>
          <a:xfrm>
            <a:off x="5832144" y="4856455"/>
            <a:ext cx="1713563" cy="81131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167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mited access to seed funding and other infrastructure for tech startups</a:t>
            </a:r>
          </a:p>
        </p:txBody>
      </p:sp>
      <p:sp>
        <p:nvSpPr>
          <p:cNvPr id="158" name="TextBox 157"/>
          <p:cNvSpPr txBox="1"/>
          <p:nvPr/>
        </p:nvSpPr>
        <p:spPr>
          <a:xfrm>
            <a:off x="7899755" y="4856455"/>
            <a:ext cx="1894841" cy="81131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167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&amp;D agenda often driven by outside forces (e.g., federal funding)</a:t>
            </a:r>
          </a:p>
        </p:txBody>
      </p:sp>
      <p:grpSp>
        <p:nvGrpSpPr>
          <p:cNvPr id="159" name="Group 158"/>
          <p:cNvGrpSpPr>
            <a:grpSpLocks noChangeAspect="1"/>
          </p:cNvGrpSpPr>
          <p:nvPr/>
        </p:nvGrpSpPr>
        <p:grpSpPr>
          <a:xfrm>
            <a:off x="1423906" y="1485567"/>
            <a:ext cx="500144" cy="500607"/>
            <a:chOff x="5273801" y="2606040"/>
            <a:chExt cx="1644396" cy="1645920"/>
          </a:xfrm>
        </p:grpSpPr>
        <p:sp>
          <p:nvSpPr>
            <p:cNvPr id="160" name="AutoShape 13">
              <a:extLst>
                <a:ext uri="{FF2B5EF4-FFF2-40B4-BE49-F238E27FC236}">
                  <a16:creationId xmlns="" xmlns:a16="http://schemas.microsoft.com/office/drawing/2014/main" id="{5F0436A7-3F34-4DD1-9FEA-705575C3410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61" name="Group 160"/>
            <p:cNvGrpSpPr/>
            <p:nvPr/>
          </p:nvGrpSpPr>
          <p:grpSpPr>
            <a:xfrm>
              <a:off x="5532119" y="2838831"/>
              <a:ext cx="1148334" cy="1240917"/>
              <a:chOff x="5532119" y="2838831"/>
              <a:chExt cx="1148334" cy="1240917"/>
            </a:xfrm>
          </p:grpSpPr>
          <p:sp>
            <p:nvSpPr>
              <p:cNvPr id="162" name="Freeform 15">
                <a:extLst>
                  <a:ext uri="{FF2B5EF4-FFF2-40B4-BE49-F238E27FC236}">
                    <a16:creationId xmlns="" xmlns:a16="http://schemas.microsoft.com/office/drawing/2014/main" id="{373151E8-9F61-4C18-B850-43002F74C3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06998" y="2838831"/>
                <a:ext cx="938403" cy="951738"/>
              </a:xfrm>
              <a:custGeom>
                <a:avLst/>
                <a:gdLst>
                  <a:gd name="T0" fmla="*/ 1188 w 1315"/>
                  <a:gd name="T1" fmla="*/ 484 h 1332"/>
                  <a:gd name="T2" fmla="*/ 658 w 1315"/>
                  <a:gd name="T3" fmla="*/ 874 h 1332"/>
                  <a:gd name="T4" fmla="*/ 557 w 1315"/>
                  <a:gd name="T5" fmla="*/ 878 h 1332"/>
                  <a:gd name="T6" fmla="*/ 373 w 1315"/>
                  <a:gd name="T7" fmla="*/ 1066 h 1332"/>
                  <a:gd name="T8" fmla="*/ 374 w 1315"/>
                  <a:gd name="T9" fmla="*/ 1324 h 1332"/>
                  <a:gd name="T10" fmla="*/ 74 w 1315"/>
                  <a:gd name="T11" fmla="*/ 707 h 1332"/>
                  <a:gd name="T12" fmla="*/ 131 w 1315"/>
                  <a:gd name="T13" fmla="*/ 741 h 1332"/>
                  <a:gd name="T14" fmla="*/ 216 w 1315"/>
                  <a:gd name="T15" fmla="*/ 718 h 1332"/>
                  <a:gd name="T16" fmla="*/ 297 w 1315"/>
                  <a:gd name="T17" fmla="*/ 680 h 1332"/>
                  <a:gd name="T18" fmla="*/ 363 w 1315"/>
                  <a:gd name="T19" fmla="*/ 625 h 1332"/>
                  <a:gd name="T20" fmla="*/ 414 w 1315"/>
                  <a:gd name="T21" fmla="*/ 552 h 1332"/>
                  <a:gd name="T22" fmla="*/ 452 w 1315"/>
                  <a:gd name="T23" fmla="*/ 472 h 1332"/>
                  <a:gd name="T24" fmla="*/ 414 w 1315"/>
                  <a:gd name="T25" fmla="*/ 419 h 1332"/>
                  <a:gd name="T26" fmla="*/ 494 w 1315"/>
                  <a:gd name="T27" fmla="*/ 407 h 1332"/>
                  <a:gd name="T28" fmla="*/ 547 w 1315"/>
                  <a:gd name="T29" fmla="*/ 398 h 1332"/>
                  <a:gd name="T30" fmla="*/ 622 w 1315"/>
                  <a:gd name="T31" fmla="*/ 430 h 1332"/>
                  <a:gd name="T32" fmla="*/ 687 w 1315"/>
                  <a:gd name="T33" fmla="*/ 411 h 1332"/>
                  <a:gd name="T34" fmla="*/ 691 w 1315"/>
                  <a:gd name="T35" fmla="*/ 409 h 1332"/>
                  <a:gd name="T36" fmla="*/ 750 w 1315"/>
                  <a:gd name="T37" fmla="*/ 374 h 1332"/>
                  <a:gd name="T38" fmla="*/ 778 w 1315"/>
                  <a:gd name="T39" fmla="*/ 297 h 1332"/>
                  <a:gd name="T40" fmla="*/ 819 w 1315"/>
                  <a:gd name="T41" fmla="*/ 266 h 1332"/>
                  <a:gd name="T42" fmla="*/ 1278 w 1315"/>
                  <a:gd name="T43" fmla="*/ 288 h 1332"/>
                  <a:gd name="T44" fmla="*/ 786 w 1315"/>
                  <a:gd name="T45" fmla="*/ 171 h 1332"/>
                  <a:gd name="T46" fmla="*/ 748 w 1315"/>
                  <a:gd name="T47" fmla="*/ 261 h 1332"/>
                  <a:gd name="T48" fmla="*/ 706 w 1315"/>
                  <a:gd name="T49" fmla="*/ 350 h 1332"/>
                  <a:gd name="T50" fmla="*/ 634 w 1315"/>
                  <a:gd name="T51" fmla="*/ 382 h 1332"/>
                  <a:gd name="T52" fmla="*/ 541 w 1315"/>
                  <a:gd name="T53" fmla="*/ 351 h 1332"/>
                  <a:gd name="T54" fmla="*/ 449 w 1315"/>
                  <a:gd name="T55" fmla="*/ 318 h 1332"/>
                  <a:gd name="T56" fmla="*/ 442 w 1315"/>
                  <a:gd name="T57" fmla="*/ 258 h 1332"/>
                  <a:gd name="T58" fmla="*/ 403 w 1315"/>
                  <a:gd name="T59" fmla="*/ 209 h 1332"/>
                  <a:gd name="T60" fmla="*/ 445 w 1315"/>
                  <a:gd name="T61" fmla="*/ 116 h 1332"/>
                  <a:gd name="T62" fmla="*/ 483 w 1315"/>
                  <a:gd name="T63" fmla="*/ 33 h 1332"/>
                  <a:gd name="T64" fmla="*/ 558 w 1315"/>
                  <a:gd name="T65" fmla="*/ 0 h 1332"/>
                  <a:gd name="T66" fmla="*/ 644 w 1315"/>
                  <a:gd name="T67" fmla="*/ 30 h 1332"/>
                  <a:gd name="T68" fmla="*/ 738 w 1315"/>
                  <a:gd name="T69" fmla="*/ 62 h 1332"/>
                  <a:gd name="T70" fmla="*/ 749 w 1315"/>
                  <a:gd name="T71" fmla="*/ 124 h 1332"/>
                  <a:gd name="T72" fmla="*/ 786 w 1315"/>
                  <a:gd name="T73" fmla="*/ 171 h 1332"/>
                  <a:gd name="T74" fmla="*/ 672 w 1315"/>
                  <a:gd name="T75" fmla="*/ 157 h 1332"/>
                  <a:gd name="T76" fmla="*/ 518 w 1315"/>
                  <a:gd name="T77" fmla="*/ 225 h 1332"/>
                  <a:gd name="T78" fmla="*/ 176 w 1315"/>
                  <a:gd name="T79" fmla="*/ 365 h 1332"/>
                  <a:gd name="T80" fmla="*/ 0 w 1315"/>
                  <a:gd name="T81" fmla="*/ 365 h 1332"/>
                  <a:gd name="T82" fmla="*/ 176 w 1315"/>
                  <a:gd name="T83" fmla="*/ 365 h 1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315" h="1332">
                    <a:moveTo>
                      <a:pt x="1192" y="480"/>
                    </a:moveTo>
                    <a:cubicBezTo>
                      <a:pt x="1191" y="482"/>
                      <a:pt x="1190" y="483"/>
                      <a:pt x="1188" y="484"/>
                    </a:cubicBezTo>
                    <a:cubicBezTo>
                      <a:pt x="1149" y="497"/>
                      <a:pt x="936" y="471"/>
                      <a:pt x="793" y="575"/>
                    </a:cubicBezTo>
                    <a:cubicBezTo>
                      <a:pt x="716" y="630"/>
                      <a:pt x="658" y="720"/>
                      <a:pt x="658" y="874"/>
                    </a:cubicBezTo>
                    <a:cubicBezTo>
                      <a:pt x="658" y="895"/>
                      <a:pt x="581" y="885"/>
                      <a:pt x="562" y="883"/>
                    </a:cubicBezTo>
                    <a:cubicBezTo>
                      <a:pt x="560" y="882"/>
                      <a:pt x="558" y="881"/>
                      <a:pt x="557" y="878"/>
                    </a:cubicBezTo>
                    <a:cubicBezTo>
                      <a:pt x="553" y="846"/>
                      <a:pt x="517" y="642"/>
                      <a:pt x="374" y="718"/>
                    </a:cubicBezTo>
                    <a:cubicBezTo>
                      <a:pt x="238" y="787"/>
                      <a:pt x="364" y="1046"/>
                      <a:pt x="373" y="1066"/>
                    </a:cubicBezTo>
                    <a:cubicBezTo>
                      <a:pt x="374" y="1066"/>
                      <a:pt x="374" y="1067"/>
                      <a:pt x="374" y="1068"/>
                    </a:cubicBezTo>
                    <a:cubicBezTo>
                      <a:pt x="374" y="1324"/>
                      <a:pt x="374" y="1324"/>
                      <a:pt x="374" y="1324"/>
                    </a:cubicBezTo>
                    <a:cubicBezTo>
                      <a:pt x="374" y="1329"/>
                      <a:pt x="368" y="1332"/>
                      <a:pt x="365" y="1328"/>
                    </a:cubicBezTo>
                    <a:cubicBezTo>
                      <a:pt x="310" y="1278"/>
                      <a:pt x="39" y="1009"/>
                      <a:pt x="74" y="707"/>
                    </a:cubicBezTo>
                    <a:cubicBezTo>
                      <a:pt x="88" y="691"/>
                      <a:pt x="88" y="691"/>
                      <a:pt x="88" y="691"/>
                    </a:cubicBezTo>
                    <a:cubicBezTo>
                      <a:pt x="131" y="741"/>
                      <a:pt x="131" y="741"/>
                      <a:pt x="131" y="741"/>
                    </a:cubicBezTo>
                    <a:cubicBezTo>
                      <a:pt x="170" y="732"/>
                      <a:pt x="170" y="732"/>
                      <a:pt x="170" y="732"/>
                    </a:cubicBezTo>
                    <a:cubicBezTo>
                      <a:pt x="192" y="727"/>
                      <a:pt x="215" y="718"/>
                      <a:pt x="216" y="718"/>
                    </a:cubicBezTo>
                    <a:cubicBezTo>
                      <a:pt x="218" y="717"/>
                      <a:pt x="241" y="709"/>
                      <a:pt x="261" y="698"/>
                    </a:cubicBezTo>
                    <a:cubicBezTo>
                      <a:pt x="297" y="680"/>
                      <a:pt x="297" y="680"/>
                      <a:pt x="297" y="680"/>
                    </a:cubicBezTo>
                    <a:cubicBezTo>
                      <a:pt x="298" y="614"/>
                      <a:pt x="298" y="614"/>
                      <a:pt x="298" y="614"/>
                    </a:cubicBezTo>
                    <a:cubicBezTo>
                      <a:pt x="363" y="625"/>
                      <a:pt x="363" y="625"/>
                      <a:pt x="363" y="625"/>
                    </a:cubicBezTo>
                    <a:cubicBezTo>
                      <a:pt x="387" y="593"/>
                      <a:pt x="387" y="593"/>
                      <a:pt x="387" y="593"/>
                    </a:cubicBezTo>
                    <a:cubicBezTo>
                      <a:pt x="400" y="576"/>
                      <a:pt x="412" y="555"/>
                      <a:pt x="414" y="552"/>
                    </a:cubicBezTo>
                    <a:cubicBezTo>
                      <a:pt x="415" y="550"/>
                      <a:pt x="427" y="529"/>
                      <a:pt x="436" y="509"/>
                    </a:cubicBezTo>
                    <a:cubicBezTo>
                      <a:pt x="452" y="472"/>
                      <a:pt x="452" y="472"/>
                      <a:pt x="452" y="472"/>
                    </a:cubicBezTo>
                    <a:cubicBezTo>
                      <a:pt x="413" y="424"/>
                      <a:pt x="413" y="424"/>
                      <a:pt x="413" y="424"/>
                    </a:cubicBezTo>
                    <a:cubicBezTo>
                      <a:pt x="413" y="422"/>
                      <a:pt x="413" y="420"/>
                      <a:pt x="414" y="419"/>
                    </a:cubicBezTo>
                    <a:cubicBezTo>
                      <a:pt x="464" y="389"/>
                      <a:pt x="464" y="389"/>
                      <a:pt x="464" y="389"/>
                    </a:cubicBezTo>
                    <a:cubicBezTo>
                      <a:pt x="473" y="395"/>
                      <a:pt x="483" y="401"/>
                      <a:pt x="494" y="407"/>
                    </a:cubicBezTo>
                    <a:cubicBezTo>
                      <a:pt x="515" y="417"/>
                      <a:pt x="515" y="417"/>
                      <a:pt x="515" y="417"/>
                    </a:cubicBezTo>
                    <a:cubicBezTo>
                      <a:pt x="547" y="398"/>
                      <a:pt x="547" y="398"/>
                      <a:pt x="547" y="398"/>
                    </a:cubicBezTo>
                    <a:cubicBezTo>
                      <a:pt x="562" y="402"/>
                      <a:pt x="578" y="404"/>
                      <a:pt x="593" y="404"/>
                    </a:cubicBezTo>
                    <a:cubicBezTo>
                      <a:pt x="622" y="430"/>
                      <a:pt x="622" y="430"/>
                      <a:pt x="622" y="430"/>
                    </a:cubicBezTo>
                    <a:cubicBezTo>
                      <a:pt x="644" y="424"/>
                      <a:pt x="644" y="424"/>
                      <a:pt x="644" y="424"/>
                    </a:cubicBezTo>
                    <a:cubicBezTo>
                      <a:pt x="659" y="421"/>
                      <a:pt x="674" y="416"/>
                      <a:pt x="687" y="411"/>
                    </a:cubicBezTo>
                    <a:cubicBezTo>
                      <a:pt x="689" y="410"/>
                      <a:pt x="689" y="410"/>
                      <a:pt x="689" y="410"/>
                    </a:cubicBezTo>
                    <a:cubicBezTo>
                      <a:pt x="691" y="409"/>
                      <a:pt x="691" y="409"/>
                      <a:pt x="691" y="409"/>
                    </a:cubicBezTo>
                    <a:cubicBezTo>
                      <a:pt x="704" y="403"/>
                      <a:pt x="717" y="396"/>
                      <a:pt x="730" y="387"/>
                    </a:cubicBezTo>
                    <a:cubicBezTo>
                      <a:pt x="750" y="374"/>
                      <a:pt x="750" y="374"/>
                      <a:pt x="750" y="374"/>
                    </a:cubicBezTo>
                    <a:cubicBezTo>
                      <a:pt x="750" y="336"/>
                      <a:pt x="750" y="336"/>
                      <a:pt x="750" y="336"/>
                    </a:cubicBezTo>
                    <a:cubicBezTo>
                      <a:pt x="761" y="324"/>
                      <a:pt x="770" y="311"/>
                      <a:pt x="778" y="297"/>
                    </a:cubicBezTo>
                    <a:cubicBezTo>
                      <a:pt x="812" y="287"/>
                      <a:pt x="812" y="287"/>
                      <a:pt x="812" y="287"/>
                    </a:cubicBezTo>
                    <a:cubicBezTo>
                      <a:pt x="819" y="266"/>
                      <a:pt x="819" y="266"/>
                      <a:pt x="819" y="266"/>
                    </a:cubicBezTo>
                    <a:cubicBezTo>
                      <a:pt x="826" y="247"/>
                      <a:pt x="830" y="227"/>
                      <a:pt x="831" y="206"/>
                    </a:cubicBezTo>
                    <a:cubicBezTo>
                      <a:pt x="1027" y="228"/>
                      <a:pt x="990" y="293"/>
                      <a:pt x="1278" y="288"/>
                    </a:cubicBezTo>
                    <a:cubicBezTo>
                      <a:pt x="1315" y="288"/>
                      <a:pt x="1210" y="404"/>
                      <a:pt x="1192" y="480"/>
                    </a:cubicBezTo>
                    <a:close/>
                    <a:moveTo>
                      <a:pt x="786" y="171"/>
                    </a:moveTo>
                    <a:cubicBezTo>
                      <a:pt x="789" y="198"/>
                      <a:pt x="786" y="226"/>
                      <a:pt x="778" y="251"/>
                    </a:cubicBezTo>
                    <a:cubicBezTo>
                      <a:pt x="778" y="251"/>
                      <a:pt x="778" y="251"/>
                      <a:pt x="748" y="261"/>
                    </a:cubicBezTo>
                    <a:cubicBezTo>
                      <a:pt x="738" y="282"/>
                      <a:pt x="724" y="302"/>
                      <a:pt x="706" y="318"/>
                    </a:cubicBezTo>
                    <a:cubicBezTo>
                      <a:pt x="706" y="318"/>
                      <a:pt x="706" y="318"/>
                      <a:pt x="706" y="350"/>
                    </a:cubicBezTo>
                    <a:cubicBezTo>
                      <a:pt x="695" y="357"/>
                      <a:pt x="683" y="364"/>
                      <a:pt x="671" y="370"/>
                    </a:cubicBezTo>
                    <a:cubicBezTo>
                      <a:pt x="659" y="375"/>
                      <a:pt x="646" y="379"/>
                      <a:pt x="634" y="382"/>
                    </a:cubicBezTo>
                    <a:cubicBezTo>
                      <a:pt x="634" y="382"/>
                      <a:pt x="634" y="382"/>
                      <a:pt x="610" y="360"/>
                    </a:cubicBezTo>
                    <a:cubicBezTo>
                      <a:pt x="586" y="362"/>
                      <a:pt x="563" y="359"/>
                      <a:pt x="541" y="351"/>
                    </a:cubicBezTo>
                    <a:cubicBezTo>
                      <a:pt x="541" y="351"/>
                      <a:pt x="541" y="351"/>
                      <a:pt x="513" y="367"/>
                    </a:cubicBezTo>
                    <a:cubicBezTo>
                      <a:pt x="489" y="355"/>
                      <a:pt x="468" y="339"/>
                      <a:pt x="449" y="318"/>
                    </a:cubicBezTo>
                    <a:cubicBezTo>
                      <a:pt x="449" y="318"/>
                      <a:pt x="449" y="318"/>
                      <a:pt x="457" y="287"/>
                    </a:cubicBezTo>
                    <a:cubicBezTo>
                      <a:pt x="451" y="278"/>
                      <a:pt x="446" y="268"/>
                      <a:pt x="442" y="258"/>
                    </a:cubicBezTo>
                    <a:cubicBezTo>
                      <a:pt x="436" y="247"/>
                      <a:pt x="433" y="235"/>
                      <a:pt x="431" y="225"/>
                    </a:cubicBezTo>
                    <a:cubicBezTo>
                      <a:pt x="431" y="225"/>
                      <a:pt x="431" y="225"/>
                      <a:pt x="403" y="209"/>
                    </a:cubicBezTo>
                    <a:cubicBezTo>
                      <a:pt x="401" y="180"/>
                      <a:pt x="405" y="152"/>
                      <a:pt x="414" y="126"/>
                    </a:cubicBezTo>
                    <a:cubicBezTo>
                      <a:pt x="414" y="126"/>
                      <a:pt x="414" y="126"/>
                      <a:pt x="445" y="116"/>
                    </a:cubicBezTo>
                    <a:cubicBezTo>
                      <a:pt x="454" y="97"/>
                      <a:pt x="467" y="81"/>
                      <a:pt x="483" y="66"/>
                    </a:cubicBezTo>
                    <a:cubicBezTo>
                      <a:pt x="483" y="66"/>
                      <a:pt x="483" y="66"/>
                      <a:pt x="483" y="33"/>
                    </a:cubicBezTo>
                    <a:cubicBezTo>
                      <a:pt x="494" y="25"/>
                      <a:pt x="506" y="18"/>
                      <a:pt x="519" y="13"/>
                    </a:cubicBezTo>
                    <a:cubicBezTo>
                      <a:pt x="532" y="7"/>
                      <a:pt x="546" y="3"/>
                      <a:pt x="558" y="0"/>
                    </a:cubicBezTo>
                    <a:cubicBezTo>
                      <a:pt x="558" y="0"/>
                      <a:pt x="558" y="0"/>
                      <a:pt x="583" y="22"/>
                    </a:cubicBezTo>
                    <a:cubicBezTo>
                      <a:pt x="604" y="21"/>
                      <a:pt x="624" y="23"/>
                      <a:pt x="644" y="30"/>
                    </a:cubicBezTo>
                    <a:cubicBezTo>
                      <a:pt x="644" y="30"/>
                      <a:pt x="644" y="30"/>
                      <a:pt x="673" y="14"/>
                    </a:cubicBezTo>
                    <a:cubicBezTo>
                      <a:pt x="697" y="24"/>
                      <a:pt x="720" y="41"/>
                      <a:pt x="738" y="62"/>
                    </a:cubicBezTo>
                    <a:cubicBezTo>
                      <a:pt x="738" y="62"/>
                      <a:pt x="738" y="62"/>
                      <a:pt x="732" y="93"/>
                    </a:cubicBezTo>
                    <a:cubicBezTo>
                      <a:pt x="738" y="103"/>
                      <a:pt x="744" y="113"/>
                      <a:pt x="749" y="124"/>
                    </a:cubicBezTo>
                    <a:cubicBezTo>
                      <a:pt x="753" y="134"/>
                      <a:pt x="756" y="144"/>
                      <a:pt x="759" y="154"/>
                    </a:cubicBezTo>
                    <a:cubicBezTo>
                      <a:pt x="759" y="154"/>
                      <a:pt x="759" y="154"/>
                      <a:pt x="786" y="171"/>
                    </a:cubicBezTo>
                    <a:close/>
                    <a:moveTo>
                      <a:pt x="629" y="269"/>
                    </a:moveTo>
                    <a:cubicBezTo>
                      <a:pt x="671" y="251"/>
                      <a:pt x="691" y="200"/>
                      <a:pt x="672" y="157"/>
                    </a:cubicBezTo>
                    <a:cubicBezTo>
                      <a:pt x="654" y="114"/>
                      <a:pt x="604" y="95"/>
                      <a:pt x="561" y="113"/>
                    </a:cubicBezTo>
                    <a:cubicBezTo>
                      <a:pt x="519" y="132"/>
                      <a:pt x="499" y="181"/>
                      <a:pt x="518" y="225"/>
                    </a:cubicBezTo>
                    <a:cubicBezTo>
                      <a:pt x="536" y="268"/>
                      <a:pt x="586" y="288"/>
                      <a:pt x="629" y="269"/>
                    </a:cubicBezTo>
                    <a:close/>
                    <a:moveTo>
                      <a:pt x="176" y="365"/>
                    </a:moveTo>
                    <a:cubicBezTo>
                      <a:pt x="176" y="316"/>
                      <a:pt x="137" y="277"/>
                      <a:pt x="88" y="277"/>
                    </a:cubicBezTo>
                    <a:cubicBezTo>
                      <a:pt x="39" y="277"/>
                      <a:pt x="0" y="316"/>
                      <a:pt x="0" y="365"/>
                    </a:cubicBezTo>
                    <a:cubicBezTo>
                      <a:pt x="0" y="414"/>
                      <a:pt x="39" y="454"/>
                      <a:pt x="88" y="454"/>
                    </a:cubicBezTo>
                    <a:cubicBezTo>
                      <a:pt x="137" y="454"/>
                      <a:pt x="176" y="414"/>
                      <a:pt x="176" y="365"/>
                    </a:cubicBezTo>
                    <a:close/>
                  </a:path>
                </a:pathLst>
              </a:custGeom>
              <a:solidFill>
                <a:srgbClr val="1F49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63" name="Freeform 16">
                <a:extLst>
                  <a:ext uri="{FF2B5EF4-FFF2-40B4-BE49-F238E27FC236}">
                    <a16:creationId xmlns="" xmlns:a16="http://schemas.microsoft.com/office/drawing/2014/main" id="{1FC1A084-CD0E-4A84-9B18-6C55135745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32119" y="2860929"/>
                <a:ext cx="1148334" cy="1218819"/>
              </a:xfrm>
              <a:custGeom>
                <a:avLst/>
                <a:gdLst>
                  <a:gd name="T0" fmla="*/ 1458 w 1609"/>
                  <a:gd name="T1" fmla="*/ 1072 h 1706"/>
                  <a:gd name="T2" fmla="*/ 1428 w 1609"/>
                  <a:gd name="T3" fmla="*/ 1421 h 1706"/>
                  <a:gd name="T4" fmla="*/ 1124 w 1609"/>
                  <a:gd name="T5" fmla="*/ 1706 h 1706"/>
                  <a:gd name="T6" fmla="*/ 574 w 1609"/>
                  <a:gd name="T7" fmla="*/ 1592 h 1706"/>
                  <a:gd name="T8" fmla="*/ 579 w 1609"/>
                  <a:gd name="T9" fmla="*/ 1329 h 1706"/>
                  <a:gd name="T10" fmla="*/ 1102 w 1609"/>
                  <a:gd name="T11" fmla="*/ 1662 h 1706"/>
                  <a:gd name="T12" fmla="*/ 1127 w 1609"/>
                  <a:gd name="T13" fmla="*/ 1388 h 1706"/>
                  <a:gd name="T14" fmla="*/ 1424 w 1609"/>
                  <a:gd name="T15" fmla="*/ 1267 h 1706"/>
                  <a:gd name="T16" fmla="*/ 1436 w 1609"/>
                  <a:gd name="T17" fmla="*/ 1027 h 1706"/>
                  <a:gd name="T18" fmla="*/ 1492 w 1609"/>
                  <a:gd name="T19" fmla="*/ 910 h 1706"/>
                  <a:gd name="T20" fmla="*/ 1402 w 1609"/>
                  <a:gd name="T21" fmla="*/ 630 h 1706"/>
                  <a:gd name="T22" fmla="*/ 1444 w 1609"/>
                  <a:gd name="T23" fmla="*/ 616 h 1706"/>
                  <a:gd name="T24" fmla="*/ 1525 w 1609"/>
                  <a:gd name="T25" fmla="*/ 880 h 1706"/>
                  <a:gd name="T26" fmla="*/ 405 w 1609"/>
                  <a:gd name="T27" fmla="*/ 658 h 1706"/>
                  <a:gd name="T28" fmla="*/ 498 w 1609"/>
                  <a:gd name="T29" fmla="*/ 622 h 1706"/>
                  <a:gd name="T30" fmla="*/ 589 w 1609"/>
                  <a:gd name="T31" fmla="*/ 546 h 1706"/>
                  <a:gd name="T32" fmla="*/ 640 w 1609"/>
                  <a:gd name="T33" fmla="*/ 460 h 1706"/>
                  <a:gd name="T34" fmla="*/ 618 w 1609"/>
                  <a:gd name="T35" fmla="*/ 360 h 1706"/>
                  <a:gd name="T36" fmla="*/ 660 w 1609"/>
                  <a:gd name="T37" fmla="*/ 275 h 1706"/>
                  <a:gd name="T38" fmla="*/ 588 w 1609"/>
                  <a:gd name="T39" fmla="*/ 209 h 1706"/>
                  <a:gd name="T40" fmla="*/ 579 w 1609"/>
                  <a:gd name="T41" fmla="*/ 108 h 1706"/>
                  <a:gd name="T42" fmla="*/ 501 w 1609"/>
                  <a:gd name="T43" fmla="*/ 45 h 1706"/>
                  <a:gd name="T44" fmla="*/ 390 w 1609"/>
                  <a:gd name="T45" fmla="*/ 4 h 1706"/>
                  <a:gd name="T46" fmla="*/ 290 w 1609"/>
                  <a:gd name="T47" fmla="*/ 3 h 1706"/>
                  <a:gd name="T48" fmla="*/ 225 w 1609"/>
                  <a:gd name="T49" fmla="*/ 78 h 1706"/>
                  <a:gd name="T50" fmla="*/ 119 w 1609"/>
                  <a:gd name="T51" fmla="*/ 78 h 1706"/>
                  <a:gd name="T52" fmla="*/ 99 w 1609"/>
                  <a:gd name="T53" fmla="*/ 176 h 1706"/>
                  <a:gd name="T54" fmla="*/ 16 w 1609"/>
                  <a:gd name="T55" fmla="*/ 232 h 1706"/>
                  <a:gd name="T56" fmla="*/ 0 w 1609"/>
                  <a:gd name="T57" fmla="*/ 332 h 1706"/>
                  <a:gd name="T58" fmla="*/ 20 w 1609"/>
                  <a:gd name="T59" fmla="*/ 448 h 1706"/>
                  <a:gd name="T60" fmla="*/ 69 w 1609"/>
                  <a:gd name="T61" fmla="*/ 535 h 1706"/>
                  <a:gd name="T62" fmla="*/ 166 w 1609"/>
                  <a:gd name="T63" fmla="*/ 559 h 1706"/>
                  <a:gd name="T64" fmla="*/ 219 w 1609"/>
                  <a:gd name="T65" fmla="*/ 645 h 1706"/>
                  <a:gd name="T66" fmla="*/ 317 w 1609"/>
                  <a:gd name="T67" fmla="*/ 610 h 1706"/>
                  <a:gd name="T68" fmla="*/ 405 w 1609"/>
                  <a:gd name="T69" fmla="*/ 658 h 1706"/>
                  <a:gd name="T70" fmla="*/ 299 w 1609"/>
                  <a:gd name="T71" fmla="*/ 564 h 1706"/>
                  <a:gd name="T72" fmla="*/ 211 w 1609"/>
                  <a:gd name="T73" fmla="*/ 594 h 1706"/>
                  <a:gd name="T74" fmla="*/ 160 w 1609"/>
                  <a:gd name="T75" fmla="*/ 497 h 1706"/>
                  <a:gd name="T76" fmla="*/ 83 w 1609"/>
                  <a:gd name="T77" fmla="*/ 477 h 1706"/>
                  <a:gd name="T78" fmla="*/ 101 w 1609"/>
                  <a:gd name="T79" fmla="*/ 402 h 1706"/>
                  <a:gd name="T80" fmla="*/ 45 w 1609"/>
                  <a:gd name="T81" fmla="*/ 308 h 1706"/>
                  <a:gd name="T82" fmla="*/ 108 w 1609"/>
                  <a:gd name="T83" fmla="*/ 248 h 1706"/>
                  <a:gd name="T84" fmla="*/ 148 w 1609"/>
                  <a:gd name="T85" fmla="*/ 184 h 1706"/>
                  <a:gd name="T86" fmla="*/ 168 w 1609"/>
                  <a:gd name="T87" fmla="*/ 96 h 1706"/>
                  <a:gd name="T88" fmla="*/ 274 w 1609"/>
                  <a:gd name="T89" fmla="*/ 109 h 1706"/>
                  <a:gd name="T90" fmla="*/ 333 w 1609"/>
                  <a:gd name="T91" fmla="*/ 44 h 1706"/>
                  <a:gd name="T92" fmla="*/ 393 w 1609"/>
                  <a:gd name="T93" fmla="*/ 109 h 1706"/>
                  <a:gd name="T94" fmla="*/ 499 w 1609"/>
                  <a:gd name="T95" fmla="*/ 96 h 1706"/>
                  <a:gd name="T96" fmla="*/ 518 w 1609"/>
                  <a:gd name="T97" fmla="*/ 184 h 1706"/>
                  <a:gd name="T98" fmla="*/ 558 w 1609"/>
                  <a:gd name="T99" fmla="*/ 248 h 1706"/>
                  <a:gd name="T100" fmla="*/ 620 w 1609"/>
                  <a:gd name="T101" fmla="*/ 308 h 1706"/>
                  <a:gd name="T102" fmla="*/ 565 w 1609"/>
                  <a:gd name="T103" fmla="*/ 403 h 1706"/>
                  <a:gd name="T104" fmla="*/ 583 w 1609"/>
                  <a:gd name="T105" fmla="*/ 477 h 1706"/>
                  <a:gd name="T106" fmla="*/ 506 w 1609"/>
                  <a:gd name="T107" fmla="*/ 497 h 1706"/>
                  <a:gd name="T108" fmla="*/ 455 w 1609"/>
                  <a:gd name="T109" fmla="*/ 594 h 1706"/>
                  <a:gd name="T110" fmla="*/ 367 w 1609"/>
                  <a:gd name="T111" fmla="*/ 564 h 1706"/>
                  <a:gd name="T112" fmla="*/ 333 w 1609"/>
                  <a:gd name="T113" fmla="*/ 156 h 1706"/>
                  <a:gd name="T114" fmla="*/ 511 w 1609"/>
                  <a:gd name="T115" fmla="*/ 334 h 1706"/>
                  <a:gd name="T116" fmla="*/ 199 w 1609"/>
                  <a:gd name="T117" fmla="*/ 334 h 1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609" h="1706">
                    <a:moveTo>
                      <a:pt x="1599" y="1004"/>
                    </a:moveTo>
                    <a:cubicBezTo>
                      <a:pt x="1593" y="1021"/>
                      <a:pt x="1566" y="1072"/>
                      <a:pt x="1463" y="1072"/>
                    </a:cubicBezTo>
                    <a:cubicBezTo>
                      <a:pt x="1462" y="1072"/>
                      <a:pt x="1460" y="1072"/>
                      <a:pt x="1458" y="1072"/>
                    </a:cubicBezTo>
                    <a:cubicBezTo>
                      <a:pt x="1463" y="1117"/>
                      <a:pt x="1472" y="1211"/>
                      <a:pt x="1468" y="1269"/>
                    </a:cubicBezTo>
                    <a:cubicBezTo>
                      <a:pt x="1467" y="1280"/>
                      <a:pt x="1467" y="1280"/>
                      <a:pt x="1467" y="1280"/>
                    </a:cubicBezTo>
                    <a:cubicBezTo>
                      <a:pt x="1462" y="1361"/>
                      <a:pt x="1459" y="1405"/>
                      <a:pt x="1428" y="1421"/>
                    </a:cubicBezTo>
                    <a:cubicBezTo>
                      <a:pt x="1405" y="1434"/>
                      <a:pt x="1303" y="1453"/>
                      <a:pt x="1146" y="1435"/>
                    </a:cubicBezTo>
                    <a:cubicBezTo>
                      <a:pt x="1146" y="1684"/>
                      <a:pt x="1146" y="1684"/>
                      <a:pt x="1146" y="1684"/>
                    </a:cubicBezTo>
                    <a:cubicBezTo>
                      <a:pt x="1146" y="1696"/>
                      <a:pt x="1136" y="1706"/>
                      <a:pt x="1124" y="1706"/>
                    </a:cubicBezTo>
                    <a:cubicBezTo>
                      <a:pt x="1124" y="1706"/>
                      <a:pt x="1123" y="1706"/>
                      <a:pt x="1123" y="1706"/>
                    </a:cubicBezTo>
                    <a:cubicBezTo>
                      <a:pt x="1100" y="1706"/>
                      <a:pt x="812" y="1704"/>
                      <a:pt x="588" y="1612"/>
                    </a:cubicBezTo>
                    <a:cubicBezTo>
                      <a:pt x="580" y="1609"/>
                      <a:pt x="574" y="1601"/>
                      <a:pt x="574" y="1592"/>
                    </a:cubicBezTo>
                    <a:cubicBezTo>
                      <a:pt x="574" y="1326"/>
                      <a:pt x="574" y="1326"/>
                      <a:pt x="574" y="1326"/>
                    </a:cubicBezTo>
                    <a:cubicBezTo>
                      <a:pt x="574" y="1325"/>
                      <a:pt x="574" y="1325"/>
                      <a:pt x="574" y="1324"/>
                    </a:cubicBezTo>
                    <a:cubicBezTo>
                      <a:pt x="576" y="1326"/>
                      <a:pt x="578" y="1328"/>
                      <a:pt x="579" y="1329"/>
                    </a:cubicBezTo>
                    <a:cubicBezTo>
                      <a:pt x="585" y="1335"/>
                      <a:pt x="603" y="1349"/>
                      <a:pt x="618" y="1359"/>
                    </a:cubicBezTo>
                    <a:cubicBezTo>
                      <a:pt x="618" y="1577"/>
                      <a:pt x="618" y="1577"/>
                      <a:pt x="618" y="1577"/>
                    </a:cubicBezTo>
                    <a:cubicBezTo>
                      <a:pt x="801" y="1648"/>
                      <a:pt x="1031" y="1660"/>
                      <a:pt x="1102" y="1662"/>
                    </a:cubicBezTo>
                    <a:cubicBezTo>
                      <a:pt x="1102" y="1410"/>
                      <a:pt x="1102" y="1410"/>
                      <a:pt x="1102" y="1410"/>
                    </a:cubicBezTo>
                    <a:cubicBezTo>
                      <a:pt x="1102" y="1404"/>
                      <a:pt x="1105" y="1398"/>
                      <a:pt x="1109" y="1393"/>
                    </a:cubicBezTo>
                    <a:cubicBezTo>
                      <a:pt x="1114" y="1389"/>
                      <a:pt x="1120" y="1387"/>
                      <a:pt x="1127" y="1388"/>
                    </a:cubicBezTo>
                    <a:cubicBezTo>
                      <a:pt x="1290" y="1410"/>
                      <a:pt x="1393" y="1390"/>
                      <a:pt x="1408" y="1382"/>
                    </a:cubicBezTo>
                    <a:cubicBezTo>
                      <a:pt x="1417" y="1376"/>
                      <a:pt x="1420" y="1323"/>
                      <a:pt x="1423" y="1277"/>
                    </a:cubicBezTo>
                    <a:cubicBezTo>
                      <a:pt x="1424" y="1267"/>
                      <a:pt x="1424" y="1267"/>
                      <a:pt x="1424" y="1267"/>
                    </a:cubicBezTo>
                    <a:cubicBezTo>
                      <a:pt x="1429" y="1192"/>
                      <a:pt x="1412" y="1053"/>
                      <a:pt x="1412" y="1052"/>
                    </a:cubicBezTo>
                    <a:cubicBezTo>
                      <a:pt x="1411" y="1045"/>
                      <a:pt x="1413" y="1038"/>
                      <a:pt x="1418" y="1034"/>
                    </a:cubicBezTo>
                    <a:cubicBezTo>
                      <a:pt x="1423" y="1029"/>
                      <a:pt x="1429" y="1026"/>
                      <a:pt x="1436" y="1027"/>
                    </a:cubicBezTo>
                    <a:cubicBezTo>
                      <a:pt x="1512" y="1034"/>
                      <a:pt x="1548" y="1012"/>
                      <a:pt x="1557" y="991"/>
                    </a:cubicBezTo>
                    <a:cubicBezTo>
                      <a:pt x="1555" y="977"/>
                      <a:pt x="1521" y="941"/>
                      <a:pt x="1505" y="923"/>
                    </a:cubicBezTo>
                    <a:cubicBezTo>
                      <a:pt x="1501" y="919"/>
                      <a:pt x="1496" y="914"/>
                      <a:pt x="1492" y="910"/>
                    </a:cubicBezTo>
                    <a:cubicBezTo>
                      <a:pt x="1463" y="878"/>
                      <a:pt x="1439" y="820"/>
                      <a:pt x="1424" y="777"/>
                    </a:cubicBezTo>
                    <a:cubicBezTo>
                      <a:pt x="1418" y="760"/>
                      <a:pt x="1416" y="737"/>
                      <a:pt x="1414" y="709"/>
                    </a:cubicBezTo>
                    <a:cubicBezTo>
                      <a:pt x="1412" y="682"/>
                      <a:pt x="1409" y="652"/>
                      <a:pt x="1402" y="630"/>
                    </a:cubicBezTo>
                    <a:cubicBezTo>
                      <a:pt x="1389" y="591"/>
                      <a:pt x="1386" y="527"/>
                      <a:pt x="1386" y="502"/>
                    </a:cubicBezTo>
                    <a:cubicBezTo>
                      <a:pt x="1404" y="501"/>
                      <a:pt x="1418" y="500"/>
                      <a:pt x="1430" y="499"/>
                    </a:cubicBezTo>
                    <a:cubicBezTo>
                      <a:pt x="1430" y="520"/>
                      <a:pt x="1432" y="582"/>
                      <a:pt x="1444" y="616"/>
                    </a:cubicBezTo>
                    <a:cubicBezTo>
                      <a:pt x="1453" y="643"/>
                      <a:pt x="1455" y="676"/>
                      <a:pt x="1458" y="706"/>
                    </a:cubicBezTo>
                    <a:cubicBezTo>
                      <a:pt x="1460" y="728"/>
                      <a:pt x="1461" y="751"/>
                      <a:pt x="1466" y="763"/>
                    </a:cubicBezTo>
                    <a:cubicBezTo>
                      <a:pt x="1485" y="818"/>
                      <a:pt x="1506" y="859"/>
                      <a:pt x="1525" y="880"/>
                    </a:cubicBezTo>
                    <a:cubicBezTo>
                      <a:pt x="1529" y="884"/>
                      <a:pt x="1533" y="889"/>
                      <a:pt x="1537" y="893"/>
                    </a:cubicBezTo>
                    <a:cubicBezTo>
                      <a:pt x="1581" y="941"/>
                      <a:pt x="1609" y="974"/>
                      <a:pt x="1599" y="1004"/>
                    </a:cubicBezTo>
                    <a:close/>
                    <a:moveTo>
                      <a:pt x="405" y="658"/>
                    </a:moveTo>
                    <a:cubicBezTo>
                      <a:pt x="424" y="653"/>
                      <a:pt x="446" y="646"/>
                      <a:pt x="446" y="645"/>
                    </a:cubicBezTo>
                    <a:cubicBezTo>
                      <a:pt x="447" y="645"/>
                      <a:pt x="469" y="637"/>
                      <a:pt x="487" y="628"/>
                    </a:cubicBezTo>
                    <a:cubicBezTo>
                      <a:pt x="498" y="622"/>
                      <a:pt x="498" y="622"/>
                      <a:pt x="498" y="622"/>
                    </a:cubicBezTo>
                    <a:cubicBezTo>
                      <a:pt x="499" y="559"/>
                      <a:pt x="499" y="559"/>
                      <a:pt x="499" y="559"/>
                    </a:cubicBezTo>
                    <a:cubicBezTo>
                      <a:pt x="509" y="552"/>
                      <a:pt x="519" y="545"/>
                      <a:pt x="528" y="536"/>
                    </a:cubicBezTo>
                    <a:cubicBezTo>
                      <a:pt x="589" y="546"/>
                      <a:pt x="589" y="546"/>
                      <a:pt x="589" y="546"/>
                    </a:cubicBezTo>
                    <a:cubicBezTo>
                      <a:pt x="597" y="536"/>
                      <a:pt x="597" y="536"/>
                      <a:pt x="597" y="536"/>
                    </a:cubicBezTo>
                    <a:cubicBezTo>
                      <a:pt x="609" y="520"/>
                      <a:pt x="620" y="500"/>
                      <a:pt x="621" y="499"/>
                    </a:cubicBezTo>
                    <a:cubicBezTo>
                      <a:pt x="621" y="498"/>
                      <a:pt x="633" y="478"/>
                      <a:pt x="640" y="460"/>
                    </a:cubicBezTo>
                    <a:cubicBezTo>
                      <a:pt x="646" y="448"/>
                      <a:pt x="646" y="448"/>
                      <a:pt x="646" y="448"/>
                    </a:cubicBezTo>
                    <a:cubicBezTo>
                      <a:pt x="610" y="404"/>
                      <a:pt x="610" y="404"/>
                      <a:pt x="610" y="404"/>
                    </a:cubicBezTo>
                    <a:cubicBezTo>
                      <a:pt x="614" y="390"/>
                      <a:pt x="617" y="375"/>
                      <a:pt x="618" y="360"/>
                    </a:cubicBezTo>
                    <a:cubicBezTo>
                      <a:pt x="666" y="332"/>
                      <a:pt x="666" y="332"/>
                      <a:pt x="666" y="332"/>
                    </a:cubicBezTo>
                    <a:cubicBezTo>
                      <a:pt x="666" y="319"/>
                      <a:pt x="666" y="319"/>
                      <a:pt x="666" y="319"/>
                    </a:cubicBezTo>
                    <a:cubicBezTo>
                      <a:pt x="664" y="299"/>
                      <a:pt x="660" y="276"/>
                      <a:pt x="660" y="275"/>
                    </a:cubicBezTo>
                    <a:cubicBezTo>
                      <a:pt x="660" y="274"/>
                      <a:pt x="656" y="252"/>
                      <a:pt x="650" y="233"/>
                    </a:cubicBezTo>
                    <a:cubicBezTo>
                      <a:pt x="647" y="220"/>
                      <a:pt x="647" y="220"/>
                      <a:pt x="647" y="220"/>
                    </a:cubicBezTo>
                    <a:cubicBezTo>
                      <a:pt x="588" y="209"/>
                      <a:pt x="588" y="209"/>
                      <a:pt x="588" y="209"/>
                    </a:cubicBezTo>
                    <a:cubicBezTo>
                      <a:pt x="582" y="197"/>
                      <a:pt x="575" y="186"/>
                      <a:pt x="567" y="176"/>
                    </a:cubicBezTo>
                    <a:cubicBezTo>
                      <a:pt x="588" y="118"/>
                      <a:pt x="588" y="118"/>
                      <a:pt x="588" y="118"/>
                    </a:cubicBezTo>
                    <a:cubicBezTo>
                      <a:pt x="579" y="108"/>
                      <a:pt x="579" y="108"/>
                      <a:pt x="579" y="108"/>
                    </a:cubicBezTo>
                    <a:cubicBezTo>
                      <a:pt x="565" y="94"/>
                      <a:pt x="547" y="79"/>
                      <a:pt x="547" y="78"/>
                    </a:cubicBezTo>
                    <a:cubicBezTo>
                      <a:pt x="546" y="78"/>
                      <a:pt x="528" y="63"/>
                      <a:pt x="512" y="52"/>
                    </a:cubicBezTo>
                    <a:cubicBezTo>
                      <a:pt x="501" y="45"/>
                      <a:pt x="501" y="45"/>
                      <a:pt x="501" y="45"/>
                    </a:cubicBezTo>
                    <a:cubicBezTo>
                      <a:pt x="441" y="78"/>
                      <a:pt x="441" y="78"/>
                      <a:pt x="441" y="78"/>
                    </a:cubicBezTo>
                    <a:cubicBezTo>
                      <a:pt x="432" y="75"/>
                      <a:pt x="423" y="72"/>
                      <a:pt x="414" y="69"/>
                    </a:cubicBezTo>
                    <a:cubicBezTo>
                      <a:pt x="390" y="4"/>
                      <a:pt x="390" y="4"/>
                      <a:pt x="390" y="4"/>
                    </a:cubicBezTo>
                    <a:cubicBezTo>
                      <a:pt x="377" y="3"/>
                      <a:pt x="377" y="3"/>
                      <a:pt x="377" y="3"/>
                    </a:cubicBezTo>
                    <a:cubicBezTo>
                      <a:pt x="357" y="0"/>
                      <a:pt x="334" y="0"/>
                      <a:pt x="333" y="0"/>
                    </a:cubicBezTo>
                    <a:cubicBezTo>
                      <a:pt x="332" y="0"/>
                      <a:pt x="309" y="0"/>
                      <a:pt x="290" y="3"/>
                    </a:cubicBezTo>
                    <a:cubicBezTo>
                      <a:pt x="276" y="4"/>
                      <a:pt x="276" y="4"/>
                      <a:pt x="276" y="4"/>
                    </a:cubicBezTo>
                    <a:cubicBezTo>
                      <a:pt x="252" y="69"/>
                      <a:pt x="252" y="69"/>
                      <a:pt x="252" y="69"/>
                    </a:cubicBezTo>
                    <a:cubicBezTo>
                      <a:pt x="243" y="72"/>
                      <a:pt x="234" y="75"/>
                      <a:pt x="225" y="78"/>
                    </a:cubicBezTo>
                    <a:cubicBezTo>
                      <a:pt x="165" y="45"/>
                      <a:pt x="165" y="45"/>
                      <a:pt x="165" y="45"/>
                    </a:cubicBezTo>
                    <a:cubicBezTo>
                      <a:pt x="154" y="52"/>
                      <a:pt x="154" y="52"/>
                      <a:pt x="154" y="52"/>
                    </a:cubicBezTo>
                    <a:cubicBezTo>
                      <a:pt x="138" y="63"/>
                      <a:pt x="120" y="77"/>
                      <a:pt x="119" y="78"/>
                    </a:cubicBezTo>
                    <a:cubicBezTo>
                      <a:pt x="119" y="79"/>
                      <a:pt x="101" y="93"/>
                      <a:pt x="88" y="108"/>
                    </a:cubicBezTo>
                    <a:cubicBezTo>
                      <a:pt x="78" y="118"/>
                      <a:pt x="78" y="118"/>
                      <a:pt x="78" y="118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91" y="186"/>
                      <a:pt x="84" y="197"/>
                      <a:pt x="78" y="209"/>
                    </a:cubicBezTo>
                    <a:cubicBezTo>
                      <a:pt x="19" y="220"/>
                      <a:pt x="19" y="220"/>
                      <a:pt x="19" y="220"/>
                    </a:cubicBezTo>
                    <a:cubicBezTo>
                      <a:pt x="16" y="232"/>
                      <a:pt x="16" y="232"/>
                      <a:pt x="16" y="232"/>
                    </a:cubicBezTo>
                    <a:cubicBezTo>
                      <a:pt x="10" y="251"/>
                      <a:pt x="6" y="274"/>
                      <a:pt x="6" y="275"/>
                    </a:cubicBezTo>
                    <a:cubicBezTo>
                      <a:pt x="5" y="276"/>
                      <a:pt x="1" y="298"/>
                      <a:pt x="0" y="318"/>
                    </a:cubicBezTo>
                    <a:cubicBezTo>
                      <a:pt x="0" y="332"/>
                      <a:pt x="0" y="332"/>
                      <a:pt x="0" y="332"/>
                    </a:cubicBezTo>
                    <a:cubicBezTo>
                      <a:pt x="48" y="360"/>
                      <a:pt x="48" y="360"/>
                      <a:pt x="48" y="360"/>
                    </a:cubicBezTo>
                    <a:cubicBezTo>
                      <a:pt x="50" y="375"/>
                      <a:pt x="52" y="390"/>
                      <a:pt x="56" y="404"/>
                    </a:cubicBezTo>
                    <a:cubicBezTo>
                      <a:pt x="20" y="448"/>
                      <a:pt x="20" y="448"/>
                      <a:pt x="20" y="448"/>
                    </a:cubicBezTo>
                    <a:cubicBezTo>
                      <a:pt x="25" y="460"/>
                      <a:pt x="25" y="460"/>
                      <a:pt x="25" y="460"/>
                    </a:cubicBezTo>
                    <a:cubicBezTo>
                      <a:pt x="33" y="478"/>
                      <a:pt x="44" y="498"/>
                      <a:pt x="45" y="499"/>
                    </a:cubicBezTo>
                    <a:cubicBezTo>
                      <a:pt x="45" y="500"/>
                      <a:pt x="57" y="520"/>
                      <a:pt x="69" y="535"/>
                    </a:cubicBezTo>
                    <a:cubicBezTo>
                      <a:pt x="77" y="546"/>
                      <a:pt x="77" y="546"/>
                      <a:pt x="77" y="546"/>
                    </a:cubicBezTo>
                    <a:cubicBezTo>
                      <a:pt x="138" y="536"/>
                      <a:pt x="138" y="536"/>
                      <a:pt x="138" y="536"/>
                    </a:cubicBezTo>
                    <a:cubicBezTo>
                      <a:pt x="147" y="544"/>
                      <a:pt x="156" y="552"/>
                      <a:pt x="166" y="559"/>
                    </a:cubicBezTo>
                    <a:cubicBezTo>
                      <a:pt x="167" y="622"/>
                      <a:pt x="167" y="622"/>
                      <a:pt x="167" y="622"/>
                    </a:cubicBezTo>
                    <a:cubicBezTo>
                      <a:pt x="179" y="628"/>
                      <a:pt x="179" y="628"/>
                      <a:pt x="179" y="628"/>
                    </a:cubicBezTo>
                    <a:cubicBezTo>
                      <a:pt x="197" y="637"/>
                      <a:pt x="218" y="645"/>
                      <a:pt x="219" y="645"/>
                    </a:cubicBezTo>
                    <a:cubicBezTo>
                      <a:pt x="220" y="645"/>
                      <a:pt x="242" y="653"/>
                      <a:pt x="261" y="658"/>
                    </a:cubicBezTo>
                    <a:cubicBezTo>
                      <a:pt x="274" y="661"/>
                      <a:pt x="274" y="661"/>
                      <a:pt x="274" y="661"/>
                    </a:cubicBezTo>
                    <a:cubicBezTo>
                      <a:pt x="317" y="610"/>
                      <a:pt x="317" y="610"/>
                      <a:pt x="317" y="610"/>
                    </a:cubicBezTo>
                    <a:cubicBezTo>
                      <a:pt x="328" y="611"/>
                      <a:pt x="338" y="611"/>
                      <a:pt x="348" y="610"/>
                    </a:cubicBezTo>
                    <a:cubicBezTo>
                      <a:pt x="392" y="661"/>
                      <a:pt x="392" y="661"/>
                      <a:pt x="392" y="661"/>
                    </a:cubicBezTo>
                    <a:lnTo>
                      <a:pt x="405" y="658"/>
                    </a:lnTo>
                    <a:close/>
                    <a:moveTo>
                      <a:pt x="356" y="565"/>
                    </a:moveTo>
                    <a:cubicBezTo>
                      <a:pt x="340" y="567"/>
                      <a:pt x="325" y="567"/>
                      <a:pt x="310" y="565"/>
                    </a:cubicBezTo>
                    <a:cubicBezTo>
                      <a:pt x="299" y="564"/>
                      <a:pt x="299" y="564"/>
                      <a:pt x="299" y="564"/>
                    </a:cubicBezTo>
                    <a:cubicBezTo>
                      <a:pt x="258" y="612"/>
                      <a:pt x="258" y="612"/>
                      <a:pt x="258" y="612"/>
                    </a:cubicBezTo>
                    <a:cubicBezTo>
                      <a:pt x="245" y="608"/>
                      <a:pt x="234" y="604"/>
                      <a:pt x="234" y="604"/>
                    </a:cubicBezTo>
                    <a:cubicBezTo>
                      <a:pt x="234" y="604"/>
                      <a:pt x="223" y="600"/>
                      <a:pt x="211" y="594"/>
                    </a:cubicBezTo>
                    <a:cubicBezTo>
                      <a:pt x="210" y="535"/>
                      <a:pt x="210" y="535"/>
                      <a:pt x="210" y="535"/>
                    </a:cubicBezTo>
                    <a:cubicBezTo>
                      <a:pt x="200" y="528"/>
                      <a:pt x="200" y="528"/>
                      <a:pt x="200" y="528"/>
                    </a:cubicBezTo>
                    <a:cubicBezTo>
                      <a:pt x="186" y="519"/>
                      <a:pt x="172" y="509"/>
                      <a:pt x="160" y="497"/>
                    </a:cubicBezTo>
                    <a:cubicBezTo>
                      <a:pt x="152" y="489"/>
                      <a:pt x="152" y="489"/>
                      <a:pt x="152" y="489"/>
                    </a:cubicBezTo>
                    <a:cubicBezTo>
                      <a:pt x="96" y="498"/>
                      <a:pt x="96" y="498"/>
                      <a:pt x="96" y="498"/>
                    </a:cubicBezTo>
                    <a:cubicBezTo>
                      <a:pt x="89" y="487"/>
                      <a:pt x="83" y="477"/>
                      <a:pt x="83" y="477"/>
                    </a:cubicBezTo>
                    <a:cubicBezTo>
                      <a:pt x="83" y="477"/>
                      <a:pt x="77" y="466"/>
                      <a:pt x="71" y="455"/>
                    </a:cubicBezTo>
                    <a:cubicBezTo>
                      <a:pt x="105" y="413"/>
                      <a:pt x="105" y="413"/>
                      <a:pt x="105" y="413"/>
                    </a:cubicBezTo>
                    <a:cubicBezTo>
                      <a:pt x="101" y="402"/>
                      <a:pt x="101" y="402"/>
                      <a:pt x="101" y="402"/>
                    </a:cubicBezTo>
                    <a:cubicBezTo>
                      <a:pt x="96" y="384"/>
                      <a:pt x="92" y="365"/>
                      <a:pt x="91" y="346"/>
                    </a:cubicBezTo>
                    <a:cubicBezTo>
                      <a:pt x="91" y="334"/>
                      <a:pt x="91" y="334"/>
                      <a:pt x="91" y="334"/>
                    </a:cubicBezTo>
                    <a:cubicBezTo>
                      <a:pt x="45" y="308"/>
                      <a:pt x="45" y="308"/>
                      <a:pt x="45" y="308"/>
                    </a:cubicBezTo>
                    <a:cubicBezTo>
                      <a:pt x="47" y="294"/>
                      <a:pt x="49" y="283"/>
                      <a:pt x="49" y="283"/>
                    </a:cubicBezTo>
                    <a:cubicBezTo>
                      <a:pt x="49" y="282"/>
                      <a:pt x="51" y="271"/>
                      <a:pt x="54" y="258"/>
                    </a:cubicBezTo>
                    <a:cubicBezTo>
                      <a:pt x="108" y="248"/>
                      <a:pt x="108" y="248"/>
                      <a:pt x="108" y="248"/>
                    </a:cubicBezTo>
                    <a:cubicBezTo>
                      <a:pt x="113" y="238"/>
                      <a:pt x="113" y="238"/>
                      <a:pt x="113" y="238"/>
                    </a:cubicBezTo>
                    <a:cubicBezTo>
                      <a:pt x="120" y="222"/>
                      <a:pt x="130" y="207"/>
                      <a:pt x="141" y="193"/>
                    </a:cubicBezTo>
                    <a:cubicBezTo>
                      <a:pt x="148" y="184"/>
                      <a:pt x="148" y="184"/>
                      <a:pt x="148" y="184"/>
                    </a:cubicBezTo>
                    <a:cubicBezTo>
                      <a:pt x="129" y="129"/>
                      <a:pt x="129" y="129"/>
                      <a:pt x="129" y="129"/>
                    </a:cubicBezTo>
                    <a:cubicBezTo>
                      <a:pt x="138" y="120"/>
                      <a:pt x="148" y="112"/>
                      <a:pt x="148" y="112"/>
                    </a:cubicBezTo>
                    <a:cubicBezTo>
                      <a:pt x="148" y="112"/>
                      <a:pt x="157" y="104"/>
                      <a:pt x="168" y="96"/>
                    </a:cubicBezTo>
                    <a:cubicBezTo>
                      <a:pt x="223" y="127"/>
                      <a:pt x="223" y="127"/>
                      <a:pt x="223" y="127"/>
                    </a:cubicBezTo>
                    <a:cubicBezTo>
                      <a:pt x="233" y="123"/>
                      <a:pt x="233" y="123"/>
                      <a:pt x="233" y="123"/>
                    </a:cubicBezTo>
                    <a:cubicBezTo>
                      <a:pt x="246" y="117"/>
                      <a:pt x="260" y="112"/>
                      <a:pt x="274" y="109"/>
                    </a:cubicBezTo>
                    <a:cubicBezTo>
                      <a:pt x="285" y="106"/>
                      <a:pt x="285" y="106"/>
                      <a:pt x="285" y="106"/>
                    </a:cubicBezTo>
                    <a:cubicBezTo>
                      <a:pt x="308" y="45"/>
                      <a:pt x="308" y="45"/>
                      <a:pt x="308" y="45"/>
                    </a:cubicBezTo>
                    <a:cubicBezTo>
                      <a:pt x="321" y="44"/>
                      <a:pt x="333" y="44"/>
                      <a:pt x="333" y="44"/>
                    </a:cubicBezTo>
                    <a:cubicBezTo>
                      <a:pt x="333" y="44"/>
                      <a:pt x="345" y="44"/>
                      <a:pt x="358" y="45"/>
                    </a:cubicBezTo>
                    <a:cubicBezTo>
                      <a:pt x="381" y="106"/>
                      <a:pt x="381" y="106"/>
                      <a:pt x="381" y="106"/>
                    </a:cubicBezTo>
                    <a:cubicBezTo>
                      <a:pt x="393" y="109"/>
                      <a:pt x="393" y="109"/>
                      <a:pt x="393" y="109"/>
                    </a:cubicBezTo>
                    <a:cubicBezTo>
                      <a:pt x="407" y="112"/>
                      <a:pt x="420" y="117"/>
                      <a:pt x="434" y="123"/>
                    </a:cubicBezTo>
                    <a:cubicBezTo>
                      <a:pt x="444" y="127"/>
                      <a:pt x="444" y="127"/>
                      <a:pt x="444" y="127"/>
                    </a:cubicBezTo>
                    <a:cubicBezTo>
                      <a:pt x="499" y="96"/>
                      <a:pt x="499" y="96"/>
                      <a:pt x="499" y="96"/>
                    </a:cubicBezTo>
                    <a:cubicBezTo>
                      <a:pt x="509" y="104"/>
                      <a:pt x="518" y="112"/>
                      <a:pt x="518" y="112"/>
                    </a:cubicBezTo>
                    <a:cubicBezTo>
                      <a:pt x="519" y="112"/>
                      <a:pt x="528" y="120"/>
                      <a:pt x="537" y="129"/>
                    </a:cubicBezTo>
                    <a:cubicBezTo>
                      <a:pt x="518" y="184"/>
                      <a:pt x="518" y="184"/>
                      <a:pt x="518" y="184"/>
                    </a:cubicBezTo>
                    <a:cubicBezTo>
                      <a:pt x="526" y="193"/>
                      <a:pt x="526" y="193"/>
                      <a:pt x="526" y="193"/>
                    </a:cubicBezTo>
                    <a:cubicBezTo>
                      <a:pt x="537" y="207"/>
                      <a:pt x="546" y="222"/>
                      <a:pt x="554" y="238"/>
                    </a:cubicBezTo>
                    <a:cubicBezTo>
                      <a:pt x="558" y="248"/>
                      <a:pt x="558" y="248"/>
                      <a:pt x="558" y="248"/>
                    </a:cubicBezTo>
                    <a:cubicBezTo>
                      <a:pt x="612" y="258"/>
                      <a:pt x="612" y="258"/>
                      <a:pt x="612" y="258"/>
                    </a:cubicBezTo>
                    <a:cubicBezTo>
                      <a:pt x="615" y="271"/>
                      <a:pt x="617" y="283"/>
                      <a:pt x="617" y="283"/>
                    </a:cubicBezTo>
                    <a:cubicBezTo>
                      <a:pt x="617" y="283"/>
                      <a:pt x="619" y="295"/>
                      <a:pt x="620" y="308"/>
                    </a:cubicBezTo>
                    <a:cubicBezTo>
                      <a:pt x="576" y="334"/>
                      <a:pt x="576" y="334"/>
                      <a:pt x="576" y="334"/>
                    </a:cubicBezTo>
                    <a:cubicBezTo>
                      <a:pt x="575" y="346"/>
                      <a:pt x="575" y="346"/>
                      <a:pt x="575" y="346"/>
                    </a:cubicBezTo>
                    <a:cubicBezTo>
                      <a:pt x="574" y="365"/>
                      <a:pt x="570" y="384"/>
                      <a:pt x="565" y="403"/>
                    </a:cubicBezTo>
                    <a:cubicBezTo>
                      <a:pt x="561" y="414"/>
                      <a:pt x="561" y="414"/>
                      <a:pt x="561" y="414"/>
                    </a:cubicBezTo>
                    <a:cubicBezTo>
                      <a:pt x="594" y="455"/>
                      <a:pt x="594" y="455"/>
                      <a:pt x="594" y="455"/>
                    </a:cubicBezTo>
                    <a:cubicBezTo>
                      <a:pt x="589" y="467"/>
                      <a:pt x="583" y="477"/>
                      <a:pt x="583" y="477"/>
                    </a:cubicBezTo>
                    <a:cubicBezTo>
                      <a:pt x="583" y="477"/>
                      <a:pt x="577" y="488"/>
                      <a:pt x="569" y="499"/>
                    </a:cubicBezTo>
                    <a:cubicBezTo>
                      <a:pt x="514" y="489"/>
                      <a:pt x="514" y="489"/>
                      <a:pt x="514" y="489"/>
                    </a:cubicBezTo>
                    <a:cubicBezTo>
                      <a:pt x="506" y="497"/>
                      <a:pt x="506" y="497"/>
                      <a:pt x="506" y="497"/>
                    </a:cubicBezTo>
                    <a:cubicBezTo>
                      <a:pt x="494" y="509"/>
                      <a:pt x="480" y="519"/>
                      <a:pt x="466" y="529"/>
                    </a:cubicBezTo>
                    <a:cubicBezTo>
                      <a:pt x="455" y="535"/>
                      <a:pt x="455" y="535"/>
                      <a:pt x="455" y="535"/>
                    </a:cubicBezTo>
                    <a:cubicBezTo>
                      <a:pt x="455" y="594"/>
                      <a:pt x="455" y="594"/>
                      <a:pt x="455" y="594"/>
                    </a:cubicBezTo>
                    <a:cubicBezTo>
                      <a:pt x="443" y="600"/>
                      <a:pt x="432" y="604"/>
                      <a:pt x="431" y="604"/>
                    </a:cubicBezTo>
                    <a:cubicBezTo>
                      <a:pt x="431" y="604"/>
                      <a:pt x="420" y="608"/>
                      <a:pt x="407" y="612"/>
                    </a:cubicBezTo>
                    <a:cubicBezTo>
                      <a:pt x="367" y="564"/>
                      <a:pt x="367" y="564"/>
                      <a:pt x="367" y="564"/>
                    </a:cubicBezTo>
                    <a:lnTo>
                      <a:pt x="356" y="565"/>
                    </a:lnTo>
                    <a:close/>
                    <a:moveTo>
                      <a:pt x="511" y="334"/>
                    </a:moveTo>
                    <a:cubicBezTo>
                      <a:pt x="511" y="236"/>
                      <a:pt x="431" y="156"/>
                      <a:pt x="333" y="156"/>
                    </a:cubicBezTo>
                    <a:cubicBezTo>
                      <a:pt x="235" y="156"/>
                      <a:pt x="155" y="236"/>
                      <a:pt x="155" y="334"/>
                    </a:cubicBezTo>
                    <a:cubicBezTo>
                      <a:pt x="155" y="432"/>
                      <a:pt x="235" y="512"/>
                      <a:pt x="333" y="512"/>
                    </a:cubicBezTo>
                    <a:cubicBezTo>
                      <a:pt x="431" y="512"/>
                      <a:pt x="511" y="432"/>
                      <a:pt x="511" y="334"/>
                    </a:cubicBezTo>
                    <a:close/>
                    <a:moveTo>
                      <a:pt x="467" y="334"/>
                    </a:moveTo>
                    <a:cubicBezTo>
                      <a:pt x="467" y="408"/>
                      <a:pt x="407" y="468"/>
                      <a:pt x="333" y="468"/>
                    </a:cubicBezTo>
                    <a:cubicBezTo>
                      <a:pt x="259" y="468"/>
                      <a:pt x="199" y="408"/>
                      <a:pt x="199" y="334"/>
                    </a:cubicBezTo>
                    <a:cubicBezTo>
                      <a:pt x="199" y="260"/>
                      <a:pt x="259" y="200"/>
                      <a:pt x="333" y="200"/>
                    </a:cubicBezTo>
                    <a:cubicBezTo>
                      <a:pt x="407" y="200"/>
                      <a:pt x="467" y="260"/>
                      <a:pt x="467" y="334"/>
                    </a:cubicBezTo>
                    <a:close/>
                  </a:path>
                </a:pathLst>
              </a:custGeom>
              <a:solidFill>
                <a:srgbClr val="4F81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164" name="bcgIcons_Simulation">
            <a:extLst>
              <a:ext uri="{FF2B5EF4-FFF2-40B4-BE49-F238E27FC236}">
                <a16:creationId xmlns="" xmlns:a16="http://schemas.microsoft.com/office/drawing/2014/main" id="{87E9DB1E-EEE8-46E9-906A-B9B55465492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539869" y="1449488"/>
            <a:ext cx="545421" cy="545925"/>
            <a:chOff x="1682" y="0"/>
            <a:chExt cx="4316" cy="4320"/>
          </a:xfrm>
        </p:grpSpPr>
        <p:sp>
          <p:nvSpPr>
            <p:cNvPr id="165" name="AutoShape 23">
              <a:extLst>
                <a:ext uri="{FF2B5EF4-FFF2-40B4-BE49-F238E27FC236}">
                  <a16:creationId xmlns="" xmlns:a16="http://schemas.microsoft.com/office/drawing/2014/main" id="{82CED00D-A03E-41F7-A37B-992BA3C1559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6" name="Freeform 25">
              <a:extLst>
                <a:ext uri="{FF2B5EF4-FFF2-40B4-BE49-F238E27FC236}">
                  <a16:creationId xmlns="" xmlns:a16="http://schemas.microsoft.com/office/drawing/2014/main" id="{3512E99C-1C78-47B3-A93A-173C4C793A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44" y="1314"/>
              <a:ext cx="3602" cy="1763"/>
            </a:xfrm>
            <a:custGeom>
              <a:avLst/>
              <a:gdLst>
                <a:gd name="T0" fmla="*/ 1332 w 1923"/>
                <a:gd name="T1" fmla="*/ 940 h 940"/>
                <a:gd name="T2" fmla="*/ 1178 w 1923"/>
                <a:gd name="T3" fmla="*/ 920 h 940"/>
                <a:gd name="T4" fmla="*/ 1042 w 1923"/>
                <a:gd name="T5" fmla="*/ 787 h 940"/>
                <a:gd name="T6" fmla="*/ 961 w 1923"/>
                <a:gd name="T7" fmla="*/ 532 h 940"/>
                <a:gd name="T8" fmla="*/ 881 w 1923"/>
                <a:gd name="T9" fmla="*/ 787 h 940"/>
                <a:gd name="T10" fmla="*/ 745 w 1923"/>
                <a:gd name="T11" fmla="*/ 920 h 940"/>
                <a:gd name="T12" fmla="*/ 590 w 1923"/>
                <a:gd name="T13" fmla="*/ 940 h 940"/>
                <a:gd name="T14" fmla="*/ 190 w 1923"/>
                <a:gd name="T15" fmla="*/ 853 h 940"/>
                <a:gd name="T16" fmla="*/ 36 w 1923"/>
                <a:gd name="T17" fmla="*/ 629 h 940"/>
                <a:gd name="T18" fmla="*/ 90 w 1923"/>
                <a:gd name="T19" fmla="*/ 272 h 940"/>
                <a:gd name="T20" fmla="*/ 835 w 1923"/>
                <a:gd name="T21" fmla="*/ 6 h 940"/>
                <a:gd name="T22" fmla="*/ 868 w 1923"/>
                <a:gd name="T23" fmla="*/ 10 h 940"/>
                <a:gd name="T24" fmla="*/ 882 w 1923"/>
                <a:gd name="T25" fmla="*/ 35 h 940"/>
                <a:gd name="T26" fmla="*/ 822 w 1923"/>
                <a:gd name="T27" fmla="*/ 203 h 940"/>
                <a:gd name="T28" fmla="*/ 792 w 1923"/>
                <a:gd name="T29" fmla="*/ 210 h 940"/>
                <a:gd name="T30" fmla="*/ 785 w 1923"/>
                <a:gd name="T31" fmla="*/ 179 h 940"/>
                <a:gd name="T32" fmla="*/ 841 w 1923"/>
                <a:gd name="T33" fmla="*/ 51 h 940"/>
                <a:gd name="T34" fmla="*/ 107 w 1923"/>
                <a:gd name="T35" fmla="*/ 313 h 940"/>
                <a:gd name="T36" fmla="*/ 80 w 1923"/>
                <a:gd name="T37" fmla="*/ 625 h 940"/>
                <a:gd name="T38" fmla="*/ 80 w 1923"/>
                <a:gd name="T39" fmla="*/ 626 h 940"/>
                <a:gd name="T40" fmla="*/ 208 w 1923"/>
                <a:gd name="T41" fmla="*/ 813 h 940"/>
                <a:gd name="T42" fmla="*/ 734 w 1923"/>
                <a:gd name="T43" fmla="*/ 878 h 940"/>
                <a:gd name="T44" fmla="*/ 736 w 1923"/>
                <a:gd name="T45" fmla="*/ 877 h 940"/>
                <a:gd name="T46" fmla="*/ 837 w 1923"/>
                <a:gd name="T47" fmla="*/ 784 h 940"/>
                <a:gd name="T48" fmla="*/ 858 w 1923"/>
                <a:gd name="T49" fmla="*/ 643 h 940"/>
                <a:gd name="T50" fmla="*/ 961 w 1923"/>
                <a:gd name="T51" fmla="*/ 488 h 940"/>
                <a:gd name="T52" fmla="*/ 1064 w 1923"/>
                <a:gd name="T53" fmla="*/ 643 h 940"/>
                <a:gd name="T54" fmla="*/ 1085 w 1923"/>
                <a:gd name="T55" fmla="*/ 784 h 940"/>
                <a:gd name="T56" fmla="*/ 1187 w 1923"/>
                <a:gd name="T57" fmla="*/ 877 h 940"/>
                <a:gd name="T58" fmla="*/ 1189 w 1923"/>
                <a:gd name="T59" fmla="*/ 878 h 940"/>
                <a:gd name="T60" fmla="*/ 1714 w 1923"/>
                <a:gd name="T61" fmla="*/ 813 h 940"/>
                <a:gd name="T62" fmla="*/ 1842 w 1923"/>
                <a:gd name="T63" fmla="*/ 626 h 940"/>
                <a:gd name="T64" fmla="*/ 1842 w 1923"/>
                <a:gd name="T65" fmla="*/ 625 h 940"/>
                <a:gd name="T66" fmla="*/ 1815 w 1923"/>
                <a:gd name="T67" fmla="*/ 313 h 940"/>
                <a:gd name="T68" fmla="*/ 1082 w 1923"/>
                <a:gd name="T69" fmla="*/ 51 h 940"/>
                <a:gd name="T70" fmla="*/ 1137 w 1923"/>
                <a:gd name="T71" fmla="*/ 179 h 940"/>
                <a:gd name="T72" fmla="*/ 1130 w 1923"/>
                <a:gd name="T73" fmla="*/ 210 h 940"/>
                <a:gd name="T74" fmla="*/ 1100 w 1923"/>
                <a:gd name="T75" fmla="*/ 203 h 940"/>
                <a:gd name="T76" fmla="*/ 1040 w 1923"/>
                <a:gd name="T77" fmla="*/ 35 h 940"/>
                <a:gd name="T78" fmla="*/ 1054 w 1923"/>
                <a:gd name="T79" fmla="*/ 10 h 940"/>
                <a:gd name="T80" fmla="*/ 1087 w 1923"/>
                <a:gd name="T81" fmla="*/ 6 h 940"/>
                <a:gd name="T82" fmla="*/ 1832 w 1923"/>
                <a:gd name="T83" fmla="*/ 272 h 940"/>
                <a:gd name="T84" fmla="*/ 1886 w 1923"/>
                <a:gd name="T85" fmla="*/ 629 h 940"/>
                <a:gd name="T86" fmla="*/ 1733 w 1923"/>
                <a:gd name="T87" fmla="*/ 853 h 940"/>
                <a:gd name="T88" fmla="*/ 1332 w 1923"/>
                <a:gd name="T89" fmla="*/ 940 h 940"/>
                <a:gd name="T90" fmla="*/ 106 w 1923"/>
                <a:gd name="T91" fmla="*/ 313 h 940"/>
                <a:gd name="T92" fmla="*/ 105 w 1923"/>
                <a:gd name="T93" fmla="*/ 313 h 940"/>
                <a:gd name="T94" fmla="*/ 106 w 1923"/>
                <a:gd name="T95" fmla="*/ 313 h 940"/>
                <a:gd name="T96" fmla="*/ 1816 w 1923"/>
                <a:gd name="T97" fmla="*/ 313 h 940"/>
                <a:gd name="T98" fmla="*/ 1817 w 1923"/>
                <a:gd name="T99" fmla="*/ 313 h 940"/>
                <a:gd name="T100" fmla="*/ 1816 w 1923"/>
                <a:gd name="T101" fmla="*/ 313 h 940"/>
                <a:gd name="T102" fmla="*/ 963 w 1923"/>
                <a:gd name="T103" fmla="*/ 400 h 940"/>
                <a:gd name="T104" fmla="*/ 1581 w 1923"/>
                <a:gd name="T105" fmla="*/ 319 h 940"/>
                <a:gd name="T106" fmla="*/ 963 w 1923"/>
                <a:gd name="T107" fmla="*/ 339 h 940"/>
                <a:gd name="T108" fmla="*/ 963 w 1923"/>
                <a:gd name="T109" fmla="*/ 339 h 940"/>
                <a:gd name="T110" fmla="*/ 961 w 1923"/>
                <a:gd name="T111" fmla="*/ 339 h 940"/>
                <a:gd name="T112" fmla="*/ 960 w 1923"/>
                <a:gd name="T113" fmla="*/ 339 h 940"/>
                <a:gd name="T114" fmla="*/ 960 w 1923"/>
                <a:gd name="T115" fmla="*/ 339 h 940"/>
                <a:gd name="T116" fmla="*/ 341 w 1923"/>
                <a:gd name="T117" fmla="*/ 319 h 940"/>
                <a:gd name="T118" fmla="*/ 960 w 1923"/>
                <a:gd name="T119" fmla="*/ 400 h 940"/>
                <a:gd name="T120" fmla="*/ 960 w 1923"/>
                <a:gd name="T121" fmla="*/ 400 h 940"/>
                <a:gd name="T122" fmla="*/ 961 w 1923"/>
                <a:gd name="T123" fmla="*/ 400 h 940"/>
                <a:gd name="T124" fmla="*/ 963 w 1923"/>
                <a:gd name="T125" fmla="*/ 400 h 9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923" h="940">
                  <a:moveTo>
                    <a:pt x="1332" y="940"/>
                  </a:moveTo>
                  <a:cubicBezTo>
                    <a:pt x="1280" y="940"/>
                    <a:pt x="1227" y="934"/>
                    <a:pt x="1178" y="920"/>
                  </a:cubicBezTo>
                  <a:cubicBezTo>
                    <a:pt x="1164" y="918"/>
                    <a:pt x="1050" y="892"/>
                    <a:pt x="1042" y="787"/>
                  </a:cubicBezTo>
                  <a:cubicBezTo>
                    <a:pt x="1032" y="667"/>
                    <a:pt x="997" y="532"/>
                    <a:pt x="961" y="532"/>
                  </a:cubicBezTo>
                  <a:cubicBezTo>
                    <a:pt x="925" y="532"/>
                    <a:pt x="890" y="667"/>
                    <a:pt x="881" y="787"/>
                  </a:cubicBezTo>
                  <a:cubicBezTo>
                    <a:pt x="872" y="892"/>
                    <a:pt x="758" y="918"/>
                    <a:pt x="745" y="920"/>
                  </a:cubicBezTo>
                  <a:cubicBezTo>
                    <a:pt x="695" y="934"/>
                    <a:pt x="643" y="940"/>
                    <a:pt x="590" y="940"/>
                  </a:cubicBezTo>
                  <a:cubicBezTo>
                    <a:pt x="430" y="940"/>
                    <a:pt x="269" y="889"/>
                    <a:pt x="190" y="853"/>
                  </a:cubicBezTo>
                  <a:cubicBezTo>
                    <a:pt x="52" y="791"/>
                    <a:pt x="37" y="642"/>
                    <a:pt x="36" y="629"/>
                  </a:cubicBezTo>
                  <a:cubicBezTo>
                    <a:pt x="0" y="321"/>
                    <a:pt x="75" y="277"/>
                    <a:pt x="90" y="272"/>
                  </a:cubicBezTo>
                  <a:cubicBezTo>
                    <a:pt x="120" y="261"/>
                    <a:pt x="817" y="12"/>
                    <a:pt x="835" y="6"/>
                  </a:cubicBezTo>
                  <a:cubicBezTo>
                    <a:pt x="852" y="0"/>
                    <a:pt x="863" y="6"/>
                    <a:pt x="868" y="10"/>
                  </a:cubicBezTo>
                  <a:cubicBezTo>
                    <a:pt x="877" y="16"/>
                    <a:pt x="881" y="26"/>
                    <a:pt x="882" y="35"/>
                  </a:cubicBezTo>
                  <a:cubicBezTo>
                    <a:pt x="896" y="84"/>
                    <a:pt x="840" y="176"/>
                    <a:pt x="822" y="203"/>
                  </a:cubicBezTo>
                  <a:cubicBezTo>
                    <a:pt x="816" y="213"/>
                    <a:pt x="802" y="216"/>
                    <a:pt x="792" y="210"/>
                  </a:cubicBezTo>
                  <a:cubicBezTo>
                    <a:pt x="782" y="203"/>
                    <a:pt x="779" y="189"/>
                    <a:pt x="785" y="179"/>
                  </a:cubicBezTo>
                  <a:cubicBezTo>
                    <a:pt x="815" y="133"/>
                    <a:pt x="843" y="73"/>
                    <a:pt x="841" y="51"/>
                  </a:cubicBezTo>
                  <a:cubicBezTo>
                    <a:pt x="759" y="79"/>
                    <a:pt x="141" y="300"/>
                    <a:pt x="107" y="313"/>
                  </a:cubicBezTo>
                  <a:cubicBezTo>
                    <a:pt x="102" y="316"/>
                    <a:pt x="49" y="362"/>
                    <a:pt x="80" y="625"/>
                  </a:cubicBezTo>
                  <a:cubicBezTo>
                    <a:pt x="80" y="625"/>
                    <a:pt x="80" y="625"/>
                    <a:pt x="80" y="626"/>
                  </a:cubicBezTo>
                  <a:cubicBezTo>
                    <a:pt x="81" y="631"/>
                    <a:pt x="92" y="761"/>
                    <a:pt x="208" y="813"/>
                  </a:cubicBezTo>
                  <a:cubicBezTo>
                    <a:pt x="308" y="858"/>
                    <a:pt x="547" y="930"/>
                    <a:pt x="734" y="878"/>
                  </a:cubicBezTo>
                  <a:cubicBezTo>
                    <a:pt x="734" y="878"/>
                    <a:pt x="735" y="877"/>
                    <a:pt x="736" y="877"/>
                  </a:cubicBezTo>
                  <a:cubicBezTo>
                    <a:pt x="740" y="877"/>
                    <a:pt x="831" y="859"/>
                    <a:pt x="837" y="784"/>
                  </a:cubicBezTo>
                  <a:cubicBezTo>
                    <a:pt x="837" y="781"/>
                    <a:pt x="842" y="713"/>
                    <a:pt x="858" y="643"/>
                  </a:cubicBezTo>
                  <a:cubicBezTo>
                    <a:pt x="882" y="539"/>
                    <a:pt x="915" y="488"/>
                    <a:pt x="961" y="488"/>
                  </a:cubicBezTo>
                  <a:cubicBezTo>
                    <a:pt x="1007" y="488"/>
                    <a:pt x="1041" y="539"/>
                    <a:pt x="1064" y="643"/>
                  </a:cubicBezTo>
                  <a:cubicBezTo>
                    <a:pt x="1080" y="713"/>
                    <a:pt x="1085" y="781"/>
                    <a:pt x="1085" y="784"/>
                  </a:cubicBezTo>
                  <a:cubicBezTo>
                    <a:pt x="1092" y="859"/>
                    <a:pt x="1183" y="877"/>
                    <a:pt x="1187" y="877"/>
                  </a:cubicBezTo>
                  <a:cubicBezTo>
                    <a:pt x="1187" y="877"/>
                    <a:pt x="1188" y="878"/>
                    <a:pt x="1189" y="878"/>
                  </a:cubicBezTo>
                  <a:cubicBezTo>
                    <a:pt x="1375" y="930"/>
                    <a:pt x="1614" y="858"/>
                    <a:pt x="1714" y="813"/>
                  </a:cubicBezTo>
                  <a:cubicBezTo>
                    <a:pt x="1830" y="761"/>
                    <a:pt x="1842" y="631"/>
                    <a:pt x="1842" y="626"/>
                  </a:cubicBezTo>
                  <a:cubicBezTo>
                    <a:pt x="1842" y="625"/>
                    <a:pt x="1842" y="625"/>
                    <a:pt x="1842" y="625"/>
                  </a:cubicBezTo>
                  <a:cubicBezTo>
                    <a:pt x="1873" y="362"/>
                    <a:pt x="1821" y="316"/>
                    <a:pt x="1815" y="313"/>
                  </a:cubicBezTo>
                  <a:cubicBezTo>
                    <a:pt x="1782" y="301"/>
                    <a:pt x="1163" y="79"/>
                    <a:pt x="1082" y="51"/>
                  </a:cubicBezTo>
                  <a:cubicBezTo>
                    <a:pt x="1079" y="73"/>
                    <a:pt x="1107" y="133"/>
                    <a:pt x="1137" y="179"/>
                  </a:cubicBezTo>
                  <a:cubicBezTo>
                    <a:pt x="1144" y="189"/>
                    <a:pt x="1141" y="203"/>
                    <a:pt x="1130" y="210"/>
                  </a:cubicBezTo>
                  <a:cubicBezTo>
                    <a:pt x="1120" y="216"/>
                    <a:pt x="1107" y="213"/>
                    <a:pt x="1100" y="203"/>
                  </a:cubicBezTo>
                  <a:cubicBezTo>
                    <a:pt x="1082" y="176"/>
                    <a:pt x="1026" y="84"/>
                    <a:pt x="1040" y="35"/>
                  </a:cubicBezTo>
                  <a:cubicBezTo>
                    <a:pt x="1041" y="26"/>
                    <a:pt x="1045" y="16"/>
                    <a:pt x="1054" y="10"/>
                  </a:cubicBezTo>
                  <a:cubicBezTo>
                    <a:pt x="1059" y="6"/>
                    <a:pt x="1071" y="0"/>
                    <a:pt x="1087" y="6"/>
                  </a:cubicBezTo>
                  <a:cubicBezTo>
                    <a:pt x="1106" y="12"/>
                    <a:pt x="1802" y="261"/>
                    <a:pt x="1832" y="272"/>
                  </a:cubicBezTo>
                  <a:cubicBezTo>
                    <a:pt x="1847" y="277"/>
                    <a:pt x="1923" y="321"/>
                    <a:pt x="1886" y="629"/>
                  </a:cubicBezTo>
                  <a:cubicBezTo>
                    <a:pt x="1885" y="642"/>
                    <a:pt x="1870" y="791"/>
                    <a:pt x="1733" y="853"/>
                  </a:cubicBezTo>
                  <a:cubicBezTo>
                    <a:pt x="1653" y="889"/>
                    <a:pt x="1492" y="940"/>
                    <a:pt x="1332" y="940"/>
                  </a:cubicBezTo>
                  <a:close/>
                  <a:moveTo>
                    <a:pt x="106" y="313"/>
                  </a:moveTo>
                  <a:cubicBezTo>
                    <a:pt x="106" y="313"/>
                    <a:pt x="105" y="313"/>
                    <a:pt x="105" y="313"/>
                  </a:cubicBezTo>
                  <a:cubicBezTo>
                    <a:pt x="105" y="313"/>
                    <a:pt x="106" y="313"/>
                    <a:pt x="106" y="313"/>
                  </a:cubicBezTo>
                  <a:close/>
                  <a:moveTo>
                    <a:pt x="1816" y="313"/>
                  </a:moveTo>
                  <a:cubicBezTo>
                    <a:pt x="1816" y="313"/>
                    <a:pt x="1817" y="313"/>
                    <a:pt x="1817" y="313"/>
                  </a:cubicBezTo>
                  <a:cubicBezTo>
                    <a:pt x="1817" y="313"/>
                    <a:pt x="1816" y="313"/>
                    <a:pt x="1816" y="313"/>
                  </a:cubicBezTo>
                  <a:close/>
                  <a:moveTo>
                    <a:pt x="963" y="400"/>
                  </a:moveTo>
                  <a:cubicBezTo>
                    <a:pt x="1379" y="400"/>
                    <a:pt x="1581" y="319"/>
                    <a:pt x="1581" y="319"/>
                  </a:cubicBezTo>
                  <a:cubicBezTo>
                    <a:pt x="1277" y="349"/>
                    <a:pt x="995" y="340"/>
                    <a:pt x="963" y="339"/>
                  </a:cubicBezTo>
                  <a:cubicBezTo>
                    <a:pt x="963" y="339"/>
                    <a:pt x="963" y="339"/>
                    <a:pt x="963" y="339"/>
                  </a:cubicBezTo>
                  <a:cubicBezTo>
                    <a:pt x="963" y="339"/>
                    <a:pt x="962" y="339"/>
                    <a:pt x="961" y="339"/>
                  </a:cubicBezTo>
                  <a:cubicBezTo>
                    <a:pt x="960" y="339"/>
                    <a:pt x="960" y="339"/>
                    <a:pt x="960" y="339"/>
                  </a:cubicBezTo>
                  <a:cubicBezTo>
                    <a:pt x="960" y="339"/>
                    <a:pt x="960" y="339"/>
                    <a:pt x="960" y="339"/>
                  </a:cubicBezTo>
                  <a:cubicBezTo>
                    <a:pt x="928" y="340"/>
                    <a:pt x="646" y="349"/>
                    <a:pt x="341" y="319"/>
                  </a:cubicBezTo>
                  <a:cubicBezTo>
                    <a:pt x="341" y="319"/>
                    <a:pt x="543" y="400"/>
                    <a:pt x="960" y="400"/>
                  </a:cubicBezTo>
                  <a:cubicBezTo>
                    <a:pt x="960" y="400"/>
                    <a:pt x="960" y="400"/>
                    <a:pt x="960" y="400"/>
                  </a:cubicBezTo>
                  <a:cubicBezTo>
                    <a:pt x="960" y="400"/>
                    <a:pt x="961" y="400"/>
                    <a:pt x="961" y="400"/>
                  </a:cubicBezTo>
                  <a:cubicBezTo>
                    <a:pt x="962" y="400"/>
                    <a:pt x="962" y="400"/>
                    <a:pt x="963" y="400"/>
                  </a:cubicBezTo>
                  <a:close/>
                </a:path>
              </a:pathLst>
            </a:custGeom>
            <a:solidFill>
              <a:srgbClr val="4F81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7" name="Freeform 26">
              <a:extLst>
                <a:ext uri="{FF2B5EF4-FFF2-40B4-BE49-F238E27FC236}">
                  <a16:creationId xmlns="" xmlns:a16="http://schemas.microsoft.com/office/drawing/2014/main" id="{D04C8FD2-D703-4AEC-A0A7-4DA6BC6FE6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63" y="1993"/>
              <a:ext cx="3186" cy="977"/>
            </a:xfrm>
            <a:custGeom>
              <a:avLst/>
              <a:gdLst>
                <a:gd name="T0" fmla="*/ 766 w 1701"/>
                <a:gd name="T1" fmla="*/ 107 h 521"/>
                <a:gd name="T2" fmla="*/ 770 w 1701"/>
                <a:gd name="T3" fmla="*/ 117 h 521"/>
                <a:gd name="T4" fmla="*/ 698 w 1701"/>
                <a:gd name="T5" fmla="*/ 275 h 521"/>
                <a:gd name="T6" fmla="*/ 676 w 1701"/>
                <a:gd name="T7" fmla="*/ 421 h 521"/>
                <a:gd name="T8" fmla="*/ 611 w 1701"/>
                <a:gd name="T9" fmla="*/ 474 h 521"/>
                <a:gd name="T10" fmla="*/ 605 w 1701"/>
                <a:gd name="T11" fmla="*/ 476 h 521"/>
                <a:gd name="T12" fmla="*/ 108 w 1701"/>
                <a:gd name="T13" fmla="*/ 413 h 521"/>
                <a:gd name="T14" fmla="*/ 7 w 1701"/>
                <a:gd name="T15" fmla="*/ 264 h 521"/>
                <a:gd name="T16" fmla="*/ 6 w 1701"/>
                <a:gd name="T17" fmla="*/ 261 h 521"/>
                <a:gd name="T18" fmla="*/ 0 w 1701"/>
                <a:gd name="T19" fmla="*/ 204 h 521"/>
                <a:gd name="T20" fmla="*/ 410 w 1701"/>
                <a:gd name="T21" fmla="*/ 296 h 521"/>
                <a:gd name="T22" fmla="*/ 410 w 1701"/>
                <a:gd name="T23" fmla="*/ 153 h 521"/>
                <a:gd name="T24" fmla="*/ 0 w 1701"/>
                <a:gd name="T25" fmla="*/ 61 h 521"/>
                <a:gd name="T26" fmla="*/ 10 w 1701"/>
                <a:gd name="T27" fmla="*/ 8 h 521"/>
                <a:gd name="T28" fmla="*/ 22 w 1701"/>
                <a:gd name="T29" fmla="*/ 2 h 521"/>
                <a:gd name="T30" fmla="*/ 81 w 1701"/>
                <a:gd name="T31" fmla="*/ 21 h 521"/>
                <a:gd name="T32" fmla="*/ 766 w 1701"/>
                <a:gd name="T33" fmla="*/ 106 h 521"/>
                <a:gd name="T34" fmla="*/ 766 w 1701"/>
                <a:gd name="T35" fmla="*/ 107 h 521"/>
                <a:gd name="T36" fmla="*/ 1680 w 1701"/>
                <a:gd name="T37" fmla="*/ 8 h 521"/>
                <a:gd name="T38" fmla="*/ 1667 w 1701"/>
                <a:gd name="T39" fmla="*/ 2 h 521"/>
                <a:gd name="T40" fmla="*/ 1609 w 1701"/>
                <a:gd name="T41" fmla="*/ 21 h 521"/>
                <a:gd name="T42" fmla="*/ 923 w 1701"/>
                <a:gd name="T43" fmla="*/ 106 h 521"/>
                <a:gd name="T44" fmla="*/ 923 w 1701"/>
                <a:gd name="T45" fmla="*/ 107 h 521"/>
                <a:gd name="T46" fmla="*/ 923 w 1701"/>
                <a:gd name="T47" fmla="*/ 107 h 521"/>
                <a:gd name="T48" fmla="*/ 919 w 1701"/>
                <a:gd name="T49" fmla="*/ 117 h 521"/>
                <a:gd name="T50" fmla="*/ 991 w 1701"/>
                <a:gd name="T51" fmla="*/ 275 h 521"/>
                <a:gd name="T52" fmla="*/ 1013 w 1701"/>
                <a:gd name="T53" fmla="*/ 421 h 521"/>
                <a:gd name="T54" fmla="*/ 1078 w 1701"/>
                <a:gd name="T55" fmla="*/ 474 h 521"/>
                <a:gd name="T56" fmla="*/ 1084 w 1701"/>
                <a:gd name="T57" fmla="*/ 476 h 521"/>
                <a:gd name="T58" fmla="*/ 1581 w 1701"/>
                <a:gd name="T59" fmla="*/ 413 h 521"/>
                <a:gd name="T60" fmla="*/ 1683 w 1701"/>
                <a:gd name="T61" fmla="*/ 264 h 521"/>
                <a:gd name="T62" fmla="*/ 1683 w 1701"/>
                <a:gd name="T63" fmla="*/ 261 h 521"/>
                <a:gd name="T64" fmla="*/ 1680 w 1701"/>
                <a:gd name="T65" fmla="*/ 8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01" h="521">
                  <a:moveTo>
                    <a:pt x="766" y="107"/>
                  </a:moveTo>
                  <a:cubicBezTo>
                    <a:pt x="772" y="107"/>
                    <a:pt x="774" y="113"/>
                    <a:pt x="770" y="117"/>
                  </a:cubicBezTo>
                  <a:cubicBezTo>
                    <a:pt x="724" y="162"/>
                    <a:pt x="706" y="242"/>
                    <a:pt x="698" y="275"/>
                  </a:cubicBezTo>
                  <a:cubicBezTo>
                    <a:pt x="682" y="347"/>
                    <a:pt x="676" y="418"/>
                    <a:pt x="676" y="421"/>
                  </a:cubicBezTo>
                  <a:cubicBezTo>
                    <a:pt x="673" y="460"/>
                    <a:pt x="615" y="473"/>
                    <a:pt x="611" y="474"/>
                  </a:cubicBezTo>
                  <a:cubicBezTo>
                    <a:pt x="609" y="475"/>
                    <a:pt x="607" y="475"/>
                    <a:pt x="605" y="476"/>
                  </a:cubicBezTo>
                  <a:cubicBezTo>
                    <a:pt x="443" y="521"/>
                    <a:pt x="219" y="463"/>
                    <a:pt x="108" y="413"/>
                  </a:cubicBezTo>
                  <a:cubicBezTo>
                    <a:pt x="19" y="373"/>
                    <a:pt x="7" y="271"/>
                    <a:pt x="7" y="264"/>
                  </a:cubicBezTo>
                  <a:cubicBezTo>
                    <a:pt x="6" y="263"/>
                    <a:pt x="6" y="262"/>
                    <a:pt x="6" y="261"/>
                  </a:cubicBezTo>
                  <a:cubicBezTo>
                    <a:pt x="4" y="241"/>
                    <a:pt x="2" y="222"/>
                    <a:pt x="0" y="204"/>
                  </a:cubicBezTo>
                  <a:cubicBezTo>
                    <a:pt x="62" y="230"/>
                    <a:pt x="197" y="276"/>
                    <a:pt x="410" y="296"/>
                  </a:cubicBezTo>
                  <a:cubicBezTo>
                    <a:pt x="410" y="153"/>
                    <a:pt x="410" y="153"/>
                    <a:pt x="410" y="153"/>
                  </a:cubicBezTo>
                  <a:cubicBezTo>
                    <a:pt x="195" y="133"/>
                    <a:pt x="60" y="87"/>
                    <a:pt x="0" y="61"/>
                  </a:cubicBezTo>
                  <a:cubicBezTo>
                    <a:pt x="2" y="36"/>
                    <a:pt x="6" y="19"/>
                    <a:pt x="10" y="8"/>
                  </a:cubicBezTo>
                  <a:cubicBezTo>
                    <a:pt x="11" y="3"/>
                    <a:pt x="17" y="0"/>
                    <a:pt x="22" y="2"/>
                  </a:cubicBezTo>
                  <a:cubicBezTo>
                    <a:pt x="81" y="21"/>
                    <a:pt x="81" y="21"/>
                    <a:pt x="81" y="21"/>
                  </a:cubicBezTo>
                  <a:cubicBezTo>
                    <a:pt x="90" y="25"/>
                    <a:pt x="315" y="98"/>
                    <a:pt x="766" y="106"/>
                  </a:cubicBezTo>
                  <a:cubicBezTo>
                    <a:pt x="766" y="107"/>
                    <a:pt x="766" y="107"/>
                    <a:pt x="766" y="107"/>
                  </a:cubicBezTo>
                  <a:close/>
                  <a:moveTo>
                    <a:pt x="1680" y="8"/>
                  </a:moveTo>
                  <a:cubicBezTo>
                    <a:pt x="1678" y="3"/>
                    <a:pt x="1672" y="0"/>
                    <a:pt x="1667" y="2"/>
                  </a:cubicBezTo>
                  <a:cubicBezTo>
                    <a:pt x="1609" y="21"/>
                    <a:pt x="1609" y="21"/>
                    <a:pt x="1609" y="21"/>
                  </a:cubicBezTo>
                  <a:cubicBezTo>
                    <a:pt x="1599" y="25"/>
                    <a:pt x="1375" y="98"/>
                    <a:pt x="923" y="106"/>
                  </a:cubicBezTo>
                  <a:cubicBezTo>
                    <a:pt x="923" y="107"/>
                    <a:pt x="923" y="107"/>
                    <a:pt x="923" y="107"/>
                  </a:cubicBezTo>
                  <a:cubicBezTo>
                    <a:pt x="923" y="107"/>
                    <a:pt x="923" y="107"/>
                    <a:pt x="923" y="107"/>
                  </a:cubicBezTo>
                  <a:cubicBezTo>
                    <a:pt x="917" y="107"/>
                    <a:pt x="915" y="113"/>
                    <a:pt x="919" y="117"/>
                  </a:cubicBezTo>
                  <a:cubicBezTo>
                    <a:pt x="965" y="162"/>
                    <a:pt x="984" y="242"/>
                    <a:pt x="991" y="275"/>
                  </a:cubicBezTo>
                  <a:cubicBezTo>
                    <a:pt x="1007" y="347"/>
                    <a:pt x="1013" y="418"/>
                    <a:pt x="1013" y="421"/>
                  </a:cubicBezTo>
                  <a:cubicBezTo>
                    <a:pt x="1017" y="462"/>
                    <a:pt x="1078" y="474"/>
                    <a:pt x="1078" y="474"/>
                  </a:cubicBezTo>
                  <a:cubicBezTo>
                    <a:pt x="1080" y="475"/>
                    <a:pt x="1082" y="475"/>
                    <a:pt x="1084" y="476"/>
                  </a:cubicBezTo>
                  <a:cubicBezTo>
                    <a:pt x="1246" y="521"/>
                    <a:pt x="1470" y="463"/>
                    <a:pt x="1581" y="413"/>
                  </a:cubicBezTo>
                  <a:cubicBezTo>
                    <a:pt x="1672" y="373"/>
                    <a:pt x="1683" y="265"/>
                    <a:pt x="1683" y="264"/>
                  </a:cubicBezTo>
                  <a:cubicBezTo>
                    <a:pt x="1683" y="263"/>
                    <a:pt x="1683" y="262"/>
                    <a:pt x="1683" y="261"/>
                  </a:cubicBezTo>
                  <a:cubicBezTo>
                    <a:pt x="1701" y="109"/>
                    <a:pt x="1689" y="38"/>
                    <a:pt x="1680" y="8"/>
                  </a:cubicBezTo>
                  <a:close/>
                </a:path>
              </a:pathLst>
            </a:custGeom>
            <a:solidFill>
              <a:srgbClr val="1F49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73" name="Group 172"/>
          <p:cNvGrpSpPr>
            <a:grpSpLocks noChangeAspect="1"/>
          </p:cNvGrpSpPr>
          <p:nvPr/>
        </p:nvGrpSpPr>
        <p:grpSpPr>
          <a:xfrm>
            <a:off x="9970659" y="1617002"/>
            <a:ext cx="442663" cy="442663"/>
            <a:chOff x="5273675" y="2606675"/>
            <a:chExt cx="1644650" cy="1644650"/>
          </a:xfrm>
        </p:grpSpPr>
        <p:sp>
          <p:nvSpPr>
            <p:cNvPr id="174" name="AutoShape 3"/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D4DF33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5" name="Freeform 174"/>
            <p:cNvSpPr>
              <a:spLocks/>
            </p:cNvSpPr>
            <p:nvPr/>
          </p:nvSpPr>
          <p:spPr bwMode="auto">
            <a:xfrm>
              <a:off x="5457823" y="2882900"/>
              <a:ext cx="1276352" cy="1092201"/>
            </a:xfrm>
            <a:custGeom>
              <a:avLst/>
              <a:gdLst>
                <a:gd name="connsiteX0" fmla="*/ 31750 w 1276352"/>
                <a:gd name="connsiteY0" fmla="*/ 981075 h 1092201"/>
                <a:gd name="connsiteX1" fmla="*/ 31750 w 1276352"/>
                <a:gd name="connsiteY1" fmla="*/ 1062038 h 1092201"/>
                <a:gd name="connsiteX2" fmla="*/ 601107 w 1276352"/>
                <a:gd name="connsiteY2" fmla="*/ 1062038 h 1092201"/>
                <a:gd name="connsiteX3" fmla="*/ 631825 w 1276352"/>
                <a:gd name="connsiteY3" fmla="*/ 1062038 h 1092201"/>
                <a:gd name="connsiteX4" fmla="*/ 631825 w 1276352"/>
                <a:gd name="connsiteY4" fmla="*/ 981075 h 1092201"/>
                <a:gd name="connsiteX5" fmla="*/ 601107 w 1276352"/>
                <a:gd name="connsiteY5" fmla="*/ 981075 h 1092201"/>
                <a:gd name="connsiteX6" fmla="*/ 31750 w 1276352"/>
                <a:gd name="connsiteY6" fmla="*/ 981075 h 1092201"/>
                <a:gd name="connsiteX7" fmla="*/ 749117 w 1276352"/>
                <a:gd name="connsiteY7" fmla="*/ 903288 h 1092201"/>
                <a:gd name="connsiteX8" fmla="*/ 733426 w 1276352"/>
                <a:gd name="connsiteY8" fmla="*/ 919163 h 1092201"/>
                <a:gd name="connsiteX9" fmla="*/ 749117 w 1276352"/>
                <a:gd name="connsiteY9" fmla="*/ 935038 h 1092201"/>
                <a:gd name="connsiteX10" fmla="*/ 865373 w 1276352"/>
                <a:gd name="connsiteY10" fmla="*/ 935038 h 1092201"/>
                <a:gd name="connsiteX11" fmla="*/ 881064 w 1276352"/>
                <a:gd name="connsiteY11" fmla="*/ 919163 h 1092201"/>
                <a:gd name="connsiteX12" fmla="*/ 865373 w 1276352"/>
                <a:gd name="connsiteY12" fmla="*/ 903288 h 1092201"/>
                <a:gd name="connsiteX13" fmla="*/ 749117 w 1276352"/>
                <a:gd name="connsiteY13" fmla="*/ 903288 h 1092201"/>
                <a:gd name="connsiteX14" fmla="*/ 946152 w 1276352"/>
                <a:gd name="connsiteY14" fmla="*/ 889000 h 1092201"/>
                <a:gd name="connsiteX15" fmla="*/ 915989 w 1276352"/>
                <a:gd name="connsiteY15" fmla="*/ 918369 h 1092201"/>
                <a:gd name="connsiteX16" fmla="*/ 946152 w 1276352"/>
                <a:gd name="connsiteY16" fmla="*/ 947738 h 1092201"/>
                <a:gd name="connsiteX17" fmla="*/ 976315 w 1276352"/>
                <a:gd name="connsiteY17" fmla="*/ 918369 h 1092201"/>
                <a:gd name="connsiteX18" fmla="*/ 946152 w 1276352"/>
                <a:gd name="connsiteY18" fmla="*/ 889000 h 1092201"/>
                <a:gd name="connsiteX19" fmla="*/ 1092201 w 1276352"/>
                <a:gd name="connsiteY19" fmla="*/ 876300 h 1092201"/>
                <a:gd name="connsiteX20" fmla="*/ 1135064 w 1276352"/>
                <a:gd name="connsiteY20" fmla="*/ 919163 h 1092201"/>
                <a:gd name="connsiteX21" fmla="*/ 1092201 w 1276352"/>
                <a:gd name="connsiteY21" fmla="*/ 962026 h 1092201"/>
                <a:gd name="connsiteX22" fmla="*/ 1049338 w 1276352"/>
                <a:gd name="connsiteY22" fmla="*/ 919163 h 1092201"/>
                <a:gd name="connsiteX23" fmla="*/ 1092201 w 1276352"/>
                <a:gd name="connsiteY23" fmla="*/ 876300 h 1092201"/>
                <a:gd name="connsiteX24" fmla="*/ 1092202 w 1276352"/>
                <a:gd name="connsiteY24" fmla="*/ 842963 h 1092201"/>
                <a:gd name="connsiteX25" fmla="*/ 1017589 w 1276352"/>
                <a:gd name="connsiteY25" fmla="*/ 917576 h 1092201"/>
                <a:gd name="connsiteX26" fmla="*/ 1092202 w 1276352"/>
                <a:gd name="connsiteY26" fmla="*/ 992189 h 1092201"/>
                <a:gd name="connsiteX27" fmla="*/ 1166815 w 1276352"/>
                <a:gd name="connsiteY27" fmla="*/ 917576 h 1092201"/>
                <a:gd name="connsiteX28" fmla="*/ 1092202 w 1276352"/>
                <a:gd name="connsiteY28" fmla="*/ 842963 h 1092201"/>
                <a:gd name="connsiteX29" fmla="*/ 448029 w 1276352"/>
                <a:gd name="connsiteY29" fmla="*/ 804863 h 1092201"/>
                <a:gd name="connsiteX30" fmla="*/ 444501 w 1276352"/>
                <a:gd name="connsiteY30" fmla="*/ 808471 h 1092201"/>
                <a:gd name="connsiteX31" fmla="*/ 444501 w 1276352"/>
                <a:gd name="connsiteY31" fmla="*/ 872693 h 1092201"/>
                <a:gd name="connsiteX32" fmla="*/ 448029 w 1276352"/>
                <a:gd name="connsiteY32" fmla="*/ 876301 h 1092201"/>
                <a:gd name="connsiteX33" fmla="*/ 510823 w 1276352"/>
                <a:gd name="connsiteY33" fmla="*/ 876301 h 1092201"/>
                <a:gd name="connsiteX34" fmla="*/ 514351 w 1276352"/>
                <a:gd name="connsiteY34" fmla="*/ 872693 h 1092201"/>
                <a:gd name="connsiteX35" fmla="*/ 514351 w 1276352"/>
                <a:gd name="connsiteY35" fmla="*/ 808471 h 1092201"/>
                <a:gd name="connsiteX36" fmla="*/ 510823 w 1276352"/>
                <a:gd name="connsiteY36" fmla="*/ 804863 h 1092201"/>
                <a:gd name="connsiteX37" fmla="*/ 448029 w 1276352"/>
                <a:gd name="connsiteY37" fmla="*/ 804863 h 1092201"/>
                <a:gd name="connsiteX38" fmla="*/ 306742 w 1276352"/>
                <a:gd name="connsiteY38" fmla="*/ 804863 h 1092201"/>
                <a:gd name="connsiteX39" fmla="*/ 303214 w 1276352"/>
                <a:gd name="connsiteY39" fmla="*/ 808471 h 1092201"/>
                <a:gd name="connsiteX40" fmla="*/ 303214 w 1276352"/>
                <a:gd name="connsiteY40" fmla="*/ 872693 h 1092201"/>
                <a:gd name="connsiteX41" fmla="*/ 306742 w 1276352"/>
                <a:gd name="connsiteY41" fmla="*/ 876301 h 1092201"/>
                <a:gd name="connsiteX42" fmla="*/ 369536 w 1276352"/>
                <a:gd name="connsiteY42" fmla="*/ 876301 h 1092201"/>
                <a:gd name="connsiteX43" fmla="*/ 373064 w 1276352"/>
                <a:gd name="connsiteY43" fmla="*/ 872693 h 1092201"/>
                <a:gd name="connsiteX44" fmla="*/ 373064 w 1276352"/>
                <a:gd name="connsiteY44" fmla="*/ 808471 h 1092201"/>
                <a:gd name="connsiteX45" fmla="*/ 369536 w 1276352"/>
                <a:gd name="connsiteY45" fmla="*/ 804863 h 1092201"/>
                <a:gd name="connsiteX46" fmla="*/ 306742 w 1276352"/>
                <a:gd name="connsiteY46" fmla="*/ 804863 h 1092201"/>
                <a:gd name="connsiteX47" fmla="*/ 154342 w 1276352"/>
                <a:gd name="connsiteY47" fmla="*/ 804863 h 1092201"/>
                <a:gd name="connsiteX48" fmla="*/ 150814 w 1276352"/>
                <a:gd name="connsiteY48" fmla="*/ 808471 h 1092201"/>
                <a:gd name="connsiteX49" fmla="*/ 150814 w 1276352"/>
                <a:gd name="connsiteY49" fmla="*/ 872693 h 1092201"/>
                <a:gd name="connsiteX50" fmla="*/ 154342 w 1276352"/>
                <a:gd name="connsiteY50" fmla="*/ 876301 h 1092201"/>
                <a:gd name="connsiteX51" fmla="*/ 217136 w 1276352"/>
                <a:gd name="connsiteY51" fmla="*/ 876301 h 1092201"/>
                <a:gd name="connsiteX52" fmla="*/ 220664 w 1276352"/>
                <a:gd name="connsiteY52" fmla="*/ 872693 h 1092201"/>
                <a:gd name="connsiteX53" fmla="*/ 220664 w 1276352"/>
                <a:gd name="connsiteY53" fmla="*/ 808471 h 1092201"/>
                <a:gd name="connsiteX54" fmla="*/ 217136 w 1276352"/>
                <a:gd name="connsiteY54" fmla="*/ 804863 h 1092201"/>
                <a:gd name="connsiteX55" fmla="*/ 154342 w 1276352"/>
                <a:gd name="connsiteY55" fmla="*/ 804863 h 1092201"/>
                <a:gd name="connsiteX56" fmla="*/ 693425 w 1276352"/>
                <a:gd name="connsiteY56" fmla="*/ 744538 h 1092201"/>
                <a:gd name="connsiteX57" fmla="*/ 1101117 w 1276352"/>
                <a:gd name="connsiteY57" fmla="*/ 744538 h 1092201"/>
                <a:gd name="connsiteX58" fmla="*/ 1106838 w 1276352"/>
                <a:gd name="connsiteY58" fmla="*/ 744538 h 1092201"/>
                <a:gd name="connsiteX59" fmla="*/ 1276352 w 1276352"/>
                <a:gd name="connsiteY59" fmla="*/ 918725 h 1092201"/>
                <a:gd name="connsiteX60" fmla="*/ 1101117 w 1276352"/>
                <a:gd name="connsiteY60" fmla="*/ 1092201 h 1092201"/>
                <a:gd name="connsiteX61" fmla="*/ 690564 w 1276352"/>
                <a:gd name="connsiteY61" fmla="*/ 1092201 h 1092201"/>
                <a:gd name="connsiteX62" fmla="*/ 693425 w 1276352"/>
                <a:gd name="connsiteY62" fmla="*/ 1076560 h 1092201"/>
                <a:gd name="connsiteX63" fmla="*/ 693425 w 1276352"/>
                <a:gd name="connsiteY63" fmla="*/ 744538 h 1092201"/>
                <a:gd name="connsiteX64" fmla="*/ 880894 w 1276352"/>
                <a:gd name="connsiteY64" fmla="*/ 544513 h 1092201"/>
                <a:gd name="connsiteX65" fmla="*/ 1105070 w 1276352"/>
                <a:gd name="connsiteY65" fmla="*/ 544513 h 1092201"/>
                <a:gd name="connsiteX66" fmla="*/ 1120776 w 1276352"/>
                <a:gd name="connsiteY66" fmla="*/ 560281 h 1092201"/>
                <a:gd name="connsiteX67" fmla="*/ 1120776 w 1276352"/>
                <a:gd name="connsiteY67" fmla="*/ 698608 h 1092201"/>
                <a:gd name="connsiteX68" fmla="*/ 1110067 w 1276352"/>
                <a:gd name="connsiteY68" fmla="*/ 713659 h 1092201"/>
                <a:gd name="connsiteX69" fmla="*/ 1105070 w 1276352"/>
                <a:gd name="connsiteY69" fmla="*/ 714376 h 1092201"/>
                <a:gd name="connsiteX70" fmla="*/ 880894 w 1276352"/>
                <a:gd name="connsiteY70" fmla="*/ 714376 h 1092201"/>
                <a:gd name="connsiteX71" fmla="*/ 875183 w 1276352"/>
                <a:gd name="connsiteY71" fmla="*/ 713659 h 1092201"/>
                <a:gd name="connsiteX72" fmla="*/ 865188 w 1276352"/>
                <a:gd name="connsiteY72" fmla="*/ 698608 h 1092201"/>
                <a:gd name="connsiteX73" fmla="*/ 865188 w 1276352"/>
                <a:gd name="connsiteY73" fmla="*/ 560281 h 1092201"/>
                <a:gd name="connsiteX74" fmla="*/ 880894 w 1276352"/>
                <a:gd name="connsiteY74" fmla="*/ 544513 h 1092201"/>
                <a:gd name="connsiteX75" fmla="*/ 693738 w 1276352"/>
                <a:gd name="connsiteY75" fmla="*/ 544513 h 1092201"/>
                <a:gd name="connsiteX76" fmla="*/ 814619 w 1276352"/>
                <a:gd name="connsiteY76" fmla="*/ 544513 h 1092201"/>
                <a:gd name="connsiteX77" fmla="*/ 830263 w 1276352"/>
                <a:gd name="connsiteY77" fmla="*/ 560281 h 1092201"/>
                <a:gd name="connsiteX78" fmla="*/ 830263 w 1276352"/>
                <a:gd name="connsiteY78" fmla="*/ 698608 h 1092201"/>
                <a:gd name="connsiteX79" fmla="*/ 820308 w 1276352"/>
                <a:gd name="connsiteY79" fmla="*/ 713659 h 1092201"/>
                <a:gd name="connsiteX80" fmla="*/ 814619 w 1276352"/>
                <a:gd name="connsiteY80" fmla="*/ 714376 h 1092201"/>
                <a:gd name="connsiteX81" fmla="*/ 693738 w 1276352"/>
                <a:gd name="connsiteY81" fmla="*/ 714376 h 1092201"/>
                <a:gd name="connsiteX82" fmla="*/ 693738 w 1276352"/>
                <a:gd name="connsiteY82" fmla="*/ 713659 h 1092201"/>
                <a:gd name="connsiteX83" fmla="*/ 693738 w 1276352"/>
                <a:gd name="connsiteY83" fmla="*/ 544513 h 1092201"/>
                <a:gd name="connsiteX84" fmla="*/ 480220 w 1276352"/>
                <a:gd name="connsiteY84" fmla="*/ 244475 h 1092201"/>
                <a:gd name="connsiteX85" fmla="*/ 444501 w 1276352"/>
                <a:gd name="connsiteY85" fmla="*/ 279400 h 1092201"/>
                <a:gd name="connsiteX86" fmla="*/ 480220 w 1276352"/>
                <a:gd name="connsiteY86" fmla="*/ 314325 h 1092201"/>
                <a:gd name="connsiteX87" fmla="*/ 515939 w 1276352"/>
                <a:gd name="connsiteY87" fmla="*/ 279400 h 1092201"/>
                <a:gd name="connsiteX88" fmla="*/ 480220 w 1276352"/>
                <a:gd name="connsiteY88" fmla="*/ 244475 h 1092201"/>
                <a:gd name="connsiteX89" fmla="*/ 338139 w 1276352"/>
                <a:gd name="connsiteY89" fmla="*/ 244475 h 1092201"/>
                <a:gd name="connsiteX90" fmla="*/ 303214 w 1276352"/>
                <a:gd name="connsiteY90" fmla="*/ 279400 h 1092201"/>
                <a:gd name="connsiteX91" fmla="*/ 338139 w 1276352"/>
                <a:gd name="connsiteY91" fmla="*/ 314325 h 1092201"/>
                <a:gd name="connsiteX92" fmla="*/ 373064 w 1276352"/>
                <a:gd name="connsiteY92" fmla="*/ 279400 h 1092201"/>
                <a:gd name="connsiteX93" fmla="*/ 338139 w 1276352"/>
                <a:gd name="connsiteY93" fmla="*/ 244475 h 1092201"/>
                <a:gd name="connsiteX94" fmla="*/ 185739 w 1276352"/>
                <a:gd name="connsiteY94" fmla="*/ 244475 h 1092201"/>
                <a:gd name="connsiteX95" fmla="*/ 150814 w 1276352"/>
                <a:gd name="connsiteY95" fmla="*/ 279400 h 1092201"/>
                <a:gd name="connsiteX96" fmla="*/ 185739 w 1276352"/>
                <a:gd name="connsiteY96" fmla="*/ 314325 h 1092201"/>
                <a:gd name="connsiteX97" fmla="*/ 220664 w 1276352"/>
                <a:gd name="connsiteY97" fmla="*/ 279400 h 1092201"/>
                <a:gd name="connsiteX98" fmla="*/ 185739 w 1276352"/>
                <a:gd name="connsiteY98" fmla="*/ 244475 h 1092201"/>
                <a:gd name="connsiteX99" fmla="*/ 164390 w 1276352"/>
                <a:gd name="connsiteY99" fmla="*/ 134938 h 1092201"/>
                <a:gd name="connsiteX100" fmla="*/ 150814 w 1276352"/>
                <a:gd name="connsiteY100" fmla="*/ 150416 h 1092201"/>
                <a:gd name="connsiteX101" fmla="*/ 150814 w 1276352"/>
                <a:gd name="connsiteY101" fmla="*/ 181373 h 1092201"/>
                <a:gd name="connsiteX102" fmla="*/ 164390 w 1276352"/>
                <a:gd name="connsiteY102" fmla="*/ 196851 h 1092201"/>
                <a:gd name="connsiteX103" fmla="*/ 501649 w 1276352"/>
                <a:gd name="connsiteY103" fmla="*/ 196851 h 1092201"/>
                <a:gd name="connsiteX104" fmla="*/ 515939 w 1276352"/>
                <a:gd name="connsiteY104" fmla="*/ 181373 h 1092201"/>
                <a:gd name="connsiteX105" fmla="*/ 515939 w 1276352"/>
                <a:gd name="connsiteY105" fmla="*/ 150416 h 1092201"/>
                <a:gd name="connsiteX106" fmla="*/ 501649 w 1276352"/>
                <a:gd name="connsiteY106" fmla="*/ 134938 h 1092201"/>
                <a:gd name="connsiteX107" fmla="*/ 164390 w 1276352"/>
                <a:gd name="connsiteY107" fmla="*/ 134938 h 1092201"/>
                <a:gd name="connsiteX108" fmla="*/ 995364 w 1276352"/>
                <a:gd name="connsiteY108" fmla="*/ 92075 h 1092201"/>
                <a:gd name="connsiteX109" fmla="*/ 967222 w 1276352"/>
                <a:gd name="connsiteY109" fmla="*/ 108485 h 1092201"/>
                <a:gd name="connsiteX110" fmla="*/ 963614 w 1276352"/>
                <a:gd name="connsiteY110" fmla="*/ 124182 h 1092201"/>
                <a:gd name="connsiteX111" fmla="*/ 967222 w 1276352"/>
                <a:gd name="connsiteY111" fmla="*/ 139878 h 1092201"/>
                <a:gd name="connsiteX112" fmla="*/ 979489 w 1276352"/>
                <a:gd name="connsiteY112" fmla="*/ 151294 h 1092201"/>
                <a:gd name="connsiteX113" fmla="*/ 995364 w 1276352"/>
                <a:gd name="connsiteY113" fmla="*/ 155575 h 1092201"/>
                <a:gd name="connsiteX114" fmla="*/ 1011239 w 1276352"/>
                <a:gd name="connsiteY114" fmla="*/ 151294 h 1092201"/>
                <a:gd name="connsiteX115" fmla="*/ 1027114 w 1276352"/>
                <a:gd name="connsiteY115" fmla="*/ 124182 h 1092201"/>
                <a:gd name="connsiteX116" fmla="*/ 995364 w 1276352"/>
                <a:gd name="connsiteY116" fmla="*/ 92075 h 1092201"/>
                <a:gd name="connsiteX117" fmla="*/ 65089 w 1276352"/>
                <a:gd name="connsiteY117" fmla="*/ 61913 h 1092201"/>
                <a:gd name="connsiteX118" fmla="*/ 601664 w 1276352"/>
                <a:gd name="connsiteY118" fmla="*/ 61913 h 1092201"/>
                <a:gd name="connsiteX119" fmla="*/ 601664 w 1276352"/>
                <a:gd name="connsiteY119" fmla="*/ 111155 h 1092201"/>
                <a:gd name="connsiteX120" fmla="*/ 601664 w 1276352"/>
                <a:gd name="connsiteY120" fmla="*/ 136846 h 1092201"/>
                <a:gd name="connsiteX121" fmla="*/ 601664 w 1276352"/>
                <a:gd name="connsiteY121" fmla="*/ 917576 h 1092201"/>
                <a:gd name="connsiteX122" fmla="*/ 65089 w 1276352"/>
                <a:gd name="connsiteY122" fmla="*/ 917576 h 1092201"/>
                <a:gd name="connsiteX123" fmla="*/ 65089 w 1276352"/>
                <a:gd name="connsiteY123" fmla="*/ 61913 h 1092201"/>
                <a:gd name="connsiteX124" fmla="*/ 994597 w 1276352"/>
                <a:gd name="connsiteY124" fmla="*/ 60325 h 1092201"/>
                <a:gd name="connsiteX125" fmla="*/ 1057335 w 1276352"/>
                <a:gd name="connsiteY125" fmla="*/ 123693 h 1092201"/>
                <a:gd name="connsiteX126" fmla="*/ 1010281 w 1276352"/>
                <a:gd name="connsiteY126" fmla="*/ 184213 h 1092201"/>
                <a:gd name="connsiteX127" fmla="*/ 1010281 w 1276352"/>
                <a:gd name="connsiteY127" fmla="*/ 309526 h 1092201"/>
                <a:gd name="connsiteX128" fmla="*/ 1040937 w 1276352"/>
                <a:gd name="connsiteY128" fmla="*/ 309526 h 1092201"/>
                <a:gd name="connsiteX129" fmla="*/ 1055909 w 1276352"/>
                <a:gd name="connsiteY129" fmla="*/ 320206 h 1092201"/>
                <a:gd name="connsiteX130" fmla="*/ 1085139 w 1276352"/>
                <a:gd name="connsiteY130" fmla="*/ 411342 h 1092201"/>
                <a:gd name="connsiteX131" fmla="*/ 1084426 w 1276352"/>
                <a:gd name="connsiteY131" fmla="*/ 423446 h 1092201"/>
                <a:gd name="connsiteX132" fmla="*/ 1055909 w 1276352"/>
                <a:gd name="connsiteY132" fmla="*/ 480406 h 1092201"/>
                <a:gd name="connsiteX133" fmla="*/ 1041650 w 1276352"/>
                <a:gd name="connsiteY133" fmla="*/ 488950 h 1092201"/>
                <a:gd name="connsiteX134" fmla="*/ 1035234 w 1276352"/>
                <a:gd name="connsiteY134" fmla="*/ 487526 h 1092201"/>
                <a:gd name="connsiteX135" fmla="*/ 1028105 w 1276352"/>
                <a:gd name="connsiteY135" fmla="*/ 466166 h 1092201"/>
                <a:gd name="connsiteX136" fmla="*/ 1053057 w 1276352"/>
                <a:gd name="connsiteY136" fmla="*/ 414902 h 1092201"/>
                <a:gd name="connsiteX137" fmla="*/ 1029531 w 1276352"/>
                <a:gd name="connsiteY137" fmla="*/ 340854 h 1092201"/>
                <a:gd name="connsiteX138" fmla="*/ 994597 w 1276352"/>
                <a:gd name="connsiteY138" fmla="*/ 340854 h 1092201"/>
                <a:gd name="connsiteX139" fmla="*/ 959663 w 1276352"/>
                <a:gd name="connsiteY139" fmla="*/ 340854 h 1092201"/>
                <a:gd name="connsiteX140" fmla="*/ 936136 w 1276352"/>
                <a:gd name="connsiteY140" fmla="*/ 414902 h 1092201"/>
                <a:gd name="connsiteX141" fmla="*/ 961089 w 1276352"/>
                <a:gd name="connsiteY141" fmla="*/ 466166 h 1092201"/>
                <a:gd name="connsiteX142" fmla="*/ 953960 w 1276352"/>
                <a:gd name="connsiteY142" fmla="*/ 487526 h 1092201"/>
                <a:gd name="connsiteX143" fmla="*/ 947543 w 1276352"/>
                <a:gd name="connsiteY143" fmla="*/ 488950 h 1092201"/>
                <a:gd name="connsiteX144" fmla="*/ 933285 w 1276352"/>
                <a:gd name="connsiteY144" fmla="*/ 480406 h 1092201"/>
                <a:gd name="connsiteX145" fmla="*/ 904767 w 1276352"/>
                <a:gd name="connsiteY145" fmla="*/ 423446 h 1092201"/>
                <a:gd name="connsiteX146" fmla="*/ 904054 w 1276352"/>
                <a:gd name="connsiteY146" fmla="*/ 411342 h 1092201"/>
                <a:gd name="connsiteX147" fmla="*/ 933285 w 1276352"/>
                <a:gd name="connsiteY147" fmla="*/ 320206 h 1092201"/>
                <a:gd name="connsiteX148" fmla="*/ 948256 w 1276352"/>
                <a:gd name="connsiteY148" fmla="*/ 309526 h 1092201"/>
                <a:gd name="connsiteX149" fmla="*/ 978912 w 1276352"/>
                <a:gd name="connsiteY149" fmla="*/ 309526 h 1092201"/>
                <a:gd name="connsiteX150" fmla="*/ 978912 w 1276352"/>
                <a:gd name="connsiteY150" fmla="*/ 184213 h 1092201"/>
                <a:gd name="connsiteX151" fmla="*/ 933285 w 1276352"/>
                <a:gd name="connsiteY151" fmla="*/ 139357 h 1092201"/>
                <a:gd name="connsiteX152" fmla="*/ 693739 w 1276352"/>
                <a:gd name="connsiteY152" fmla="*/ 139357 h 1092201"/>
                <a:gd name="connsiteX153" fmla="*/ 693739 w 1276352"/>
                <a:gd name="connsiteY153" fmla="*/ 108029 h 1092201"/>
                <a:gd name="connsiteX154" fmla="*/ 933285 w 1276352"/>
                <a:gd name="connsiteY154" fmla="*/ 108029 h 1092201"/>
                <a:gd name="connsiteX155" fmla="*/ 994597 w 1276352"/>
                <a:gd name="connsiteY155" fmla="*/ 60325 h 1092201"/>
                <a:gd name="connsiteX156" fmla="*/ 31750 w 1276352"/>
                <a:gd name="connsiteY156" fmla="*/ 30163 h 1092201"/>
                <a:gd name="connsiteX157" fmla="*/ 31750 w 1276352"/>
                <a:gd name="connsiteY157" fmla="*/ 949326 h 1092201"/>
                <a:gd name="connsiteX158" fmla="*/ 601107 w 1276352"/>
                <a:gd name="connsiteY158" fmla="*/ 949326 h 1092201"/>
                <a:gd name="connsiteX159" fmla="*/ 631825 w 1276352"/>
                <a:gd name="connsiteY159" fmla="*/ 949326 h 1092201"/>
                <a:gd name="connsiteX160" fmla="*/ 631825 w 1276352"/>
                <a:gd name="connsiteY160" fmla="*/ 713643 h 1092201"/>
                <a:gd name="connsiteX161" fmla="*/ 631825 w 1276352"/>
                <a:gd name="connsiteY161" fmla="*/ 139434 h 1092201"/>
                <a:gd name="connsiteX162" fmla="*/ 631825 w 1276352"/>
                <a:gd name="connsiteY162" fmla="*/ 108010 h 1092201"/>
                <a:gd name="connsiteX163" fmla="*/ 631825 w 1276352"/>
                <a:gd name="connsiteY163" fmla="*/ 30163 h 1092201"/>
                <a:gd name="connsiteX164" fmla="*/ 31750 w 1276352"/>
                <a:gd name="connsiteY164" fmla="*/ 30163 h 1092201"/>
                <a:gd name="connsiteX165" fmla="*/ 14301 w 1276352"/>
                <a:gd name="connsiteY165" fmla="*/ 0 h 1092201"/>
                <a:gd name="connsiteX166" fmla="*/ 15732 w 1276352"/>
                <a:gd name="connsiteY166" fmla="*/ 0 h 1092201"/>
                <a:gd name="connsiteX167" fmla="*/ 647844 w 1276352"/>
                <a:gd name="connsiteY167" fmla="*/ 0 h 1092201"/>
                <a:gd name="connsiteX168" fmla="*/ 649274 w 1276352"/>
                <a:gd name="connsiteY168" fmla="*/ 0 h 1092201"/>
                <a:gd name="connsiteX169" fmla="*/ 663575 w 1276352"/>
                <a:gd name="connsiteY169" fmla="*/ 15684 h 1092201"/>
                <a:gd name="connsiteX170" fmla="*/ 663575 w 1276352"/>
                <a:gd name="connsiteY170" fmla="*/ 109078 h 1092201"/>
                <a:gd name="connsiteX171" fmla="*/ 663575 w 1276352"/>
                <a:gd name="connsiteY171" fmla="*/ 140446 h 1092201"/>
                <a:gd name="connsiteX172" fmla="*/ 663575 w 1276352"/>
                <a:gd name="connsiteY172" fmla="*/ 543961 h 1092201"/>
                <a:gd name="connsiteX173" fmla="*/ 663575 w 1276352"/>
                <a:gd name="connsiteY173" fmla="*/ 713637 h 1092201"/>
                <a:gd name="connsiteX174" fmla="*/ 663575 w 1276352"/>
                <a:gd name="connsiteY174" fmla="*/ 714350 h 1092201"/>
                <a:gd name="connsiteX175" fmla="*/ 663575 w 1276352"/>
                <a:gd name="connsiteY175" fmla="*/ 745006 h 1092201"/>
                <a:gd name="connsiteX176" fmla="*/ 663575 w 1276352"/>
                <a:gd name="connsiteY176" fmla="*/ 1076516 h 1092201"/>
                <a:gd name="connsiteX177" fmla="*/ 649989 w 1276352"/>
                <a:gd name="connsiteY177" fmla="*/ 1091487 h 1092201"/>
                <a:gd name="connsiteX178" fmla="*/ 647844 w 1276352"/>
                <a:gd name="connsiteY178" fmla="*/ 1092200 h 1092201"/>
                <a:gd name="connsiteX179" fmla="*/ 601365 w 1276352"/>
                <a:gd name="connsiteY179" fmla="*/ 1092200 h 1092201"/>
                <a:gd name="connsiteX180" fmla="*/ 15732 w 1276352"/>
                <a:gd name="connsiteY180" fmla="*/ 1092200 h 1092201"/>
                <a:gd name="connsiteX181" fmla="*/ 12871 w 1276352"/>
                <a:gd name="connsiteY181" fmla="*/ 1091487 h 1092201"/>
                <a:gd name="connsiteX182" fmla="*/ 0 w 1276352"/>
                <a:gd name="connsiteY182" fmla="*/ 1076516 h 1092201"/>
                <a:gd name="connsiteX183" fmla="*/ 0 w 1276352"/>
                <a:gd name="connsiteY183" fmla="*/ 980271 h 1092201"/>
                <a:gd name="connsiteX184" fmla="*/ 0 w 1276352"/>
                <a:gd name="connsiteY184" fmla="*/ 948902 h 1092201"/>
                <a:gd name="connsiteX185" fmla="*/ 0 w 1276352"/>
                <a:gd name="connsiteY185" fmla="*/ 15684 h 1092201"/>
                <a:gd name="connsiteX186" fmla="*/ 14301 w 1276352"/>
                <a:gd name="connsiteY186" fmla="*/ 0 h 1092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</a:cxnLst>
              <a:rect l="l" t="t" r="r" b="b"/>
              <a:pathLst>
                <a:path w="1276352" h="1092201">
                  <a:moveTo>
                    <a:pt x="31750" y="981075"/>
                  </a:moveTo>
                  <a:cubicBezTo>
                    <a:pt x="31750" y="981075"/>
                    <a:pt x="31750" y="981075"/>
                    <a:pt x="31750" y="1062038"/>
                  </a:cubicBezTo>
                  <a:cubicBezTo>
                    <a:pt x="31750" y="1062038"/>
                    <a:pt x="31750" y="1062038"/>
                    <a:pt x="601107" y="1062038"/>
                  </a:cubicBezTo>
                  <a:cubicBezTo>
                    <a:pt x="601107" y="1062038"/>
                    <a:pt x="601107" y="1062038"/>
                    <a:pt x="631825" y="1062038"/>
                  </a:cubicBezTo>
                  <a:cubicBezTo>
                    <a:pt x="631825" y="1062038"/>
                    <a:pt x="631825" y="1062038"/>
                    <a:pt x="631825" y="981075"/>
                  </a:cubicBezTo>
                  <a:cubicBezTo>
                    <a:pt x="631825" y="981075"/>
                    <a:pt x="631825" y="981075"/>
                    <a:pt x="601107" y="981075"/>
                  </a:cubicBezTo>
                  <a:cubicBezTo>
                    <a:pt x="601107" y="981075"/>
                    <a:pt x="601107" y="981075"/>
                    <a:pt x="31750" y="981075"/>
                  </a:cubicBezTo>
                  <a:close/>
                  <a:moveTo>
                    <a:pt x="749117" y="903288"/>
                  </a:moveTo>
                  <a:cubicBezTo>
                    <a:pt x="740559" y="903288"/>
                    <a:pt x="733426" y="910504"/>
                    <a:pt x="733426" y="919163"/>
                  </a:cubicBezTo>
                  <a:cubicBezTo>
                    <a:pt x="733426" y="927822"/>
                    <a:pt x="740559" y="935038"/>
                    <a:pt x="749117" y="935038"/>
                  </a:cubicBezTo>
                  <a:cubicBezTo>
                    <a:pt x="749117" y="935038"/>
                    <a:pt x="749117" y="935038"/>
                    <a:pt x="865373" y="935038"/>
                  </a:cubicBezTo>
                  <a:cubicBezTo>
                    <a:pt x="873932" y="935038"/>
                    <a:pt x="881064" y="927822"/>
                    <a:pt x="881064" y="919163"/>
                  </a:cubicBezTo>
                  <a:cubicBezTo>
                    <a:pt x="881064" y="910504"/>
                    <a:pt x="873932" y="903288"/>
                    <a:pt x="865373" y="903288"/>
                  </a:cubicBezTo>
                  <a:cubicBezTo>
                    <a:pt x="865373" y="903288"/>
                    <a:pt x="865373" y="903288"/>
                    <a:pt x="749117" y="903288"/>
                  </a:cubicBezTo>
                  <a:close/>
                  <a:moveTo>
                    <a:pt x="946152" y="889000"/>
                  </a:moveTo>
                  <a:cubicBezTo>
                    <a:pt x="929493" y="889000"/>
                    <a:pt x="915989" y="902149"/>
                    <a:pt x="915989" y="918369"/>
                  </a:cubicBezTo>
                  <a:cubicBezTo>
                    <a:pt x="915989" y="934589"/>
                    <a:pt x="929493" y="947738"/>
                    <a:pt x="946152" y="947738"/>
                  </a:cubicBezTo>
                  <a:cubicBezTo>
                    <a:pt x="962811" y="947738"/>
                    <a:pt x="976315" y="934589"/>
                    <a:pt x="976315" y="918369"/>
                  </a:cubicBezTo>
                  <a:cubicBezTo>
                    <a:pt x="976315" y="902149"/>
                    <a:pt x="962811" y="889000"/>
                    <a:pt x="946152" y="889000"/>
                  </a:cubicBezTo>
                  <a:close/>
                  <a:moveTo>
                    <a:pt x="1092201" y="876300"/>
                  </a:moveTo>
                  <a:cubicBezTo>
                    <a:pt x="1115874" y="876300"/>
                    <a:pt x="1135064" y="895490"/>
                    <a:pt x="1135064" y="919163"/>
                  </a:cubicBezTo>
                  <a:cubicBezTo>
                    <a:pt x="1135064" y="942836"/>
                    <a:pt x="1115874" y="962026"/>
                    <a:pt x="1092201" y="962026"/>
                  </a:cubicBezTo>
                  <a:cubicBezTo>
                    <a:pt x="1068528" y="962026"/>
                    <a:pt x="1049338" y="942836"/>
                    <a:pt x="1049338" y="919163"/>
                  </a:cubicBezTo>
                  <a:cubicBezTo>
                    <a:pt x="1049338" y="895490"/>
                    <a:pt x="1068528" y="876300"/>
                    <a:pt x="1092201" y="876300"/>
                  </a:cubicBezTo>
                  <a:close/>
                  <a:moveTo>
                    <a:pt x="1092202" y="842963"/>
                  </a:moveTo>
                  <a:cubicBezTo>
                    <a:pt x="1050994" y="842963"/>
                    <a:pt x="1017589" y="876368"/>
                    <a:pt x="1017589" y="917576"/>
                  </a:cubicBezTo>
                  <a:cubicBezTo>
                    <a:pt x="1017589" y="958784"/>
                    <a:pt x="1050994" y="992189"/>
                    <a:pt x="1092202" y="992189"/>
                  </a:cubicBezTo>
                  <a:cubicBezTo>
                    <a:pt x="1133410" y="992189"/>
                    <a:pt x="1166815" y="958784"/>
                    <a:pt x="1166815" y="917576"/>
                  </a:cubicBezTo>
                  <a:cubicBezTo>
                    <a:pt x="1166815" y="876368"/>
                    <a:pt x="1133410" y="842963"/>
                    <a:pt x="1092202" y="842963"/>
                  </a:cubicBezTo>
                  <a:close/>
                  <a:moveTo>
                    <a:pt x="448029" y="804863"/>
                  </a:moveTo>
                  <a:cubicBezTo>
                    <a:pt x="445912" y="804863"/>
                    <a:pt x="444501" y="806306"/>
                    <a:pt x="444501" y="808471"/>
                  </a:cubicBezTo>
                  <a:cubicBezTo>
                    <a:pt x="444501" y="808471"/>
                    <a:pt x="444501" y="808471"/>
                    <a:pt x="444501" y="872693"/>
                  </a:cubicBezTo>
                  <a:cubicBezTo>
                    <a:pt x="444501" y="874858"/>
                    <a:pt x="445912" y="876301"/>
                    <a:pt x="448029" y="876301"/>
                  </a:cubicBezTo>
                  <a:cubicBezTo>
                    <a:pt x="448029" y="876301"/>
                    <a:pt x="448029" y="876301"/>
                    <a:pt x="510823" y="876301"/>
                  </a:cubicBezTo>
                  <a:cubicBezTo>
                    <a:pt x="512940" y="876301"/>
                    <a:pt x="514351" y="874858"/>
                    <a:pt x="514351" y="872693"/>
                  </a:cubicBezTo>
                  <a:cubicBezTo>
                    <a:pt x="514351" y="872693"/>
                    <a:pt x="514351" y="872693"/>
                    <a:pt x="514351" y="808471"/>
                  </a:cubicBezTo>
                  <a:cubicBezTo>
                    <a:pt x="514351" y="806306"/>
                    <a:pt x="512940" y="804863"/>
                    <a:pt x="510823" y="804863"/>
                  </a:cubicBezTo>
                  <a:cubicBezTo>
                    <a:pt x="510823" y="804863"/>
                    <a:pt x="510823" y="804863"/>
                    <a:pt x="448029" y="804863"/>
                  </a:cubicBezTo>
                  <a:close/>
                  <a:moveTo>
                    <a:pt x="306742" y="804863"/>
                  </a:moveTo>
                  <a:cubicBezTo>
                    <a:pt x="304625" y="804863"/>
                    <a:pt x="303214" y="806306"/>
                    <a:pt x="303214" y="808471"/>
                  </a:cubicBezTo>
                  <a:cubicBezTo>
                    <a:pt x="303214" y="808471"/>
                    <a:pt x="303214" y="808471"/>
                    <a:pt x="303214" y="872693"/>
                  </a:cubicBezTo>
                  <a:cubicBezTo>
                    <a:pt x="303214" y="874858"/>
                    <a:pt x="304625" y="876301"/>
                    <a:pt x="306742" y="876301"/>
                  </a:cubicBezTo>
                  <a:cubicBezTo>
                    <a:pt x="306742" y="876301"/>
                    <a:pt x="306742" y="876301"/>
                    <a:pt x="369536" y="876301"/>
                  </a:cubicBezTo>
                  <a:cubicBezTo>
                    <a:pt x="370948" y="876301"/>
                    <a:pt x="373064" y="874858"/>
                    <a:pt x="373064" y="872693"/>
                  </a:cubicBezTo>
                  <a:cubicBezTo>
                    <a:pt x="373064" y="872693"/>
                    <a:pt x="373064" y="872693"/>
                    <a:pt x="373064" y="808471"/>
                  </a:cubicBezTo>
                  <a:cubicBezTo>
                    <a:pt x="373064" y="806306"/>
                    <a:pt x="370948" y="804863"/>
                    <a:pt x="369536" y="804863"/>
                  </a:cubicBezTo>
                  <a:cubicBezTo>
                    <a:pt x="369536" y="804863"/>
                    <a:pt x="369536" y="804863"/>
                    <a:pt x="306742" y="804863"/>
                  </a:cubicBezTo>
                  <a:close/>
                  <a:moveTo>
                    <a:pt x="154342" y="804863"/>
                  </a:moveTo>
                  <a:cubicBezTo>
                    <a:pt x="152225" y="804863"/>
                    <a:pt x="150814" y="806306"/>
                    <a:pt x="150814" y="808471"/>
                  </a:cubicBezTo>
                  <a:cubicBezTo>
                    <a:pt x="150814" y="808471"/>
                    <a:pt x="150814" y="808471"/>
                    <a:pt x="150814" y="872693"/>
                  </a:cubicBezTo>
                  <a:cubicBezTo>
                    <a:pt x="150814" y="874858"/>
                    <a:pt x="152225" y="876301"/>
                    <a:pt x="154342" y="876301"/>
                  </a:cubicBezTo>
                  <a:cubicBezTo>
                    <a:pt x="154342" y="876301"/>
                    <a:pt x="154342" y="876301"/>
                    <a:pt x="217136" y="876301"/>
                  </a:cubicBezTo>
                  <a:cubicBezTo>
                    <a:pt x="218548" y="876301"/>
                    <a:pt x="220664" y="874858"/>
                    <a:pt x="220664" y="872693"/>
                  </a:cubicBezTo>
                  <a:cubicBezTo>
                    <a:pt x="220664" y="872693"/>
                    <a:pt x="220664" y="872693"/>
                    <a:pt x="220664" y="808471"/>
                  </a:cubicBezTo>
                  <a:cubicBezTo>
                    <a:pt x="220664" y="806306"/>
                    <a:pt x="218548" y="804863"/>
                    <a:pt x="217136" y="804863"/>
                  </a:cubicBezTo>
                  <a:cubicBezTo>
                    <a:pt x="217136" y="804863"/>
                    <a:pt x="217136" y="804863"/>
                    <a:pt x="154342" y="804863"/>
                  </a:cubicBezTo>
                  <a:close/>
                  <a:moveTo>
                    <a:pt x="693425" y="744538"/>
                  </a:moveTo>
                  <a:cubicBezTo>
                    <a:pt x="693425" y="744538"/>
                    <a:pt x="693425" y="744538"/>
                    <a:pt x="1101117" y="744538"/>
                  </a:cubicBezTo>
                  <a:cubicBezTo>
                    <a:pt x="1103262" y="744538"/>
                    <a:pt x="1105408" y="744538"/>
                    <a:pt x="1106838" y="744538"/>
                  </a:cubicBezTo>
                  <a:cubicBezTo>
                    <a:pt x="1200536" y="747382"/>
                    <a:pt x="1276352" y="824166"/>
                    <a:pt x="1276352" y="918725"/>
                  </a:cubicBezTo>
                  <a:cubicBezTo>
                    <a:pt x="1276352" y="1013995"/>
                    <a:pt x="1197675" y="1092201"/>
                    <a:pt x="1101117" y="1092201"/>
                  </a:cubicBezTo>
                  <a:cubicBezTo>
                    <a:pt x="1101117" y="1092201"/>
                    <a:pt x="1101117" y="1092201"/>
                    <a:pt x="690564" y="1092201"/>
                  </a:cubicBezTo>
                  <a:cubicBezTo>
                    <a:pt x="691995" y="1087224"/>
                    <a:pt x="693425" y="1081537"/>
                    <a:pt x="693425" y="1076560"/>
                  </a:cubicBezTo>
                  <a:cubicBezTo>
                    <a:pt x="693425" y="1076560"/>
                    <a:pt x="693425" y="1076560"/>
                    <a:pt x="693425" y="744538"/>
                  </a:cubicBezTo>
                  <a:close/>
                  <a:moveTo>
                    <a:pt x="880894" y="544513"/>
                  </a:moveTo>
                  <a:cubicBezTo>
                    <a:pt x="880894" y="544513"/>
                    <a:pt x="880894" y="544513"/>
                    <a:pt x="1105070" y="544513"/>
                  </a:cubicBezTo>
                  <a:cubicBezTo>
                    <a:pt x="1113637" y="544513"/>
                    <a:pt x="1120776" y="551680"/>
                    <a:pt x="1120776" y="560281"/>
                  </a:cubicBezTo>
                  <a:cubicBezTo>
                    <a:pt x="1120776" y="560281"/>
                    <a:pt x="1120776" y="560281"/>
                    <a:pt x="1120776" y="698608"/>
                  </a:cubicBezTo>
                  <a:cubicBezTo>
                    <a:pt x="1120776" y="705775"/>
                    <a:pt x="1116493" y="711509"/>
                    <a:pt x="1110067" y="713659"/>
                  </a:cubicBezTo>
                  <a:cubicBezTo>
                    <a:pt x="1108639" y="714376"/>
                    <a:pt x="1107212" y="714376"/>
                    <a:pt x="1105070" y="714376"/>
                  </a:cubicBezTo>
                  <a:cubicBezTo>
                    <a:pt x="1105070" y="714376"/>
                    <a:pt x="1105070" y="714376"/>
                    <a:pt x="880894" y="714376"/>
                  </a:cubicBezTo>
                  <a:cubicBezTo>
                    <a:pt x="878752" y="714376"/>
                    <a:pt x="876611" y="714376"/>
                    <a:pt x="875183" y="713659"/>
                  </a:cubicBezTo>
                  <a:cubicBezTo>
                    <a:pt x="869471" y="711509"/>
                    <a:pt x="865188" y="705775"/>
                    <a:pt x="865188" y="698608"/>
                  </a:cubicBezTo>
                  <a:cubicBezTo>
                    <a:pt x="865188" y="698608"/>
                    <a:pt x="865188" y="698608"/>
                    <a:pt x="865188" y="560281"/>
                  </a:cubicBezTo>
                  <a:cubicBezTo>
                    <a:pt x="865188" y="551680"/>
                    <a:pt x="872327" y="544513"/>
                    <a:pt x="880894" y="544513"/>
                  </a:cubicBezTo>
                  <a:close/>
                  <a:moveTo>
                    <a:pt x="693738" y="544513"/>
                  </a:moveTo>
                  <a:cubicBezTo>
                    <a:pt x="693738" y="544513"/>
                    <a:pt x="693738" y="544513"/>
                    <a:pt x="814619" y="544513"/>
                  </a:cubicBezTo>
                  <a:cubicBezTo>
                    <a:pt x="823152" y="544513"/>
                    <a:pt x="830263" y="551680"/>
                    <a:pt x="830263" y="560281"/>
                  </a:cubicBezTo>
                  <a:cubicBezTo>
                    <a:pt x="830263" y="560281"/>
                    <a:pt x="830263" y="560281"/>
                    <a:pt x="830263" y="698608"/>
                  </a:cubicBezTo>
                  <a:cubicBezTo>
                    <a:pt x="830263" y="705775"/>
                    <a:pt x="825996" y="711509"/>
                    <a:pt x="820308" y="713659"/>
                  </a:cubicBezTo>
                  <a:cubicBezTo>
                    <a:pt x="818175" y="714376"/>
                    <a:pt x="816752" y="714376"/>
                    <a:pt x="814619" y="714376"/>
                  </a:cubicBezTo>
                  <a:cubicBezTo>
                    <a:pt x="814619" y="714376"/>
                    <a:pt x="814619" y="714376"/>
                    <a:pt x="693738" y="714376"/>
                  </a:cubicBezTo>
                  <a:cubicBezTo>
                    <a:pt x="693738" y="714376"/>
                    <a:pt x="693738" y="714376"/>
                    <a:pt x="693738" y="713659"/>
                  </a:cubicBezTo>
                  <a:cubicBezTo>
                    <a:pt x="693738" y="713659"/>
                    <a:pt x="693738" y="713659"/>
                    <a:pt x="693738" y="544513"/>
                  </a:cubicBezTo>
                  <a:close/>
                  <a:moveTo>
                    <a:pt x="480220" y="244475"/>
                  </a:moveTo>
                  <a:cubicBezTo>
                    <a:pt x="460493" y="244475"/>
                    <a:pt x="444501" y="260111"/>
                    <a:pt x="444501" y="279400"/>
                  </a:cubicBezTo>
                  <a:cubicBezTo>
                    <a:pt x="444501" y="298689"/>
                    <a:pt x="460493" y="314325"/>
                    <a:pt x="480220" y="314325"/>
                  </a:cubicBezTo>
                  <a:cubicBezTo>
                    <a:pt x="499947" y="314325"/>
                    <a:pt x="515939" y="298689"/>
                    <a:pt x="515939" y="279400"/>
                  </a:cubicBezTo>
                  <a:cubicBezTo>
                    <a:pt x="515939" y="260111"/>
                    <a:pt x="499947" y="244475"/>
                    <a:pt x="480220" y="244475"/>
                  </a:cubicBezTo>
                  <a:close/>
                  <a:moveTo>
                    <a:pt x="338139" y="244475"/>
                  </a:moveTo>
                  <a:cubicBezTo>
                    <a:pt x="318850" y="244475"/>
                    <a:pt x="303214" y="260111"/>
                    <a:pt x="303214" y="279400"/>
                  </a:cubicBezTo>
                  <a:cubicBezTo>
                    <a:pt x="303214" y="298689"/>
                    <a:pt x="318850" y="314325"/>
                    <a:pt x="338139" y="314325"/>
                  </a:cubicBezTo>
                  <a:cubicBezTo>
                    <a:pt x="357428" y="314325"/>
                    <a:pt x="373064" y="298689"/>
                    <a:pt x="373064" y="279400"/>
                  </a:cubicBezTo>
                  <a:cubicBezTo>
                    <a:pt x="373064" y="260111"/>
                    <a:pt x="357428" y="244475"/>
                    <a:pt x="338139" y="244475"/>
                  </a:cubicBezTo>
                  <a:close/>
                  <a:moveTo>
                    <a:pt x="185739" y="244475"/>
                  </a:moveTo>
                  <a:cubicBezTo>
                    <a:pt x="166450" y="244475"/>
                    <a:pt x="150814" y="260111"/>
                    <a:pt x="150814" y="279400"/>
                  </a:cubicBezTo>
                  <a:cubicBezTo>
                    <a:pt x="150814" y="298689"/>
                    <a:pt x="166450" y="314325"/>
                    <a:pt x="185739" y="314325"/>
                  </a:cubicBezTo>
                  <a:cubicBezTo>
                    <a:pt x="205028" y="314325"/>
                    <a:pt x="220664" y="298689"/>
                    <a:pt x="220664" y="279400"/>
                  </a:cubicBezTo>
                  <a:cubicBezTo>
                    <a:pt x="220664" y="260111"/>
                    <a:pt x="205028" y="244475"/>
                    <a:pt x="185739" y="244475"/>
                  </a:cubicBezTo>
                  <a:close/>
                  <a:moveTo>
                    <a:pt x="164390" y="134938"/>
                  </a:moveTo>
                  <a:cubicBezTo>
                    <a:pt x="156530" y="134938"/>
                    <a:pt x="150814" y="141270"/>
                    <a:pt x="150814" y="150416"/>
                  </a:cubicBezTo>
                  <a:cubicBezTo>
                    <a:pt x="150814" y="150416"/>
                    <a:pt x="150814" y="150416"/>
                    <a:pt x="150814" y="181373"/>
                  </a:cubicBezTo>
                  <a:cubicBezTo>
                    <a:pt x="150814" y="189816"/>
                    <a:pt x="156530" y="196851"/>
                    <a:pt x="164390" y="196851"/>
                  </a:cubicBezTo>
                  <a:cubicBezTo>
                    <a:pt x="164390" y="196851"/>
                    <a:pt x="164390" y="196851"/>
                    <a:pt x="501649" y="196851"/>
                  </a:cubicBezTo>
                  <a:cubicBezTo>
                    <a:pt x="509508" y="196851"/>
                    <a:pt x="515939" y="189816"/>
                    <a:pt x="515939" y="181373"/>
                  </a:cubicBezTo>
                  <a:cubicBezTo>
                    <a:pt x="515939" y="181373"/>
                    <a:pt x="515939" y="181373"/>
                    <a:pt x="515939" y="150416"/>
                  </a:cubicBezTo>
                  <a:cubicBezTo>
                    <a:pt x="515939" y="141270"/>
                    <a:pt x="509508" y="134938"/>
                    <a:pt x="501649" y="134938"/>
                  </a:cubicBezTo>
                  <a:cubicBezTo>
                    <a:pt x="501649" y="134938"/>
                    <a:pt x="501649" y="134938"/>
                    <a:pt x="164390" y="134938"/>
                  </a:cubicBezTo>
                  <a:close/>
                  <a:moveTo>
                    <a:pt x="995364" y="92075"/>
                  </a:moveTo>
                  <a:cubicBezTo>
                    <a:pt x="983097" y="92075"/>
                    <a:pt x="972995" y="98496"/>
                    <a:pt x="967222" y="108485"/>
                  </a:cubicBezTo>
                  <a:cubicBezTo>
                    <a:pt x="965057" y="112766"/>
                    <a:pt x="963614" y="118474"/>
                    <a:pt x="963614" y="124182"/>
                  </a:cubicBezTo>
                  <a:cubicBezTo>
                    <a:pt x="963614" y="129890"/>
                    <a:pt x="965057" y="134884"/>
                    <a:pt x="967222" y="139878"/>
                  </a:cubicBezTo>
                  <a:cubicBezTo>
                    <a:pt x="970109" y="144159"/>
                    <a:pt x="974438" y="148440"/>
                    <a:pt x="979489" y="151294"/>
                  </a:cubicBezTo>
                  <a:cubicBezTo>
                    <a:pt x="983819" y="154148"/>
                    <a:pt x="989592" y="155575"/>
                    <a:pt x="995364" y="155575"/>
                  </a:cubicBezTo>
                  <a:cubicBezTo>
                    <a:pt x="1001137" y="155575"/>
                    <a:pt x="1006188" y="154148"/>
                    <a:pt x="1011239" y="151294"/>
                  </a:cubicBezTo>
                  <a:cubicBezTo>
                    <a:pt x="1020620" y="145586"/>
                    <a:pt x="1027114" y="135598"/>
                    <a:pt x="1027114" y="124182"/>
                  </a:cubicBezTo>
                  <a:cubicBezTo>
                    <a:pt x="1027114" y="106345"/>
                    <a:pt x="1012682" y="92075"/>
                    <a:pt x="995364" y="92075"/>
                  </a:cubicBezTo>
                  <a:close/>
                  <a:moveTo>
                    <a:pt x="65089" y="61913"/>
                  </a:moveTo>
                  <a:cubicBezTo>
                    <a:pt x="65089" y="61913"/>
                    <a:pt x="65089" y="61913"/>
                    <a:pt x="601664" y="61913"/>
                  </a:cubicBezTo>
                  <a:cubicBezTo>
                    <a:pt x="601664" y="61913"/>
                    <a:pt x="601664" y="61913"/>
                    <a:pt x="601664" y="111155"/>
                  </a:cubicBezTo>
                  <a:cubicBezTo>
                    <a:pt x="601664" y="111155"/>
                    <a:pt x="601664" y="111155"/>
                    <a:pt x="601664" y="136846"/>
                  </a:cubicBezTo>
                  <a:cubicBezTo>
                    <a:pt x="601664" y="136846"/>
                    <a:pt x="601664" y="136846"/>
                    <a:pt x="601664" y="917576"/>
                  </a:cubicBezTo>
                  <a:cubicBezTo>
                    <a:pt x="601664" y="917576"/>
                    <a:pt x="601664" y="917576"/>
                    <a:pt x="65089" y="917576"/>
                  </a:cubicBezTo>
                  <a:cubicBezTo>
                    <a:pt x="65089" y="917576"/>
                    <a:pt x="65089" y="917576"/>
                    <a:pt x="65089" y="61913"/>
                  </a:cubicBezTo>
                  <a:close/>
                  <a:moveTo>
                    <a:pt x="994597" y="60325"/>
                  </a:moveTo>
                  <a:cubicBezTo>
                    <a:pt x="1029531" y="60325"/>
                    <a:pt x="1057335" y="88805"/>
                    <a:pt x="1057335" y="123693"/>
                  </a:cubicBezTo>
                  <a:cubicBezTo>
                    <a:pt x="1057335" y="152885"/>
                    <a:pt x="1037373" y="177093"/>
                    <a:pt x="1010281" y="184213"/>
                  </a:cubicBezTo>
                  <a:cubicBezTo>
                    <a:pt x="1010281" y="184213"/>
                    <a:pt x="1010281" y="184213"/>
                    <a:pt x="1010281" y="309526"/>
                  </a:cubicBezTo>
                  <a:cubicBezTo>
                    <a:pt x="1010281" y="309526"/>
                    <a:pt x="1010281" y="309526"/>
                    <a:pt x="1040937" y="309526"/>
                  </a:cubicBezTo>
                  <a:cubicBezTo>
                    <a:pt x="1048067" y="309526"/>
                    <a:pt x="1053770" y="313798"/>
                    <a:pt x="1055909" y="320206"/>
                  </a:cubicBezTo>
                  <a:cubicBezTo>
                    <a:pt x="1055909" y="320206"/>
                    <a:pt x="1055909" y="320206"/>
                    <a:pt x="1085139" y="411342"/>
                  </a:cubicBezTo>
                  <a:cubicBezTo>
                    <a:pt x="1085852" y="415614"/>
                    <a:pt x="1085852" y="419174"/>
                    <a:pt x="1084426" y="423446"/>
                  </a:cubicBezTo>
                  <a:cubicBezTo>
                    <a:pt x="1084426" y="423446"/>
                    <a:pt x="1084426" y="423446"/>
                    <a:pt x="1055909" y="480406"/>
                  </a:cubicBezTo>
                  <a:cubicBezTo>
                    <a:pt x="1053057" y="485390"/>
                    <a:pt x="1048067" y="488950"/>
                    <a:pt x="1041650" y="488950"/>
                  </a:cubicBezTo>
                  <a:cubicBezTo>
                    <a:pt x="1039512" y="488950"/>
                    <a:pt x="1037373" y="488238"/>
                    <a:pt x="1035234" y="487526"/>
                  </a:cubicBezTo>
                  <a:cubicBezTo>
                    <a:pt x="1027392" y="483254"/>
                    <a:pt x="1023827" y="473998"/>
                    <a:pt x="1028105" y="466166"/>
                  </a:cubicBezTo>
                  <a:cubicBezTo>
                    <a:pt x="1028105" y="466166"/>
                    <a:pt x="1028105" y="466166"/>
                    <a:pt x="1053057" y="414902"/>
                  </a:cubicBezTo>
                  <a:cubicBezTo>
                    <a:pt x="1053057" y="414902"/>
                    <a:pt x="1053057" y="414902"/>
                    <a:pt x="1029531" y="340854"/>
                  </a:cubicBezTo>
                  <a:cubicBezTo>
                    <a:pt x="1029531" y="340854"/>
                    <a:pt x="1029531" y="340854"/>
                    <a:pt x="994597" y="340854"/>
                  </a:cubicBezTo>
                  <a:cubicBezTo>
                    <a:pt x="994597" y="340854"/>
                    <a:pt x="994597" y="340854"/>
                    <a:pt x="959663" y="340854"/>
                  </a:cubicBezTo>
                  <a:cubicBezTo>
                    <a:pt x="959663" y="340854"/>
                    <a:pt x="959663" y="340854"/>
                    <a:pt x="936136" y="414902"/>
                  </a:cubicBezTo>
                  <a:cubicBezTo>
                    <a:pt x="936136" y="414902"/>
                    <a:pt x="936136" y="414902"/>
                    <a:pt x="961089" y="466166"/>
                  </a:cubicBezTo>
                  <a:cubicBezTo>
                    <a:pt x="965367" y="473998"/>
                    <a:pt x="961802" y="483254"/>
                    <a:pt x="953960" y="487526"/>
                  </a:cubicBezTo>
                  <a:cubicBezTo>
                    <a:pt x="951821" y="488238"/>
                    <a:pt x="949682" y="488950"/>
                    <a:pt x="947543" y="488950"/>
                  </a:cubicBezTo>
                  <a:cubicBezTo>
                    <a:pt x="941127" y="488950"/>
                    <a:pt x="936136" y="485390"/>
                    <a:pt x="933285" y="480406"/>
                  </a:cubicBezTo>
                  <a:cubicBezTo>
                    <a:pt x="933285" y="480406"/>
                    <a:pt x="933285" y="480406"/>
                    <a:pt x="904767" y="423446"/>
                  </a:cubicBezTo>
                  <a:cubicBezTo>
                    <a:pt x="903341" y="419174"/>
                    <a:pt x="902629" y="415614"/>
                    <a:pt x="904054" y="411342"/>
                  </a:cubicBezTo>
                  <a:cubicBezTo>
                    <a:pt x="904054" y="411342"/>
                    <a:pt x="904054" y="411342"/>
                    <a:pt x="933285" y="320206"/>
                  </a:cubicBezTo>
                  <a:cubicBezTo>
                    <a:pt x="934711" y="313798"/>
                    <a:pt x="941127" y="309526"/>
                    <a:pt x="948256" y="309526"/>
                  </a:cubicBezTo>
                  <a:cubicBezTo>
                    <a:pt x="948256" y="309526"/>
                    <a:pt x="948256" y="309526"/>
                    <a:pt x="978912" y="309526"/>
                  </a:cubicBezTo>
                  <a:cubicBezTo>
                    <a:pt x="978912" y="309526"/>
                    <a:pt x="978912" y="309526"/>
                    <a:pt x="978912" y="184213"/>
                  </a:cubicBezTo>
                  <a:cubicBezTo>
                    <a:pt x="956811" y="178517"/>
                    <a:pt x="938988" y="161429"/>
                    <a:pt x="933285" y="139357"/>
                  </a:cubicBezTo>
                  <a:cubicBezTo>
                    <a:pt x="933285" y="139357"/>
                    <a:pt x="933285" y="139357"/>
                    <a:pt x="693739" y="139357"/>
                  </a:cubicBezTo>
                  <a:cubicBezTo>
                    <a:pt x="693739" y="139357"/>
                    <a:pt x="693739" y="139357"/>
                    <a:pt x="693739" y="108029"/>
                  </a:cubicBezTo>
                  <a:cubicBezTo>
                    <a:pt x="693739" y="108029"/>
                    <a:pt x="693739" y="108029"/>
                    <a:pt x="933285" y="108029"/>
                  </a:cubicBezTo>
                  <a:cubicBezTo>
                    <a:pt x="940414" y="80261"/>
                    <a:pt x="965367" y="60325"/>
                    <a:pt x="994597" y="60325"/>
                  </a:cubicBezTo>
                  <a:close/>
                  <a:moveTo>
                    <a:pt x="31750" y="30163"/>
                  </a:moveTo>
                  <a:cubicBezTo>
                    <a:pt x="31750" y="30163"/>
                    <a:pt x="31750" y="30163"/>
                    <a:pt x="31750" y="949326"/>
                  </a:cubicBezTo>
                  <a:cubicBezTo>
                    <a:pt x="31750" y="949326"/>
                    <a:pt x="31750" y="949326"/>
                    <a:pt x="601107" y="949326"/>
                  </a:cubicBezTo>
                  <a:cubicBezTo>
                    <a:pt x="601107" y="949326"/>
                    <a:pt x="601107" y="949326"/>
                    <a:pt x="631825" y="949326"/>
                  </a:cubicBezTo>
                  <a:cubicBezTo>
                    <a:pt x="631825" y="949326"/>
                    <a:pt x="631825" y="949326"/>
                    <a:pt x="631825" y="713643"/>
                  </a:cubicBezTo>
                  <a:cubicBezTo>
                    <a:pt x="631825" y="713643"/>
                    <a:pt x="631825" y="713643"/>
                    <a:pt x="631825" y="139434"/>
                  </a:cubicBezTo>
                  <a:cubicBezTo>
                    <a:pt x="631825" y="139434"/>
                    <a:pt x="631825" y="139434"/>
                    <a:pt x="631825" y="108010"/>
                  </a:cubicBezTo>
                  <a:cubicBezTo>
                    <a:pt x="631825" y="108010"/>
                    <a:pt x="631825" y="108010"/>
                    <a:pt x="631825" y="30163"/>
                  </a:cubicBezTo>
                  <a:cubicBezTo>
                    <a:pt x="631825" y="30163"/>
                    <a:pt x="631825" y="30163"/>
                    <a:pt x="31750" y="30163"/>
                  </a:cubicBezTo>
                  <a:close/>
                  <a:moveTo>
                    <a:pt x="14301" y="0"/>
                  </a:moveTo>
                  <a:cubicBezTo>
                    <a:pt x="14301" y="0"/>
                    <a:pt x="15016" y="0"/>
                    <a:pt x="15732" y="0"/>
                  </a:cubicBezTo>
                  <a:cubicBezTo>
                    <a:pt x="15732" y="0"/>
                    <a:pt x="15732" y="0"/>
                    <a:pt x="647844" y="0"/>
                  </a:cubicBezTo>
                  <a:cubicBezTo>
                    <a:pt x="648559" y="0"/>
                    <a:pt x="648559" y="0"/>
                    <a:pt x="649274" y="0"/>
                  </a:cubicBezTo>
                  <a:cubicBezTo>
                    <a:pt x="657140" y="1426"/>
                    <a:pt x="663575" y="7842"/>
                    <a:pt x="663575" y="15684"/>
                  </a:cubicBezTo>
                  <a:cubicBezTo>
                    <a:pt x="663575" y="15684"/>
                    <a:pt x="663575" y="15684"/>
                    <a:pt x="663575" y="109078"/>
                  </a:cubicBezTo>
                  <a:cubicBezTo>
                    <a:pt x="663575" y="109078"/>
                    <a:pt x="663575" y="109078"/>
                    <a:pt x="663575" y="140446"/>
                  </a:cubicBezTo>
                  <a:cubicBezTo>
                    <a:pt x="663575" y="140446"/>
                    <a:pt x="663575" y="140446"/>
                    <a:pt x="663575" y="543961"/>
                  </a:cubicBezTo>
                  <a:cubicBezTo>
                    <a:pt x="663575" y="543961"/>
                    <a:pt x="663575" y="543961"/>
                    <a:pt x="663575" y="713637"/>
                  </a:cubicBezTo>
                  <a:cubicBezTo>
                    <a:pt x="663575" y="713637"/>
                    <a:pt x="663575" y="713637"/>
                    <a:pt x="663575" y="714350"/>
                  </a:cubicBezTo>
                  <a:cubicBezTo>
                    <a:pt x="663575" y="714350"/>
                    <a:pt x="663575" y="714350"/>
                    <a:pt x="663575" y="745006"/>
                  </a:cubicBezTo>
                  <a:cubicBezTo>
                    <a:pt x="663575" y="745006"/>
                    <a:pt x="663575" y="745006"/>
                    <a:pt x="663575" y="1076516"/>
                  </a:cubicBezTo>
                  <a:cubicBezTo>
                    <a:pt x="663575" y="1084358"/>
                    <a:pt x="657855" y="1090774"/>
                    <a:pt x="649989" y="1091487"/>
                  </a:cubicBezTo>
                  <a:cubicBezTo>
                    <a:pt x="649274" y="1092200"/>
                    <a:pt x="648559" y="1092200"/>
                    <a:pt x="647844" y="1092200"/>
                  </a:cubicBezTo>
                  <a:cubicBezTo>
                    <a:pt x="647844" y="1092200"/>
                    <a:pt x="647844" y="1092200"/>
                    <a:pt x="601365" y="1092200"/>
                  </a:cubicBezTo>
                  <a:cubicBezTo>
                    <a:pt x="601365" y="1092200"/>
                    <a:pt x="601365" y="1092200"/>
                    <a:pt x="15732" y="1092200"/>
                  </a:cubicBezTo>
                  <a:cubicBezTo>
                    <a:pt x="15016" y="1092200"/>
                    <a:pt x="14301" y="1092200"/>
                    <a:pt x="12871" y="1091487"/>
                  </a:cubicBezTo>
                  <a:cubicBezTo>
                    <a:pt x="5721" y="1090774"/>
                    <a:pt x="0" y="1084358"/>
                    <a:pt x="0" y="1076516"/>
                  </a:cubicBezTo>
                  <a:cubicBezTo>
                    <a:pt x="0" y="1076516"/>
                    <a:pt x="0" y="1076516"/>
                    <a:pt x="0" y="980271"/>
                  </a:cubicBezTo>
                  <a:cubicBezTo>
                    <a:pt x="0" y="980271"/>
                    <a:pt x="0" y="980271"/>
                    <a:pt x="0" y="948902"/>
                  </a:cubicBezTo>
                  <a:cubicBezTo>
                    <a:pt x="0" y="948902"/>
                    <a:pt x="0" y="948902"/>
                    <a:pt x="0" y="15684"/>
                  </a:cubicBezTo>
                  <a:cubicBezTo>
                    <a:pt x="0" y="7842"/>
                    <a:pt x="6436" y="1426"/>
                    <a:pt x="1430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77" name="TextBox 176"/>
          <p:cNvSpPr txBox="1"/>
          <p:nvPr/>
        </p:nvSpPr>
        <p:spPr>
          <a:xfrm>
            <a:off x="1651473" y="2557395"/>
            <a:ext cx="8853655" cy="29951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osystem pitfalls lead to weak translation of R&amp;D to corporate needs</a:t>
            </a:r>
          </a:p>
        </p:txBody>
      </p:sp>
      <p:sp>
        <p:nvSpPr>
          <p:cNvPr id="92" name="ee4pFootnotes"/>
          <p:cNvSpPr>
            <a:spLocks noChangeArrowheads="1"/>
          </p:cNvSpPr>
          <p:nvPr/>
        </p:nvSpPr>
        <p:spPr bwMode="auto">
          <a:xfrm>
            <a:off x="630000" y="6421441"/>
            <a:ext cx="9030914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6F6F6F">
                    <a:lumMod val="10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1. Based on Technology readiness levels that assess maturity of a particular technology</a:t>
            </a:r>
          </a:p>
        </p:txBody>
      </p:sp>
      <p:sp>
        <p:nvSpPr>
          <p:cNvPr id="93" name="Copyright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9828062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26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kern="0" dirty="0">
              <a:solidFill>
                <a:srgbClr val="FFFFFF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775597"/>
          </a:xfrm>
        </p:spPr>
        <p:txBody>
          <a:bodyPr>
            <a:spAutoFit/>
          </a:bodyPr>
          <a:lstStyle/>
          <a:p>
            <a:r>
              <a:rPr lang="en-US" sz="2800"/>
              <a:t>p33 </a:t>
            </a:r>
            <a:r>
              <a:rPr lang="en-US" sz="2800" dirty="0"/>
              <a:t>will FOCUS ON three clusters </a:t>
            </a:r>
            <a:r>
              <a:rPr lang="en-US" sz="2800"/>
              <a:t>where Chicago has </a:t>
            </a:r>
            <a:r>
              <a:rPr lang="en-US" sz="2800" dirty="0"/>
              <a:t>an authentic "right to win"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8199209" y="1676699"/>
            <a:ext cx="3213498" cy="4119804"/>
            <a:chOff x="8214794" y="1676699"/>
            <a:chExt cx="3213498" cy="4119804"/>
          </a:xfrm>
        </p:grpSpPr>
        <p:grpSp>
          <p:nvGrpSpPr>
            <p:cNvPr id="73" name="bcgIcons_ITTechnologyFunction">
              <a:extLst>
                <a:ext uri="{FF2B5EF4-FFF2-40B4-BE49-F238E27FC236}">
                  <a16:creationId xmlns="" xmlns:a16="http://schemas.microsoft.com/office/drawing/2014/main" id="{498FB0A4-CDD3-4259-868C-68AB71DDFED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9200406" y="3026246"/>
              <a:ext cx="1237229" cy="777097"/>
              <a:chOff x="1862" y="936"/>
              <a:chExt cx="3958" cy="2486"/>
            </a:xfrm>
            <a:solidFill>
              <a:schemeClr val="tx2"/>
            </a:solidFill>
          </p:grpSpPr>
          <p:sp>
            <p:nvSpPr>
              <p:cNvPr id="75" name="Freeform 10">
                <a:extLst>
                  <a:ext uri="{FF2B5EF4-FFF2-40B4-BE49-F238E27FC236}">
                    <a16:creationId xmlns="" xmlns:a16="http://schemas.microsoft.com/office/drawing/2014/main" id="{FDC70090-D0C7-4CD9-AF68-66903F319F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62" y="936"/>
                <a:ext cx="3958" cy="2486"/>
              </a:xfrm>
              <a:custGeom>
                <a:avLst/>
                <a:gdLst>
                  <a:gd name="T0" fmla="*/ 1821 w 2113"/>
                  <a:gd name="T1" fmla="*/ 614 h 1326"/>
                  <a:gd name="T2" fmla="*/ 1764 w 2113"/>
                  <a:gd name="T3" fmla="*/ 663 h 1326"/>
                  <a:gd name="T4" fmla="*/ 1358 w 2113"/>
                  <a:gd name="T5" fmla="*/ 446 h 1326"/>
                  <a:gd name="T6" fmla="*/ 1262 w 2113"/>
                  <a:gd name="T7" fmla="*/ 657 h 1326"/>
                  <a:gd name="T8" fmla="*/ 1231 w 2113"/>
                  <a:gd name="T9" fmla="*/ 618 h 1326"/>
                  <a:gd name="T10" fmla="*/ 1526 w 2113"/>
                  <a:gd name="T11" fmla="*/ 194 h 1326"/>
                  <a:gd name="T12" fmla="*/ 1822 w 2113"/>
                  <a:gd name="T13" fmla="*/ 614 h 1326"/>
                  <a:gd name="T14" fmla="*/ 2110 w 2113"/>
                  <a:gd name="T15" fmla="*/ 1307 h 1326"/>
                  <a:gd name="T16" fmla="*/ 1716 w 2113"/>
                  <a:gd name="T17" fmla="*/ 1058 h 1326"/>
                  <a:gd name="T18" fmla="*/ 1523 w 2113"/>
                  <a:gd name="T19" fmla="*/ 1149 h 1326"/>
                  <a:gd name="T20" fmla="*/ 1336 w 2113"/>
                  <a:gd name="T21" fmla="*/ 1058 h 1326"/>
                  <a:gd name="T22" fmla="*/ 1084 w 2113"/>
                  <a:gd name="T23" fmla="*/ 1100 h 1326"/>
                  <a:gd name="T24" fmla="*/ 956 w 2113"/>
                  <a:gd name="T25" fmla="*/ 1326 h 1326"/>
                  <a:gd name="T26" fmla="*/ 1262 w 2113"/>
                  <a:gd name="T27" fmla="*/ 686 h 1326"/>
                  <a:gd name="T28" fmla="*/ 1208 w 2113"/>
                  <a:gd name="T29" fmla="*/ 666 h 1326"/>
                  <a:gd name="T30" fmla="*/ 1355 w 2113"/>
                  <a:gd name="T31" fmla="*/ 943 h 1326"/>
                  <a:gd name="T32" fmla="*/ 1365 w 2113"/>
                  <a:gd name="T33" fmla="*/ 1022 h 1326"/>
                  <a:gd name="T34" fmla="*/ 1409 w 2113"/>
                  <a:gd name="T35" fmla="*/ 1066 h 1326"/>
                  <a:gd name="T36" fmla="*/ 1526 w 2113"/>
                  <a:gd name="T37" fmla="*/ 1026 h 1326"/>
                  <a:gd name="T38" fmla="*/ 1643 w 2113"/>
                  <a:gd name="T39" fmla="*/ 1066 h 1326"/>
                  <a:gd name="T40" fmla="*/ 1687 w 2113"/>
                  <a:gd name="T41" fmla="*/ 1022 h 1326"/>
                  <a:gd name="T42" fmla="*/ 1697 w 2113"/>
                  <a:gd name="T43" fmla="*/ 943 h 1326"/>
                  <a:gd name="T44" fmla="*/ 1843 w 2113"/>
                  <a:gd name="T45" fmla="*/ 665 h 1326"/>
                  <a:gd name="T46" fmla="*/ 1788 w 2113"/>
                  <a:gd name="T47" fmla="*/ 688 h 1326"/>
                  <a:gd name="T48" fmla="*/ 1759 w 2113"/>
                  <a:gd name="T49" fmla="*/ 717 h 1326"/>
                  <a:gd name="T50" fmla="*/ 1526 w 2113"/>
                  <a:gd name="T51" fmla="*/ 982 h 1326"/>
                  <a:gd name="T52" fmla="*/ 1293 w 2113"/>
                  <a:gd name="T53" fmla="*/ 717 h 1326"/>
                  <a:gd name="T54" fmla="*/ 1262 w 2113"/>
                  <a:gd name="T55" fmla="*/ 686 h 1326"/>
                  <a:gd name="T56" fmla="*/ 891 w 2113"/>
                  <a:gd name="T57" fmla="*/ 922 h 1326"/>
                  <a:gd name="T58" fmla="*/ 1274 w 2113"/>
                  <a:gd name="T59" fmla="*/ 893 h 1326"/>
                  <a:gd name="T60" fmla="*/ 869 w 2113"/>
                  <a:gd name="T61" fmla="*/ 849 h 1326"/>
                  <a:gd name="T62" fmla="*/ 847 w 2113"/>
                  <a:gd name="T63" fmla="*/ 936 h 1326"/>
                  <a:gd name="T64" fmla="*/ 904 w 2113"/>
                  <a:gd name="T65" fmla="*/ 980 h 1326"/>
                  <a:gd name="T66" fmla="*/ 708 w 2113"/>
                  <a:gd name="T67" fmla="*/ 955 h 1326"/>
                  <a:gd name="T68" fmla="*/ 720 w 2113"/>
                  <a:gd name="T69" fmla="*/ 871 h 1326"/>
                  <a:gd name="T70" fmla="*/ 44 w 2113"/>
                  <a:gd name="T71" fmla="*/ 849 h 1326"/>
                  <a:gd name="T72" fmla="*/ 1523 w 2113"/>
                  <a:gd name="T73" fmla="*/ 44 h 1326"/>
                  <a:gd name="T74" fmla="*/ 1526 w 2113"/>
                  <a:gd name="T75" fmla="*/ 150 h 1326"/>
                  <a:gd name="T76" fmla="*/ 1567 w 2113"/>
                  <a:gd name="T77" fmla="*/ 22 h 1326"/>
                  <a:gd name="T78" fmla="*/ 22 w 2113"/>
                  <a:gd name="T79" fmla="*/ 0 h 1326"/>
                  <a:gd name="T80" fmla="*/ 0 w 2113"/>
                  <a:gd name="T81" fmla="*/ 871 h 1326"/>
                  <a:gd name="T82" fmla="*/ 676 w 2113"/>
                  <a:gd name="T83" fmla="*/ 893 h 1326"/>
                  <a:gd name="T84" fmla="*/ 566 w 2113"/>
                  <a:gd name="T85" fmla="*/ 982 h 1326"/>
                  <a:gd name="T86" fmla="*/ 577 w 2113"/>
                  <a:gd name="T87" fmla="*/ 1024 h 1326"/>
                  <a:gd name="T88" fmla="*/ 1011 w 2113"/>
                  <a:gd name="T89" fmla="*/ 1007 h 1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113" h="1326">
                    <a:moveTo>
                      <a:pt x="1822" y="614"/>
                    </a:moveTo>
                    <a:cubicBezTo>
                      <a:pt x="1821" y="614"/>
                      <a:pt x="1821" y="614"/>
                      <a:pt x="1821" y="614"/>
                    </a:cubicBezTo>
                    <a:cubicBezTo>
                      <a:pt x="1821" y="614"/>
                      <a:pt x="1816" y="630"/>
                      <a:pt x="1787" y="663"/>
                    </a:cubicBezTo>
                    <a:cubicBezTo>
                      <a:pt x="1787" y="663"/>
                      <a:pt x="1787" y="663"/>
                      <a:pt x="1764" y="663"/>
                    </a:cubicBezTo>
                    <a:cubicBezTo>
                      <a:pt x="1764" y="663"/>
                      <a:pt x="1764" y="651"/>
                      <a:pt x="1761" y="431"/>
                    </a:cubicBezTo>
                    <a:cubicBezTo>
                      <a:pt x="1727" y="608"/>
                      <a:pt x="1358" y="446"/>
                      <a:pt x="1358" y="446"/>
                    </a:cubicBezTo>
                    <a:cubicBezTo>
                      <a:pt x="1266" y="474"/>
                      <a:pt x="1282" y="659"/>
                      <a:pt x="1282" y="659"/>
                    </a:cubicBezTo>
                    <a:cubicBezTo>
                      <a:pt x="1282" y="659"/>
                      <a:pt x="1282" y="659"/>
                      <a:pt x="1262" y="657"/>
                    </a:cubicBezTo>
                    <a:cubicBezTo>
                      <a:pt x="1262" y="657"/>
                      <a:pt x="1262" y="645"/>
                      <a:pt x="1231" y="618"/>
                    </a:cubicBezTo>
                    <a:cubicBezTo>
                      <a:pt x="1231" y="618"/>
                      <a:pt x="1231" y="618"/>
                      <a:pt x="1231" y="618"/>
                    </a:cubicBezTo>
                    <a:cubicBezTo>
                      <a:pt x="1218" y="583"/>
                      <a:pt x="1219" y="546"/>
                      <a:pt x="1219" y="508"/>
                    </a:cubicBezTo>
                    <a:cubicBezTo>
                      <a:pt x="1219" y="334"/>
                      <a:pt x="1352" y="194"/>
                      <a:pt x="1526" y="194"/>
                    </a:cubicBezTo>
                    <a:cubicBezTo>
                      <a:pt x="1699" y="194"/>
                      <a:pt x="1832" y="334"/>
                      <a:pt x="1832" y="508"/>
                    </a:cubicBezTo>
                    <a:cubicBezTo>
                      <a:pt x="1832" y="545"/>
                      <a:pt x="1834" y="581"/>
                      <a:pt x="1822" y="614"/>
                    </a:cubicBezTo>
                    <a:close/>
                    <a:moveTo>
                      <a:pt x="2096" y="1326"/>
                    </a:moveTo>
                    <a:cubicBezTo>
                      <a:pt x="2106" y="1326"/>
                      <a:pt x="2113" y="1316"/>
                      <a:pt x="2110" y="1307"/>
                    </a:cubicBezTo>
                    <a:cubicBezTo>
                      <a:pt x="2092" y="1259"/>
                      <a:pt x="2040" y="1133"/>
                      <a:pt x="1968" y="1100"/>
                    </a:cubicBezTo>
                    <a:cubicBezTo>
                      <a:pt x="1879" y="1060"/>
                      <a:pt x="1716" y="1058"/>
                      <a:pt x="1716" y="1058"/>
                    </a:cubicBezTo>
                    <a:cubicBezTo>
                      <a:pt x="1716" y="1058"/>
                      <a:pt x="1716" y="1058"/>
                      <a:pt x="1716" y="1058"/>
                    </a:cubicBezTo>
                    <a:cubicBezTo>
                      <a:pt x="1716" y="1058"/>
                      <a:pt x="1651" y="1149"/>
                      <a:pt x="1523" y="1149"/>
                    </a:cubicBezTo>
                    <a:cubicBezTo>
                      <a:pt x="1529" y="1149"/>
                      <a:pt x="1529" y="1149"/>
                      <a:pt x="1529" y="1149"/>
                    </a:cubicBezTo>
                    <a:cubicBezTo>
                      <a:pt x="1401" y="1149"/>
                      <a:pt x="1336" y="1058"/>
                      <a:pt x="1336" y="1058"/>
                    </a:cubicBezTo>
                    <a:cubicBezTo>
                      <a:pt x="1336" y="1058"/>
                      <a:pt x="1336" y="1058"/>
                      <a:pt x="1336" y="1058"/>
                    </a:cubicBezTo>
                    <a:cubicBezTo>
                      <a:pt x="1336" y="1058"/>
                      <a:pt x="1172" y="1060"/>
                      <a:pt x="1084" y="1100"/>
                    </a:cubicBezTo>
                    <a:cubicBezTo>
                      <a:pt x="1012" y="1133"/>
                      <a:pt x="960" y="1259"/>
                      <a:pt x="942" y="1307"/>
                    </a:cubicBezTo>
                    <a:cubicBezTo>
                      <a:pt x="939" y="1316"/>
                      <a:pt x="946" y="1326"/>
                      <a:pt x="956" y="1326"/>
                    </a:cubicBezTo>
                    <a:lnTo>
                      <a:pt x="2096" y="1326"/>
                    </a:lnTo>
                    <a:close/>
                    <a:moveTo>
                      <a:pt x="1262" y="686"/>
                    </a:moveTo>
                    <a:cubicBezTo>
                      <a:pt x="1208" y="661"/>
                      <a:pt x="1208" y="661"/>
                      <a:pt x="1208" y="661"/>
                    </a:cubicBezTo>
                    <a:cubicBezTo>
                      <a:pt x="1208" y="663"/>
                      <a:pt x="1208" y="664"/>
                      <a:pt x="1208" y="666"/>
                    </a:cubicBezTo>
                    <a:cubicBezTo>
                      <a:pt x="1211" y="685"/>
                      <a:pt x="1222" y="719"/>
                      <a:pt x="1255" y="740"/>
                    </a:cubicBezTo>
                    <a:cubicBezTo>
                      <a:pt x="1274" y="789"/>
                      <a:pt x="1327" y="918"/>
                      <a:pt x="1355" y="943"/>
                    </a:cubicBezTo>
                    <a:cubicBezTo>
                      <a:pt x="1357" y="945"/>
                      <a:pt x="1361" y="948"/>
                      <a:pt x="1365" y="951"/>
                    </a:cubicBezTo>
                    <a:cubicBezTo>
                      <a:pt x="1365" y="1022"/>
                      <a:pt x="1365" y="1022"/>
                      <a:pt x="1365" y="1022"/>
                    </a:cubicBezTo>
                    <a:cubicBezTo>
                      <a:pt x="1372" y="1032"/>
                      <a:pt x="1372" y="1032"/>
                      <a:pt x="1372" y="1032"/>
                    </a:cubicBezTo>
                    <a:cubicBezTo>
                      <a:pt x="1372" y="1033"/>
                      <a:pt x="1385" y="1050"/>
                      <a:pt x="1409" y="1066"/>
                    </a:cubicBezTo>
                    <a:cubicBezTo>
                      <a:pt x="1409" y="981"/>
                      <a:pt x="1409" y="981"/>
                      <a:pt x="1409" y="981"/>
                    </a:cubicBezTo>
                    <a:cubicBezTo>
                      <a:pt x="1445" y="1004"/>
                      <a:pt x="1490" y="1026"/>
                      <a:pt x="1526" y="1026"/>
                    </a:cubicBezTo>
                    <a:cubicBezTo>
                      <a:pt x="1561" y="1026"/>
                      <a:pt x="1607" y="1004"/>
                      <a:pt x="1643" y="981"/>
                    </a:cubicBezTo>
                    <a:cubicBezTo>
                      <a:pt x="1643" y="1066"/>
                      <a:pt x="1643" y="1066"/>
                      <a:pt x="1643" y="1066"/>
                    </a:cubicBezTo>
                    <a:cubicBezTo>
                      <a:pt x="1667" y="1050"/>
                      <a:pt x="1679" y="1033"/>
                      <a:pt x="1680" y="1032"/>
                    </a:cubicBezTo>
                    <a:cubicBezTo>
                      <a:pt x="1687" y="1022"/>
                      <a:pt x="1687" y="1022"/>
                      <a:pt x="1687" y="1022"/>
                    </a:cubicBezTo>
                    <a:cubicBezTo>
                      <a:pt x="1687" y="951"/>
                      <a:pt x="1687" y="951"/>
                      <a:pt x="1687" y="951"/>
                    </a:cubicBezTo>
                    <a:cubicBezTo>
                      <a:pt x="1691" y="948"/>
                      <a:pt x="1694" y="945"/>
                      <a:pt x="1697" y="943"/>
                    </a:cubicBezTo>
                    <a:cubicBezTo>
                      <a:pt x="1725" y="918"/>
                      <a:pt x="1777" y="789"/>
                      <a:pt x="1797" y="740"/>
                    </a:cubicBezTo>
                    <a:cubicBezTo>
                      <a:pt x="1832" y="718"/>
                      <a:pt x="1841" y="680"/>
                      <a:pt x="1843" y="665"/>
                    </a:cubicBezTo>
                    <a:cubicBezTo>
                      <a:pt x="1843" y="664"/>
                      <a:pt x="1844" y="663"/>
                      <a:pt x="1844" y="662"/>
                    </a:cubicBezTo>
                    <a:cubicBezTo>
                      <a:pt x="1788" y="688"/>
                      <a:pt x="1788" y="688"/>
                      <a:pt x="1788" y="688"/>
                    </a:cubicBezTo>
                    <a:cubicBezTo>
                      <a:pt x="1784" y="695"/>
                      <a:pt x="1778" y="701"/>
                      <a:pt x="1769" y="705"/>
                    </a:cubicBezTo>
                    <a:cubicBezTo>
                      <a:pt x="1764" y="708"/>
                      <a:pt x="1761" y="712"/>
                      <a:pt x="1759" y="717"/>
                    </a:cubicBezTo>
                    <a:cubicBezTo>
                      <a:pt x="1726" y="799"/>
                      <a:pt x="1682" y="897"/>
                      <a:pt x="1667" y="910"/>
                    </a:cubicBezTo>
                    <a:cubicBezTo>
                      <a:pt x="1640" y="934"/>
                      <a:pt x="1565" y="982"/>
                      <a:pt x="1526" y="982"/>
                    </a:cubicBezTo>
                    <a:cubicBezTo>
                      <a:pt x="1486" y="982"/>
                      <a:pt x="1411" y="934"/>
                      <a:pt x="1384" y="910"/>
                    </a:cubicBezTo>
                    <a:cubicBezTo>
                      <a:pt x="1369" y="897"/>
                      <a:pt x="1325" y="799"/>
                      <a:pt x="1293" y="717"/>
                    </a:cubicBezTo>
                    <a:cubicBezTo>
                      <a:pt x="1291" y="712"/>
                      <a:pt x="1287" y="708"/>
                      <a:pt x="1282" y="705"/>
                    </a:cubicBezTo>
                    <a:cubicBezTo>
                      <a:pt x="1273" y="700"/>
                      <a:pt x="1266" y="694"/>
                      <a:pt x="1262" y="686"/>
                    </a:cubicBezTo>
                    <a:close/>
                    <a:moveTo>
                      <a:pt x="1000" y="982"/>
                    </a:moveTo>
                    <a:cubicBezTo>
                      <a:pt x="891" y="922"/>
                      <a:pt x="891" y="922"/>
                      <a:pt x="891" y="922"/>
                    </a:cubicBezTo>
                    <a:cubicBezTo>
                      <a:pt x="891" y="893"/>
                      <a:pt x="891" y="893"/>
                      <a:pt x="891" y="893"/>
                    </a:cubicBezTo>
                    <a:cubicBezTo>
                      <a:pt x="1274" y="893"/>
                      <a:pt x="1274" y="893"/>
                      <a:pt x="1274" y="893"/>
                    </a:cubicBezTo>
                    <a:cubicBezTo>
                      <a:pt x="1267" y="879"/>
                      <a:pt x="1260" y="865"/>
                      <a:pt x="1253" y="849"/>
                    </a:cubicBezTo>
                    <a:cubicBezTo>
                      <a:pt x="869" y="849"/>
                      <a:pt x="869" y="849"/>
                      <a:pt x="869" y="849"/>
                    </a:cubicBezTo>
                    <a:cubicBezTo>
                      <a:pt x="857" y="849"/>
                      <a:pt x="847" y="859"/>
                      <a:pt x="847" y="871"/>
                    </a:cubicBezTo>
                    <a:cubicBezTo>
                      <a:pt x="847" y="936"/>
                      <a:pt x="847" y="936"/>
                      <a:pt x="847" y="936"/>
                    </a:cubicBezTo>
                    <a:cubicBezTo>
                      <a:pt x="847" y="944"/>
                      <a:pt x="851" y="951"/>
                      <a:pt x="858" y="955"/>
                    </a:cubicBezTo>
                    <a:cubicBezTo>
                      <a:pt x="904" y="980"/>
                      <a:pt x="904" y="980"/>
                      <a:pt x="904" y="980"/>
                    </a:cubicBezTo>
                    <a:cubicBezTo>
                      <a:pt x="663" y="980"/>
                      <a:pt x="663" y="980"/>
                      <a:pt x="663" y="980"/>
                    </a:cubicBezTo>
                    <a:cubicBezTo>
                      <a:pt x="708" y="955"/>
                      <a:pt x="708" y="955"/>
                      <a:pt x="708" y="955"/>
                    </a:cubicBezTo>
                    <a:cubicBezTo>
                      <a:pt x="715" y="951"/>
                      <a:pt x="720" y="944"/>
                      <a:pt x="720" y="936"/>
                    </a:cubicBezTo>
                    <a:cubicBezTo>
                      <a:pt x="720" y="871"/>
                      <a:pt x="720" y="871"/>
                      <a:pt x="720" y="871"/>
                    </a:cubicBezTo>
                    <a:cubicBezTo>
                      <a:pt x="720" y="859"/>
                      <a:pt x="710" y="849"/>
                      <a:pt x="698" y="849"/>
                    </a:cubicBezTo>
                    <a:cubicBezTo>
                      <a:pt x="44" y="849"/>
                      <a:pt x="44" y="849"/>
                      <a:pt x="44" y="849"/>
                    </a:cubicBezTo>
                    <a:cubicBezTo>
                      <a:pt x="44" y="44"/>
                      <a:pt x="44" y="44"/>
                      <a:pt x="44" y="44"/>
                    </a:cubicBezTo>
                    <a:cubicBezTo>
                      <a:pt x="1523" y="44"/>
                      <a:pt x="1523" y="44"/>
                      <a:pt x="1523" y="44"/>
                    </a:cubicBezTo>
                    <a:cubicBezTo>
                      <a:pt x="1523" y="150"/>
                      <a:pt x="1523" y="150"/>
                      <a:pt x="1523" y="150"/>
                    </a:cubicBezTo>
                    <a:cubicBezTo>
                      <a:pt x="1524" y="150"/>
                      <a:pt x="1525" y="150"/>
                      <a:pt x="1526" y="150"/>
                    </a:cubicBezTo>
                    <a:cubicBezTo>
                      <a:pt x="1540" y="150"/>
                      <a:pt x="1553" y="150"/>
                      <a:pt x="1567" y="152"/>
                    </a:cubicBezTo>
                    <a:cubicBezTo>
                      <a:pt x="1567" y="22"/>
                      <a:pt x="1567" y="22"/>
                      <a:pt x="1567" y="22"/>
                    </a:cubicBezTo>
                    <a:cubicBezTo>
                      <a:pt x="1567" y="10"/>
                      <a:pt x="1557" y="0"/>
                      <a:pt x="1545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0"/>
                      <a:pt x="0" y="22"/>
                    </a:cubicBezTo>
                    <a:cubicBezTo>
                      <a:pt x="0" y="871"/>
                      <a:pt x="0" y="871"/>
                      <a:pt x="0" y="871"/>
                    </a:cubicBezTo>
                    <a:cubicBezTo>
                      <a:pt x="0" y="883"/>
                      <a:pt x="10" y="893"/>
                      <a:pt x="22" y="893"/>
                    </a:cubicBezTo>
                    <a:cubicBezTo>
                      <a:pt x="676" y="893"/>
                      <a:pt x="676" y="893"/>
                      <a:pt x="676" y="893"/>
                    </a:cubicBezTo>
                    <a:cubicBezTo>
                      <a:pt x="676" y="922"/>
                      <a:pt x="676" y="922"/>
                      <a:pt x="676" y="922"/>
                    </a:cubicBezTo>
                    <a:cubicBezTo>
                      <a:pt x="566" y="982"/>
                      <a:pt x="566" y="982"/>
                      <a:pt x="566" y="982"/>
                    </a:cubicBezTo>
                    <a:cubicBezTo>
                      <a:pt x="557" y="987"/>
                      <a:pt x="553" y="998"/>
                      <a:pt x="555" y="1007"/>
                    </a:cubicBezTo>
                    <a:cubicBezTo>
                      <a:pt x="558" y="1017"/>
                      <a:pt x="567" y="1024"/>
                      <a:pt x="577" y="1024"/>
                    </a:cubicBezTo>
                    <a:cubicBezTo>
                      <a:pt x="990" y="1024"/>
                      <a:pt x="990" y="1024"/>
                      <a:pt x="990" y="1024"/>
                    </a:cubicBezTo>
                    <a:cubicBezTo>
                      <a:pt x="1000" y="1024"/>
                      <a:pt x="1009" y="1017"/>
                      <a:pt x="1011" y="1007"/>
                    </a:cubicBezTo>
                    <a:cubicBezTo>
                      <a:pt x="1014" y="998"/>
                      <a:pt x="1009" y="987"/>
                      <a:pt x="1000" y="98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solidFill>
                    <a:srgbClr val="295E7E"/>
                  </a:solidFill>
                </a:endParaRPr>
              </a:p>
            </p:txBody>
          </p:sp>
          <p:sp>
            <p:nvSpPr>
              <p:cNvPr id="76" name="Freeform 11">
                <a:extLst>
                  <a:ext uri="{FF2B5EF4-FFF2-40B4-BE49-F238E27FC236}">
                    <a16:creationId xmlns="" xmlns:a16="http://schemas.microsoft.com/office/drawing/2014/main" id="{83AB19B1-0D84-414A-9DE7-F15682FC7F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25" y="1108"/>
                <a:ext cx="2609" cy="1329"/>
              </a:xfrm>
              <a:custGeom>
                <a:avLst/>
                <a:gdLst>
                  <a:gd name="T0" fmla="*/ 896 w 1393"/>
                  <a:gd name="T1" fmla="*/ 530 h 709"/>
                  <a:gd name="T2" fmla="*/ 875 w 1393"/>
                  <a:gd name="T3" fmla="*/ 530 h 709"/>
                  <a:gd name="T4" fmla="*/ 730 w 1393"/>
                  <a:gd name="T5" fmla="*/ 364 h 709"/>
                  <a:gd name="T6" fmla="*/ 896 w 1393"/>
                  <a:gd name="T7" fmla="*/ 509 h 709"/>
                  <a:gd name="T8" fmla="*/ 685 w 1393"/>
                  <a:gd name="T9" fmla="*/ 410 h 709"/>
                  <a:gd name="T10" fmla="*/ 829 w 1393"/>
                  <a:gd name="T11" fmla="*/ 575 h 709"/>
                  <a:gd name="T12" fmla="*/ 850 w 1393"/>
                  <a:gd name="T13" fmla="*/ 575 h 709"/>
                  <a:gd name="T14" fmla="*/ 706 w 1393"/>
                  <a:gd name="T15" fmla="*/ 410 h 709"/>
                  <a:gd name="T16" fmla="*/ 1393 w 1393"/>
                  <a:gd name="T17" fmla="*/ 61 h 709"/>
                  <a:gd name="T18" fmla="*/ 1088 w 1393"/>
                  <a:gd name="T19" fmla="*/ 416 h 709"/>
                  <a:gd name="T20" fmla="*/ 1097 w 1393"/>
                  <a:gd name="T21" fmla="*/ 526 h 709"/>
                  <a:gd name="T22" fmla="*/ 1087 w 1393"/>
                  <a:gd name="T23" fmla="*/ 543 h 709"/>
                  <a:gd name="T24" fmla="*/ 1127 w 1393"/>
                  <a:gd name="T25" fmla="*/ 664 h 709"/>
                  <a:gd name="T26" fmla="*/ 10 w 1393"/>
                  <a:gd name="T27" fmla="*/ 709 h 709"/>
                  <a:gd name="T28" fmla="*/ 0 w 1393"/>
                  <a:gd name="T29" fmla="*/ 10 h 709"/>
                  <a:gd name="T30" fmla="*/ 1383 w 1393"/>
                  <a:gd name="T31" fmla="*/ 0 h 709"/>
                  <a:gd name="T32" fmla="*/ 632 w 1393"/>
                  <a:gd name="T33" fmla="*/ 462 h 709"/>
                  <a:gd name="T34" fmla="*/ 611 w 1393"/>
                  <a:gd name="T35" fmla="*/ 437 h 709"/>
                  <a:gd name="T36" fmla="*/ 579 w 1393"/>
                  <a:gd name="T37" fmla="*/ 408 h 709"/>
                  <a:gd name="T38" fmla="*/ 440 w 1393"/>
                  <a:gd name="T39" fmla="*/ 530 h 709"/>
                  <a:gd name="T40" fmla="*/ 502 w 1393"/>
                  <a:gd name="T41" fmla="*/ 592 h 709"/>
                  <a:gd name="T42" fmla="*/ 935 w 1393"/>
                  <a:gd name="T43" fmla="*/ 507 h 709"/>
                  <a:gd name="T44" fmla="*/ 741 w 1393"/>
                  <a:gd name="T45" fmla="*/ 320 h 709"/>
                  <a:gd name="T46" fmla="*/ 734 w 1393"/>
                  <a:gd name="T47" fmla="*/ 315 h 709"/>
                  <a:gd name="T48" fmla="*/ 707 w 1393"/>
                  <a:gd name="T49" fmla="*/ 279 h 709"/>
                  <a:gd name="T50" fmla="*/ 655 w 1393"/>
                  <a:gd name="T51" fmla="*/ 301 h 709"/>
                  <a:gd name="T52" fmla="*/ 465 w 1393"/>
                  <a:gd name="T53" fmla="*/ 113 h 709"/>
                  <a:gd name="T54" fmla="*/ 401 w 1393"/>
                  <a:gd name="T55" fmla="*/ 56 h 709"/>
                  <a:gd name="T56" fmla="*/ 389 w 1393"/>
                  <a:gd name="T57" fmla="*/ 68 h 709"/>
                  <a:gd name="T58" fmla="*/ 407 w 1393"/>
                  <a:gd name="T59" fmla="*/ 141 h 709"/>
                  <a:gd name="T60" fmla="*/ 618 w 1393"/>
                  <a:gd name="T61" fmla="*/ 333 h 709"/>
                  <a:gd name="T62" fmla="*/ 600 w 1393"/>
                  <a:gd name="T63" fmla="*/ 356 h 709"/>
                  <a:gd name="T64" fmla="*/ 620 w 1393"/>
                  <a:gd name="T65" fmla="*/ 407 h 709"/>
                  <a:gd name="T66" fmla="*/ 639 w 1393"/>
                  <a:gd name="T67" fmla="*/ 413 h 709"/>
                  <a:gd name="T68" fmla="*/ 644 w 1393"/>
                  <a:gd name="T69" fmla="*/ 431 h 709"/>
                  <a:gd name="T70" fmla="*/ 847 w 1393"/>
                  <a:gd name="T71" fmla="*/ 622 h 709"/>
                  <a:gd name="T72" fmla="*/ 935 w 1393"/>
                  <a:gd name="T73" fmla="*/ 507 h 709"/>
                  <a:gd name="T74" fmla="*/ 917 w 1393"/>
                  <a:gd name="T75" fmla="*/ 181 h 709"/>
                  <a:gd name="T76" fmla="*/ 826 w 1393"/>
                  <a:gd name="T77" fmla="*/ 205 h 709"/>
                  <a:gd name="T78" fmla="*/ 851 w 1393"/>
                  <a:gd name="T79" fmla="*/ 114 h 709"/>
                  <a:gd name="T80" fmla="*/ 778 w 1393"/>
                  <a:gd name="T81" fmla="*/ 91 h 709"/>
                  <a:gd name="T82" fmla="*/ 719 w 1393"/>
                  <a:gd name="T83" fmla="*/ 250 h 709"/>
                  <a:gd name="T84" fmla="*/ 728 w 1393"/>
                  <a:gd name="T85" fmla="*/ 258 h 709"/>
                  <a:gd name="T86" fmla="*/ 757 w 1393"/>
                  <a:gd name="T87" fmla="*/ 290 h 709"/>
                  <a:gd name="T88" fmla="*/ 782 w 1393"/>
                  <a:gd name="T89" fmla="*/ 312 h 709"/>
                  <a:gd name="T90" fmla="*/ 816 w 1393"/>
                  <a:gd name="T91" fmla="*/ 278 h 709"/>
                  <a:gd name="T92" fmla="*/ 967 w 1393"/>
                  <a:gd name="T93" fmla="*/ 131 h 7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393" h="709">
                    <a:moveTo>
                      <a:pt x="896" y="509"/>
                    </a:moveTo>
                    <a:cubicBezTo>
                      <a:pt x="902" y="515"/>
                      <a:pt x="902" y="524"/>
                      <a:pt x="896" y="530"/>
                    </a:cubicBezTo>
                    <a:cubicBezTo>
                      <a:pt x="893" y="533"/>
                      <a:pt x="889" y="534"/>
                      <a:pt x="885" y="534"/>
                    </a:cubicBezTo>
                    <a:cubicBezTo>
                      <a:pt x="881" y="534"/>
                      <a:pt x="878" y="533"/>
                      <a:pt x="875" y="530"/>
                    </a:cubicBezTo>
                    <a:cubicBezTo>
                      <a:pt x="730" y="385"/>
                      <a:pt x="730" y="385"/>
                      <a:pt x="730" y="385"/>
                    </a:cubicBezTo>
                    <a:cubicBezTo>
                      <a:pt x="724" y="380"/>
                      <a:pt x="724" y="370"/>
                      <a:pt x="730" y="364"/>
                    </a:cubicBezTo>
                    <a:cubicBezTo>
                      <a:pt x="736" y="358"/>
                      <a:pt x="745" y="358"/>
                      <a:pt x="751" y="364"/>
                    </a:cubicBezTo>
                    <a:lnTo>
                      <a:pt x="896" y="509"/>
                    </a:lnTo>
                    <a:close/>
                    <a:moveTo>
                      <a:pt x="706" y="410"/>
                    </a:moveTo>
                    <a:cubicBezTo>
                      <a:pt x="700" y="404"/>
                      <a:pt x="690" y="404"/>
                      <a:pt x="685" y="410"/>
                    </a:cubicBezTo>
                    <a:cubicBezTo>
                      <a:pt x="679" y="416"/>
                      <a:pt x="679" y="425"/>
                      <a:pt x="685" y="431"/>
                    </a:cubicBezTo>
                    <a:cubicBezTo>
                      <a:pt x="829" y="575"/>
                      <a:pt x="829" y="575"/>
                      <a:pt x="829" y="575"/>
                    </a:cubicBezTo>
                    <a:cubicBezTo>
                      <a:pt x="832" y="578"/>
                      <a:pt x="836" y="580"/>
                      <a:pt x="840" y="580"/>
                    </a:cubicBezTo>
                    <a:cubicBezTo>
                      <a:pt x="843" y="580"/>
                      <a:pt x="847" y="578"/>
                      <a:pt x="850" y="575"/>
                    </a:cubicBezTo>
                    <a:cubicBezTo>
                      <a:pt x="856" y="570"/>
                      <a:pt x="856" y="560"/>
                      <a:pt x="850" y="554"/>
                    </a:cubicBezTo>
                    <a:lnTo>
                      <a:pt x="706" y="410"/>
                    </a:lnTo>
                    <a:close/>
                    <a:moveTo>
                      <a:pt x="1393" y="10"/>
                    </a:moveTo>
                    <a:cubicBezTo>
                      <a:pt x="1393" y="61"/>
                      <a:pt x="1393" y="61"/>
                      <a:pt x="1393" y="61"/>
                    </a:cubicBezTo>
                    <a:cubicBezTo>
                      <a:pt x="1315" y="71"/>
                      <a:pt x="1244" y="106"/>
                      <a:pt x="1189" y="163"/>
                    </a:cubicBezTo>
                    <a:cubicBezTo>
                      <a:pt x="1124" y="230"/>
                      <a:pt x="1088" y="320"/>
                      <a:pt x="1088" y="416"/>
                    </a:cubicBezTo>
                    <a:cubicBezTo>
                      <a:pt x="1088" y="424"/>
                      <a:pt x="1088" y="424"/>
                      <a:pt x="1088" y="424"/>
                    </a:cubicBezTo>
                    <a:cubicBezTo>
                      <a:pt x="1088" y="461"/>
                      <a:pt x="1087" y="486"/>
                      <a:pt x="1097" y="526"/>
                    </a:cubicBezTo>
                    <a:cubicBezTo>
                      <a:pt x="1098" y="529"/>
                      <a:pt x="1097" y="533"/>
                      <a:pt x="1096" y="535"/>
                    </a:cubicBezTo>
                    <a:cubicBezTo>
                      <a:pt x="1095" y="539"/>
                      <a:pt x="1091" y="542"/>
                      <a:pt x="1087" y="543"/>
                    </a:cubicBezTo>
                    <a:cubicBezTo>
                      <a:pt x="1078" y="547"/>
                      <a:pt x="1071" y="557"/>
                      <a:pt x="1073" y="567"/>
                    </a:cubicBezTo>
                    <a:cubicBezTo>
                      <a:pt x="1079" y="607"/>
                      <a:pt x="1098" y="641"/>
                      <a:pt x="1127" y="664"/>
                    </a:cubicBezTo>
                    <a:cubicBezTo>
                      <a:pt x="1133" y="680"/>
                      <a:pt x="1139" y="695"/>
                      <a:pt x="1145" y="709"/>
                    </a:cubicBezTo>
                    <a:cubicBezTo>
                      <a:pt x="10" y="709"/>
                      <a:pt x="10" y="709"/>
                      <a:pt x="10" y="709"/>
                    </a:cubicBezTo>
                    <a:cubicBezTo>
                      <a:pt x="4" y="709"/>
                      <a:pt x="0" y="705"/>
                      <a:pt x="0" y="699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1383" y="0"/>
                      <a:pt x="1383" y="0"/>
                      <a:pt x="1383" y="0"/>
                    </a:cubicBezTo>
                    <a:cubicBezTo>
                      <a:pt x="1388" y="0"/>
                      <a:pt x="1393" y="5"/>
                      <a:pt x="1393" y="10"/>
                    </a:cubicBezTo>
                    <a:close/>
                    <a:moveTo>
                      <a:pt x="632" y="462"/>
                    </a:moveTo>
                    <a:cubicBezTo>
                      <a:pt x="615" y="444"/>
                      <a:pt x="615" y="444"/>
                      <a:pt x="615" y="444"/>
                    </a:cubicBezTo>
                    <a:cubicBezTo>
                      <a:pt x="613" y="442"/>
                      <a:pt x="611" y="440"/>
                      <a:pt x="611" y="437"/>
                    </a:cubicBezTo>
                    <a:cubicBezTo>
                      <a:pt x="606" y="435"/>
                      <a:pt x="602" y="432"/>
                      <a:pt x="599" y="428"/>
                    </a:cubicBezTo>
                    <a:cubicBezTo>
                      <a:pt x="579" y="408"/>
                      <a:pt x="579" y="408"/>
                      <a:pt x="579" y="408"/>
                    </a:cubicBezTo>
                    <a:cubicBezTo>
                      <a:pt x="576" y="405"/>
                      <a:pt x="573" y="402"/>
                      <a:pt x="571" y="398"/>
                    </a:cubicBezTo>
                    <a:cubicBezTo>
                      <a:pt x="440" y="530"/>
                      <a:pt x="440" y="530"/>
                      <a:pt x="440" y="530"/>
                    </a:cubicBezTo>
                    <a:cubicBezTo>
                      <a:pt x="421" y="548"/>
                      <a:pt x="421" y="576"/>
                      <a:pt x="438" y="594"/>
                    </a:cubicBezTo>
                    <a:cubicBezTo>
                      <a:pt x="455" y="611"/>
                      <a:pt x="484" y="610"/>
                      <a:pt x="502" y="592"/>
                    </a:cubicBezTo>
                    <a:lnTo>
                      <a:pt x="632" y="462"/>
                    </a:lnTo>
                    <a:close/>
                    <a:moveTo>
                      <a:pt x="935" y="507"/>
                    </a:moveTo>
                    <a:cubicBezTo>
                      <a:pt x="752" y="324"/>
                      <a:pt x="752" y="324"/>
                      <a:pt x="752" y="324"/>
                    </a:cubicBezTo>
                    <a:cubicBezTo>
                      <a:pt x="749" y="321"/>
                      <a:pt x="745" y="320"/>
                      <a:pt x="741" y="320"/>
                    </a:cubicBezTo>
                    <a:cubicBezTo>
                      <a:pt x="733" y="320"/>
                      <a:pt x="733" y="320"/>
                      <a:pt x="733" y="320"/>
                    </a:cubicBezTo>
                    <a:cubicBezTo>
                      <a:pt x="733" y="318"/>
                      <a:pt x="734" y="317"/>
                      <a:pt x="734" y="315"/>
                    </a:cubicBezTo>
                    <a:cubicBezTo>
                      <a:pt x="734" y="309"/>
                      <a:pt x="731" y="304"/>
                      <a:pt x="727" y="300"/>
                    </a:cubicBezTo>
                    <a:cubicBezTo>
                      <a:pt x="707" y="279"/>
                      <a:pt x="707" y="279"/>
                      <a:pt x="707" y="279"/>
                    </a:cubicBezTo>
                    <a:cubicBezTo>
                      <a:pt x="698" y="271"/>
                      <a:pt x="685" y="271"/>
                      <a:pt x="676" y="279"/>
                    </a:cubicBezTo>
                    <a:cubicBezTo>
                      <a:pt x="655" y="301"/>
                      <a:pt x="655" y="301"/>
                      <a:pt x="655" y="301"/>
                    </a:cubicBezTo>
                    <a:cubicBezTo>
                      <a:pt x="654" y="301"/>
                      <a:pt x="654" y="300"/>
                      <a:pt x="653" y="300"/>
                    </a:cubicBezTo>
                    <a:cubicBezTo>
                      <a:pt x="465" y="113"/>
                      <a:pt x="465" y="113"/>
                      <a:pt x="465" y="113"/>
                    </a:cubicBezTo>
                    <a:cubicBezTo>
                      <a:pt x="462" y="87"/>
                      <a:pt x="462" y="87"/>
                      <a:pt x="462" y="87"/>
                    </a:cubicBezTo>
                    <a:cubicBezTo>
                      <a:pt x="401" y="56"/>
                      <a:pt x="401" y="56"/>
                      <a:pt x="401" y="56"/>
                    </a:cubicBezTo>
                    <a:cubicBezTo>
                      <a:pt x="389" y="68"/>
                      <a:pt x="389" y="68"/>
                      <a:pt x="389" y="68"/>
                    </a:cubicBezTo>
                    <a:cubicBezTo>
                      <a:pt x="389" y="68"/>
                      <a:pt x="389" y="68"/>
                      <a:pt x="389" y="68"/>
                    </a:cubicBezTo>
                    <a:cubicBezTo>
                      <a:pt x="377" y="80"/>
                      <a:pt x="377" y="80"/>
                      <a:pt x="377" y="80"/>
                    </a:cubicBezTo>
                    <a:cubicBezTo>
                      <a:pt x="407" y="141"/>
                      <a:pt x="407" y="141"/>
                      <a:pt x="407" y="141"/>
                    </a:cubicBezTo>
                    <a:cubicBezTo>
                      <a:pt x="430" y="145"/>
                      <a:pt x="430" y="145"/>
                      <a:pt x="430" y="145"/>
                    </a:cubicBezTo>
                    <a:cubicBezTo>
                      <a:pt x="618" y="333"/>
                      <a:pt x="618" y="333"/>
                      <a:pt x="618" y="333"/>
                    </a:cubicBezTo>
                    <a:cubicBezTo>
                      <a:pt x="619" y="334"/>
                      <a:pt x="620" y="334"/>
                      <a:pt x="621" y="335"/>
                    </a:cubicBezTo>
                    <a:cubicBezTo>
                      <a:pt x="600" y="356"/>
                      <a:pt x="600" y="356"/>
                      <a:pt x="600" y="356"/>
                    </a:cubicBezTo>
                    <a:cubicBezTo>
                      <a:pt x="591" y="364"/>
                      <a:pt x="591" y="378"/>
                      <a:pt x="600" y="387"/>
                    </a:cubicBezTo>
                    <a:cubicBezTo>
                      <a:pt x="620" y="407"/>
                      <a:pt x="620" y="407"/>
                      <a:pt x="620" y="407"/>
                    </a:cubicBezTo>
                    <a:cubicBezTo>
                      <a:pt x="624" y="411"/>
                      <a:pt x="630" y="413"/>
                      <a:pt x="635" y="413"/>
                    </a:cubicBezTo>
                    <a:cubicBezTo>
                      <a:pt x="637" y="413"/>
                      <a:pt x="638" y="413"/>
                      <a:pt x="639" y="413"/>
                    </a:cubicBezTo>
                    <a:cubicBezTo>
                      <a:pt x="640" y="421"/>
                      <a:pt x="640" y="421"/>
                      <a:pt x="640" y="421"/>
                    </a:cubicBezTo>
                    <a:cubicBezTo>
                      <a:pt x="640" y="425"/>
                      <a:pt x="641" y="428"/>
                      <a:pt x="644" y="431"/>
                    </a:cubicBezTo>
                    <a:cubicBezTo>
                      <a:pt x="828" y="615"/>
                      <a:pt x="828" y="615"/>
                      <a:pt x="828" y="615"/>
                    </a:cubicBezTo>
                    <a:cubicBezTo>
                      <a:pt x="833" y="620"/>
                      <a:pt x="840" y="622"/>
                      <a:pt x="847" y="622"/>
                    </a:cubicBezTo>
                    <a:cubicBezTo>
                      <a:pt x="866" y="622"/>
                      <a:pt x="890" y="607"/>
                      <a:pt x="909" y="588"/>
                    </a:cubicBezTo>
                    <a:cubicBezTo>
                      <a:pt x="935" y="563"/>
                      <a:pt x="954" y="526"/>
                      <a:pt x="935" y="507"/>
                    </a:cubicBezTo>
                    <a:close/>
                    <a:moveTo>
                      <a:pt x="967" y="131"/>
                    </a:moveTo>
                    <a:cubicBezTo>
                      <a:pt x="917" y="181"/>
                      <a:pt x="917" y="181"/>
                      <a:pt x="917" y="181"/>
                    </a:cubicBezTo>
                    <a:cubicBezTo>
                      <a:pt x="879" y="220"/>
                      <a:pt x="879" y="220"/>
                      <a:pt x="879" y="220"/>
                    </a:cubicBezTo>
                    <a:cubicBezTo>
                      <a:pt x="826" y="205"/>
                      <a:pt x="826" y="205"/>
                      <a:pt x="826" y="205"/>
                    </a:cubicBezTo>
                    <a:cubicBezTo>
                      <a:pt x="812" y="153"/>
                      <a:pt x="812" y="153"/>
                      <a:pt x="812" y="153"/>
                    </a:cubicBezTo>
                    <a:cubicBezTo>
                      <a:pt x="851" y="114"/>
                      <a:pt x="851" y="114"/>
                      <a:pt x="851" y="114"/>
                    </a:cubicBezTo>
                    <a:cubicBezTo>
                      <a:pt x="900" y="65"/>
                      <a:pt x="900" y="65"/>
                      <a:pt x="900" y="65"/>
                    </a:cubicBezTo>
                    <a:cubicBezTo>
                      <a:pt x="859" y="49"/>
                      <a:pt x="811" y="58"/>
                      <a:pt x="778" y="91"/>
                    </a:cubicBezTo>
                    <a:cubicBezTo>
                      <a:pt x="744" y="125"/>
                      <a:pt x="736" y="174"/>
                      <a:pt x="753" y="216"/>
                    </a:cubicBezTo>
                    <a:cubicBezTo>
                      <a:pt x="719" y="250"/>
                      <a:pt x="719" y="250"/>
                      <a:pt x="719" y="250"/>
                    </a:cubicBezTo>
                    <a:cubicBezTo>
                      <a:pt x="718" y="251"/>
                      <a:pt x="718" y="251"/>
                      <a:pt x="718" y="251"/>
                    </a:cubicBezTo>
                    <a:cubicBezTo>
                      <a:pt x="722" y="253"/>
                      <a:pt x="725" y="255"/>
                      <a:pt x="728" y="258"/>
                    </a:cubicBezTo>
                    <a:cubicBezTo>
                      <a:pt x="748" y="278"/>
                      <a:pt x="748" y="278"/>
                      <a:pt x="748" y="278"/>
                    </a:cubicBezTo>
                    <a:cubicBezTo>
                      <a:pt x="752" y="282"/>
                      <a:pt x="755" y="286"/>
                      <a:pt x="757" y="290"/>
                    </a:cubicBezTo>
                    <a:cubicBezTo>
                      <a:pt x="760" y="291"/>
                      <a:pt x="762" y="292"/>
                      <a:pt x="764" y="294"/>
                    </a:cubicBezTo>
                    <a:cubicBezTo>
                      <a:pt x="782" y="312"/>
                      <a:pt x="782" y="312"/>
                      <a:pt x="782" y="312"/>
                    </a:cubicBezTo>
                    <a:cubicBezTo>
                      <a:pt x="783" y="311"/>
                      <a:pt x="783" y="311"/>
                      <a:pt x="783" y="311"/>
                    </a:cubicBezTo>
                    <a:cubicBezTo>
                      <a:pt x="816" y="278"/>
                      <a:pt x="816" y="278"/>
                      <a:pt x="816" y="278"/>
                    </a:cubicBezTo>
                    <a:cubicBezTo>
                      <a:pt x="857" y="295"/>
                      <a:pt x="907" y="287"/>
                      <a:pt x="941" y="253"/>
                    </a:cubicBezTo>
                    <a:cubicBezTo>
                      <a:pt x="974" y="220"/>
                      <a:pt x="982" y="172"/>
                      <a:pt x="967" y="1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solidFill>
                    <a:srgbClr val="295E7E"/>
                  </a:solidFill>
                </a:endParaRPr>
              </a:p>
            </p:txBody>
          </p:sp>
        </p:grpSp>
        <p:sp>
          <p:nvSpPr>
            <p:cNvPr id="39" name="Rectangle 38"/>
            <p:cNvSpPr/>
            <p:nvPr/>
          </p:nvSpPr>
          <p:spPr>
            <a:xfrm rot="2700000">
              <a:off x="9053976" y="2644123"/>
              <a:ext cx="1529464" cy="1529464"/>
            </a:xfrm>
            <a:prstGeom prst="rect">
              <a:avLst/>
            </a:prstGeom>
            <a:noFill/>
            <a:ln w="19050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Rectangle 42"/>
            <p:cNvSpPr/>
            <p:nvPr/>
          </p:nvSpPr>
          <p:spPr>
            <a:xfrm>
              <a:off x="8214794" y="1676699"/>
              <a:ext cx="3213498" cy="584775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 marL="0" lvl="3" algn="ctr">
                <a:defRPr/>
              </a:pPr>
              <a:r>
                <a:rPr lang="en-US" sz="1600" dirty="0">
                  <a:solidFill>
                    <a:srgbClr val="1F4174"/>
                  </a:solidFill>
                  <a:latin typeface="+mj-lt"/>
                  <a:cs typeface="Arial" panose="020B0604020202020204" pitchFamily="34" charset="0"/>
                  <a:sym typeface="Calibri"/>
                </a:rPr>
                <a:t>Cluster </a:t>
              </a:r>
              <a:r>
                <a:rPr lang="en-US" sz="1600" dirty="0" smtClean="0">
                  <a:solidFill>
                    <a:srgbClr val="1F4174"/>
                  </a:solidFill>
                  <a:latin typeface="+mj-lt"/>
                  <a:cs typeface="Arial" panose="020B0604020202020204" pitchFamily="34" charset="0"/>
                  <a:sym typeface="Calibri"/>
                </a:rPr>
                <a:t>#3:</a:t>
              </a:r>
              <a:endParaRPr lang="en-US" sz="1600" dirty="0">
                <a:solidFill>
                  <a:srgbClr val="1F4174"/>
                </a:solidFill>
                <a:latin typeface="+mj-lt"/>
                <a:cs typeface="Arial" panose="020B0604020202020204" pitchFamily="34" charset="0"/>
                <a:sym typeface="Calibri"/>
              </a:endParaRPr>
            </a:p>
            <a:p>
              <a:pPr marL="0" lvl="3" algn="ctr">
                <a:defRPr/>
              </a:pPr>
              <a:r>
                <a:rPr lang="en-US" sz="1600" dirty="0">
                  <a:solidFill>
                    <a:srgbClr val="1F4174"/>
                  </a:solidFill>
                  <a:latin typeface="+mj-lt"/>
                  <a:cs typeface="Arial" panose="020B0604020202020204" pitchFamily="34" charset="0"/>
                  <a:sym typeface="Calibri"/>
                </a:rPr>
                <a:t>Business IT</a:t>
              </a: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8214794" y="5057839"/>
              <a:ext cx="3213498" cy="738664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 marL="228600" lvl="1" indent="-228600">
                <a:buClr>
                  <a:srgbClr val="1F4174">
                    <a:lumMod val="100000"/>
                  </a:srgbClr>
                </a:buClr>
                <a:buFont typeface="Arial" panose="020B0604020202020204" pitchFamily="34" charset="0"/>
                <a:buChar char="•"/>
              </a:pPr>
              <a:r>
                <a:rPr lang="en-US" sz="1400" dirty="0">
                  <a:cs typeface="Arial" panose="020B0604020202020204" pitchFamily="34" charset="0"/>
                </a:rPr>
                <a:t>Digitized B2B product elements</a:t>
              </a:r>
            </a:p>
            <a:p>
              <a:pPr marL="228600" lvl="1" indent="-228600">
                <a:buClr>
                  <a:srgbClr val="1F4174">
                    <a:lumMod val="100000"/>
                  </a:srgbClr>
                </a:buClr>
                <a:buFont typeface="Arial" panose="020B0604020202020204" pitchFamily="34" charset="0"/>
                <a:buChar char="•"/>
              </a:pPr>
              <a:r>
                <a:rPr lang="en-US" sz="1400" dirty="0">
                  <a:cs typeface="Arial" panose="020B0604020202020204" pitchFamily="34" charset="0"/>
                </a:rPr>
                <a:t>IT platforms and software applications </a:t>
              </a:r>
            </a:p>
            <a:p>
              <a:pPr marL="228600" lvl="1" indent="-228600">
                <a:buClr>
                  <a:srgbClr val="1F4174">
                    <a:lumMod val="100000"/>
                  </a:srgbClr>
                </a:buClr>
                <a:buFont typeface="Arial" panose="020B0604020202020204" pitchFamily="34" charset="0"/>
                <a:buChar char="•"/>
              </a:pPr>
              <a:r>
                <a:rPr lang="en-US" sz="1400" dirty="0">
                  <a:cs typeface="Arial" panose="020B0604020202020204" pitchFamily="34" charset="0"/>
                </a:rPr>
                <a:t>Simplified back-office processes</a:t>
              </a: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8214794" y="4473064"/>
              <a:ext cx="3213498" cy="338554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 marL="0" lvl="3" algn="ctr">
                <a:defRPr/>
              </a:pPr>
              <a:r>
                <a:rPr lang="en-US" sz="1600" i="1" dirty="0">
                  <a:solidFill>
                    <a:srgbClr val="295E7E"/>
                  </a:solidFill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“Managing information”</a:t>
              </a: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4441303" y="1676699"/>
            <a:ext cx="3213498" cy="4119804"/>
            <a:chOff x="638836" y="1676699"/>
            <a:chExt cx="3213498" cy="4119804"/>
          </a:xfrm>
        </p:grpSpPr>
        <p:grpSp>
          <p:nvGrpSpPr>
            <p:cNvPr id="56" name="bcgIcons_DigitalFactory">
              <a:extLst>
                <a:ext uri="{FF2B5EF4-FFF2-40B4-BE49-F238E27FC236}">
                  <a16:creationId xmlns="" xmlns:a16="http://schemas.microsoft.com/office/drawing/2014/main" id="{BF5FCD5F-FAB3-4C38-B7EE-ABFB1F5A6BC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734425" y="2864334"/>
              <a:ext cx="1060628" cy="1004372"/>
              <a:chOff x="2030" y="446"/>
              <a:chExt cx="3620" cy="3428"/>
            </a:xfrm>
            <a:solidFill>
              <a:schemeClr val="tx2"/>
            </a:solidFill>
          </p:grpSpPr>
          <p:sp>
            <p:nvSpPr>
              <p:cNvPr id="58" name="Freeform 35">
                <a:extLst>
                  <a:ext uri="{FF2B5EF4-FFF2-40B4-BE49-F238E27FC236}">
                    <a16:creationId xmlns="" xmlns:a16="http://schemas.microsoft.com/office/drawing/2014/main" id="{72E19063-F3BE-4C34-BB2A-A0F0631EBCA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30" y="1303"/>
                <a:ext cx="3620" cy="2571"/>
              </a:xfrm>
              <a:custGeom>
                <a:avLst/>
                <a:gdLst>
                  <a:gd name="T0" fmla="*/ 1910 w 1932"/>
                  <a:gd name="T1" fmla="*/ 1227 h 1371"/>
                  <a:gd name="T2" fmla="*/ 1834 w 1932"/>
                  <a:gd name="T3" fmla="*/ 1227 h 1371"/>
                  <a:gd name="T4" fmla="*/ 1834 w 1932"/>
                  <a:gd name="T5" fmla="*/ 1190 h 1371"/>
                  <a:gd name="T6" fmla="*/ 1812 w 1932"/>
                  <a:gd name="T7" fmla="*/ 1168 h 1371"/>
                  <a:gd name="T8" fmla="*/ 120 w 1932"/>
                  <a:gd name="T9" fmla="*/ 1168 h 1371"/>
                  <a:gd name="T10" fmla="*/ 98 w 1932"/>
                  <a:gd name="T11" fmla="*/ 1190 h 1371"/>
                  <a:gd name="T12" fmla="*/ 98 w 1932"/>
                  <a:gd name="T13" fmla="*/ 1227 h 1371"/>
                  <a:gd name="T14" fmla="*/ 22 w 1932"/>
                  <a:gd name="T15" fmla="*/ 1227 h 1371"/>
                  <a:gd name="T16" fmla="*/ 0 w 1932"/>
                  <a:gd name="T17" fmla="*/ 1249 h 1371"/>
                  <a:gd name="T18" fmla="*/ 0 w 1932"/>
                  <a:gd name="T19" fmla="*/ 1349 h 1371"/>
                  <a:gd name="T20" fmla="*/ 22 w 1932"/>
                  <a:gd name="T21" fmla="*/ 1371 h 1371"/>
                  <a:gd name="T22" fmla="*/ 1910 w 1932"/>
                  <a:gd name="T23" fmla="*/ 1371 h 1371"/>
                  <a:gd name="T24" fmla="*/ 1932 w 1932"/>
                  <a:gd name="T25" fmla="*/ 1349 h 1371"/>
                  <a:gd name="T26" fmla="*/ 1932 w 1932"/>
                  <a:gd name="T27" fmla="*/ 1249 h 1371"/>
                  <a:gd name="T28" fmla="*/ 1910 w 1932"/>
                  <a:gd name="T29" fmla="*/ 1227 h 1371"/>
                  <a:gd name="T30" fmla="*/ 1812 w 1932"/>
                  <a:gd name="T31" fmla="*/ 1124 h 1371"/>
                  <a:gd name="T32" fmla="*/ 1768 w 1932"/>
                  <a:gd name="T33" fmla="*/ 1124 h 1371"/>
                  <a:gd name="T34" fmla="*/ 1768 w 1932"/>
                  <a:gd name="T35" fmla="*/ 235 h 1371"/>
                  <a:gd name="T36" fmla="*/ 1282 w 1932"/>
                  <a:gd name="T37" fmla="*/ 235 h 1371"/>
                  <a:gd name="T38" fmla="*/ 1275 w 1932"/>
                  <a:gd name="T39" fmla="*/ 234 h 1371"/>
                  <a:gd name="T40" fmla="*/ 728 w 1932"/>
                  <a:gd name="T41" fmla="*/ 53 h 1371"/>
                  <a:gd name="T42" fmla="*/ 728 w 1932"/>
                  <a:gd name="T43" fmla="*/ 211 h 1371"/>
                  <a:gd name="T44" fmla="*/ 719 w 1932"/>
                  <a:gd name="T45" fmla="*/ 229 h 1371"/>
                  <a:gd name="T46" fmla="*/ 699 w 1932"/>
                  <a:gd name="T47" fmla="*/ 232 h 1371"/>
                  <a:gd name="T48" fmla="*/ 162 w 1932"/>
                  <a:gd name="T49" fmla="*/ 53 h 1371"/>
                  <a:gd name="T50" fmla="*/ 162 w 1932"/>
                  <a:gd name="T51" fmla="*/ 1124 h 1371"/>
                  <a:gd name="T52" fmla="*/ 118 w 1932"/>
                  <a:gd name="T53" fmla="*/ 1124 h 1371"/>
                  <a:gd name="T54" fmla="*/ 118 w 1932"/>
                  <a:gd name="T55" fmla="*/ 23 h 1371"/>
                  <a:gd name="T56" fmla="*/ 127 w 1932"/>
                  <a:gd name="T57" fmla="*/ 5 h 1371"/>
                  <a:gd name="T58" fmla="*/ 147 w 1932"/>
                  <a:gd name="T59" fmla="*/ 2 h 1371"/>
                  <a:gd name="T60" fmla="*/ 684 w 1932"/>
                  <a:gd name="T61" fmla="*/ 181 h 1371"/>
                  <a:gd name="T62" fmla="*/ 684 w 1932"/>
                  <a:gd name="T63" fmla="*/ 23 h 1371"/>
                  <a:gd name="T64" fmla="*/ 693 w 1932"/>
                  <a:gd name="T65" fmla="*/ 5 h 1371"/>
                  <a:gd name="T66" fmla="*/ 713 w 1932"/>
                  <a:gd name="T67" fmla="*/ 2 h 1371"/>
                  <a:gd name="T68" fmla="*/ 1286 w 1932"/>
                  <a:gd name="T69" fmla="*/ 191 h 1371"/>
                  <a:gd name="T70" fmla="*/ 1790 w 1932"/>
                  <a:gd name="T71" fmla="*/ 191 h 1371"/>
                  <a:gd name="T72" fmla="*/ 1812 w 1932"/>
                  <a:gd name="T73" fmla="*/ 213 h 1371"/>
                  <a:gd name="T74" fmla="*/ 1812 w 1932"/>
                  <a:gd name="T75" fmla="*/ 1124 h 1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932" h="1371">
                    <a:moveTo>
                      <a:pt x="1910" y="1227"/>
                    </a:moveTo>
                    <a:cubicBezTo>
                      <a:pt x="1834" y="1227"/>
                      <a:pt x="1834" y="1227"/>
                      <a:pt x="1834" y="1227"/>
                    </a:cubicBezTo>
                    <a:cubicBezTo>
                      <a:pt x="1834" y="1190"/>
                      <a:pt x="1834" y="1190"/>
                      <a:pt x="1834" y="1190"/>
                    </a:cubicBezTo>
                    <a:cubicBezTo>
                      <a:pt x="1834" y="1178"/>
                      <a:pt x="1824" y="1168"/>
                      <a:pt x="1812" y="1168"/>
                    </a:cubicBezTo>
                    <a:cubicBezTo>
                      <a:pt x="120" y="1168"/>
                      <a:pt x="120" y="1168"/>
                      <a:pt x="120" y="1168"/>
                    </a:cubicBezTo>
                    <a:cubicBezTo>
                      <a:pt x="108" y="1168"/>
                      <a:pt x="98" y="1178"/>
                      <a:pt x="98" y="1190"/>
                    </a:cubicBezTo>
                    <a:cubicBezTo>
                      <a:pt x="98" y="1227"/>
                      <a:pt x="98" y="1227"/>
                      <a:pt x="98" y="1227"/>
                    </a:cubicBezTo>
                    <a:cubicBezTo>
                      <a:pt x="22" y="1227"/>
                      <a:pt x="22" y="1227"/>
                      <a:pt x="22" y="1227"/>
                    </a:cubicBezTo>
                    <a:cubicBezTo>
                      <a:pt x="9" y="1227"/>
                      <a:pt x="0" y="1237"/>
                      <a:pt x="0" y="1249"/>
                    </a:cubicBezTo>
                    <a:cubicBezTo>
                      <a:pt x="0" y="1349"/>
                      <a:pt x="0" y="1349"/>
                      <a:pt x="0" y="1349"/>
                    </a:cubicBezTo>
                    <a:cubicBezTo>
                      <a:pt x="0" y="1361"/>
                      <a:pt x="9" y="1371"/>
                      <a:pt x="22" y="1371"/>
                    </a:cubicBezTo>
                    <a:cubicBezTo>
                      <a:pt x="1910" y="1371"/>
                      <a:pt x="1910" y="1371"/>
                      <a:pt x="1910" y="1371"/>
                    </a:cubicBezTo>
                    <a:cubicBezTo>
                      <a:pt x="1923" y="1371"/>
                      <a:pt x="1932" y="1361"/>
                      <a:pt x="1932" y="1349"/>
                    </a:cubicBezTo>
                    <a:cubicBezTo>
                      <a:pt x="1932" y="1249"/>
                      <a:pt x="1932" y="1249"/>
                      <a:pt x="1932" y="1249"/>
                    </a:cubicBezTo>
                    <a:cubicBezTo>
                      <a:pt x="1932" y="1237"/>
                      <a:pt x="1923" y="1227"/>
                      <a:pt x="1910" y="1227"/>
                    </a:cubicBezTo>
                    <a:close/>
                    <a:moveTo>
                      <a:pt x="1812" y="1124"/>
                    </a:moveTo>
                    <a:cubicBezTo>
                      <a:pt x="1768" y="1124"/>
                      <a:pt x="1768" y="1124"/>
                      <a:pt x="1768" y="1124"/>
                    </a:cubicBezTo>
                    <a:cubicBezTo>
                      <a:pt x="1768" y="235"/>
                      <a:pt x="1768" y="235"/>
                      <a:pt x="1768" y="235"/>
                    </a:cubicBezTo>
                    <a:cubicBezTo>
                      <a:pt x="1282" y="235"/>
                      <a:pt x="1282" y="235"/>
                      <a:pt x="1282" y="235"/>
                    </a:cubicBezTo>
                    <a:cubicBezTo>
                      <a:pt x="1280" y="235"/>
                      <a:pt x="1277" y="235"/>
                      <a:pt x="1275" y="234"/>
                    </a:cubicBezTo>
                    <a:cubicBezTo>
                      <a:pt x="728" y="53"/>
                      <a:pt x="728" y="53"/>
                      <a:pt x="728" y="53"/>
                    </a:cubicBezTo>
                    <a:cubicBezTo>
                      <a:pt x="728" y="211"/>
                      <a:pt x="728" y="211"/>
                      <a:pt x="728" y="211"/>
                    </a:cubicBezTo>
                    <a:cubicBezTo>
                      <a:pt x="728" y="218"/>
                      <a:pt x="725" y="225"/>
                      <a:pt x="719" y="229"/>
                    </a:cubicBezTo>
                    <a:cubicBezTo>
                      <a:pt x="713" y="233"/>
                      <a:pt x="706" y="234"/>
                      <a:pt x="699" y="232"/>
                    </a:cubicBezTo>
                    <a:cubicBezTo>
                      <a:pt x="162" y="53"/>
                      <a:pt x="162" y="53"/>
                      <a:pt x="162" y="53"/>
                    </a:cubicBezTo>
                    <a:cubicBezTo>
                      <a:pt x="162" y="1124"/>
                      <a:pt x="162" y="1124"/>
                      <a:pt x="162" y="1124"/>
                    </a:cubicBezTo>
                    <a:cubicBezTo>
                      <a:pt x="118" y="1124"/>
                      <a:pt x="118" y="1124"/>
                      <a:pt x="118" y="1124"/>
                    </a:cubicBezTo>
                    <a:cubicBezTo>
                      <a:pt x="118" y="23"/>
                      <a:pt x="118" y="23"/>
                      <a:pt x="118" y="23"/>
                    </a:cubicBezTo>
                    <a:cubicBezTo>
                      <a:pt x="118" y="16"/>
                      <a:pt x="121" y="9"/>
                      <a:pt x="127" y="5"/>
                    </a:cubicBezTo>
                    <a:cubicBezTo>
                      <a:pt x="133" y="1"/>
                      <a:pt x="140" y="0"/>
                      <a:pt x="147" y="2"/>
                    </a:cubicBezTo>
                    <a:cubicBezTo>
                      <a:pt x="684" y="181"/>
                      <a:pt x="684" y="181"/>
                      <a:pt x="684" y="181"/>
                    </a:cubicBezTo>
                    <a:cubicBezTo>
                      <a:pt x="684" y="23"/>
                      <a:pt x="684" y="23"/>
                      <a:pt x="684" y="23"/>
                    </a:cubicBezTo>
                    <a:cubicBezTo>
                      <a:pt x="684" y="16"/>
                      <a:pt x="687" y="9"/>
                      <a:pt x="693" y="5"/>
                    </a:cubicBezTo>
                    <a:cubicBezTo>
                      <a:pt x="699" y="1"/>
                      <a:pt x="706" y="0"/>
                      <a:pt x="713" y="2"/>
                    </a:cubicBezTo>
                    <a:cubicBezTo>
                      <a:pt x="1286" y="191"/>
                      <a:pt x="1286" y="191"/>
                      <a:pt x="1286" y="191"/>
                    </a:cubicBezTo>
                    <a:cubicBezTo>
                      <a:pt x="1790" y="191"/>
                      <a:pt x="1790" y="191"/>
                      <a:pt x="1790" y="191"/>
                    </a:cubicBezTo>
                    <a:cubicBezTo>
                      <a:pt x="1802" y="191"/>
                      <a:pt x="1812" y="201"/>
                      <a:pt x="1812" y="213"/>
                    </a:cubicBezTo>
                    <a:lnTo>
                      <a:pt x="1812" y="11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9" name="Freeform 36">
                <a:extLst>
                  <a:ext uri="{FF2B5EF4-FFF2-40B4-BE49-F238E27FC236}">
                    <a16:creationId xmlns="" xmlns:a16="http://schemas.microsoft.com/office/drawing/2014/main" id="{54DBD3CC-A7DF-4F71-8E8D-C02E4078B03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80" y="446"/>
                <a:ext cx="2802" cy="2854"/>
              </a:xfrm>
              <a:custGeom>
                <a:avLst/>
                <a:gdLst>
                  <a:gd name="T0" fmla="*/ 1479 w 1496"/>
                  <a:gd name="T1" fmla="*/ 604 h 1522"/>
                  <a:gd name="T2" fmla="*/ 1209 w 1496"/>
                  <a:gd name="T3" fmla="*/ 15 h 1522"/>
                  <a:gd name="T4" fmla="*/ 1447 w 1496"/>
                  <a:gd name="T5" fmla="*/ 15 h 1522"/>
                  <a:gd name="T6" fmla="*/ 0 w 1496"/>
                  <a:gd name="T7" fmla="*/ 915 h 1522"/>
                  <a:gd name="T8" fmla="*/ 150 w 1496"/>
                  <a:gd name="T9" fmla="*/ 915 h 1522"/>
                  <a:gd name="T10" fmla="*/ 97 w 1496"/>
                  <a:gd name="T11" fmla="*/ 862 h 1522"/>
                  <a:gd name="T12" fmla="*/ 371 w 1496"/>
                  <a:gd name="T13" fmla="*/ 840 h 1522"/>
                  <a:gd name="T14" fmla="*/ 327 w 1496"/>
                  <a:gd name="T15" fmla="*/ 991 h 1522"/>
                  <a:gd name="T16" fmla="*/ 698 w 1496"/>
                  <a:gd name="T17" fmla="*/ 915 h 1522"/>
                  <a:gd name="T18" fmla="*/ 600 w 1496"/>
                  <a:gd name="T19" fmla="*/ 1013 h 1522"/>
                  <a:gd name="T20" fmla="*/ 600 w 1496"/>
                  <a:gd name="T21" fmla="*/ 969 h 1522"/>
                  <a:gd name="T22" fmla="*/ 654 w 1496"/>
                  <a:gd name="T23" fmla="*/ 915 h 1522"/>
                  <a:gd name="T24" fmla="*/ 852 w 1496"/>
                  <a:gd name="T25" fmla="*/ 818 h 1522"/>
                  <a:gd name="T26" fmla="*/ 852 w 1496"/>
                  <a:gd name="T27" fmla="*/ 1013 h 1522"/>
                  <a:gd name="T28" fmla="*/ 1125 w 1496"/>
                  <a:gd name="T29" fmla="*/ 840 h 1522"/>
                  <a:gd name="T30" fmla="*/ 1081 w 1496"/>
                  <a:gd name="T31" fmla="*/ 991 h 1522"/>
                  <a:gd name="T32" fmla="*/ 194 w 1496"/>
                  <a:gd name="T33" fmla="*/ 1170 h 1522"/>
                  <a:gd name="T34" fmla="*/ 97 w 1496"/>
                  <a:gd name="T35" fmla="*/ 1267 h 1522"/>
                  <a:gd name="T36" fmla="*/ 97 w 1496"/>
                  <a:gd name="T37" fmla="*/ 1223 h 1522"/>
                  <a:gd name="T38" fmla="*/ 150 w 1496"/>
                  <a:gd name="T39" fmla="*/ 1170 h 1522"/>
                  <a:gd name="T40" fmla="*/ 251 w 1496"/>
                  <a:gd name="T41" fmla="*/ 1170 h 1522"/>
                  <a:gd name="T42" fmla="*/ 402 w 1496"/>
                  <a:gd name="T43" fmla="*/ 1170 h 1522"/>
                  <a:gd name="T44" fmla="*/ 349 w 1496"/>
                  <a:gd name="T45" fmla="*/ 1117 h 1522"/>
                  <a:gd name="T46" fmla="*/ 852 w 1496"/>
                  <a:gd name="T47" fmla="*/ 1073 h 1522"/>
                  <a:gd name="T48" fmla="*/ 949 w 1496"/>
                  <a:gd name="T49" fmla="*/ 1170 h 1522"/>
                  <a:gd name="T50" fmla="*/ 798 w 1496"/>
                  <a:gd name="T51" fmla="*/ 1170 h 1522"/>
                  <a:gd name="T52" fmla="*/ 622 w 1496"/>
                  <a:gd name="T53" fmla="*/ 1245 h 1522"/>
                  <a:gd name="T54" fmla="*/ 578 w 1496"/>
                  <a:gd name="T55" fmla="*/ 1095 h 1522"/>
                  <a:gd name="T56" fmla="*/ 622 w 1496"/>
                  <a:gd name="T57" fmla="*/ 1245 h 1522"/>
                  <a:gd name="T58" fmla="*/ 1103 w 1496"/>
                  <a:gd name="T59" fmla="*/ 1073 h 1522"/>
                  <a:gd name="T60" fmla="*/ 1103 w 1496"/>
                  <a:gd name="T61" fmla="*/ 1267 h 1522"/>
                  <a:gd name="T62" fmla="*/ 349 w 1496"/>
                  <a:gd name="T63" fmla="*/ 1327 h 1522"/>
                  <a:gd name="T64" fmla="*/ 446 w 1496"/>
                  <a:gd name="T65" fmla="*/ 1425 h 1522"/>
                  <a:gd name="T66" fmla="*/ 295 w 1496"/>
                  <a:gd name="T67" fmla="*/ 1425 h 1522"/>
                  <a:gd name="T68" fmla="*/ 1201 w 1496"/>
                  <a:gd name="T69" fmla="*/ 1425 h 1522"/>
                  <a:gd name="T70" fmla="*/ 1103 w 1496"/>
                  <a:gd name="T71" fmla="*/ 1522 h 1522"/>
                  <a:gd name="T72" fmla="*/ 1103 w 1496"/>
                  <a:gd name="T73" fmla="*/ 1478 h 1522"/>
                  <a:gd name="T74" fmla="*/ 1157 w 1496"/>
                  <a:gd name="T75" fmla="*/ 1425 h 1522"/>
                  <a:gd name="T76" fmla="*/ 600 w 1496"/>
                  <a:gd name="T77" fmla="*/ 1327 h 1522"/>
                  <a:gd name="T78" fmla="*/ 600 w 1496"/>
                  <a:gd name="T79" fmla="*/ 1522 h 1522"/>
                  <a:gd name="T80" fmla="*/ 119 w 1496"/>
                  <a:gd name="T81" fmla="*/ 1349 h 1522"/>
                  <a:gd name="T82" fmla="*/ 75 w 1496"/>
                  <a:gd name="T83" fmla="*/ 1500 h 1522"/>
                  <a:gd name="T84" fmla="*/ 874 w 1496"/>
                  <a:gd name="T85" fmla="*/ 1500 h 1522"/>
                  <a:gd name="T86" fmla="*/ 830 w 1496"/>
                  <a:gd name="T87" fmla="*/ 1349 h 1522"/>
                  <a:gd name="T88" fmla="*/ 874 w 1496"/>
                  <a:gd name="T89" fmla="*/ 1500 h 1522"/>
                  <a:gd name="T90" fmla="*/ 1355 w 1496"/>
                  <a:gd name="T91" fmla="*/ 818 h 1522"/>
                  <a:gd name="T92" fmla="*/ 1355 w 1496"/>
                  <a:gd name="T93" fmla="*/ 1013 h 1522"/>
                  <a:gd name="T94" fmla="*/ 1355 w 1496"/>
                  <a:gd name="T95" fmla="*/ 1073 h 1522"/>
                  <a:gd name="T96" fmla="*/ 1452 w 1496"/>
                  <a:gd name="T97" fmla="*/ 1170 h 1522"/>
                  <a:gd name="T98" fmla="*/ 1302 w 1496"/>
                  <a:gd name="T99" fmla="*/ 1170 h 1522"/>
                  <a:gd name="T100" fmla="*/ 1377 w 1496"/>
                  <a:gd name="T101" fmla="*/ 1500 h 1522"/>
                  <a:gd name="T102" fmla="*/ 1333 w 1496"/>
                  <a:gd name="T103" fmla="*/ 1349 h 1522"/>
                  <a:gd name="T104" fmla="*/ 1377 w 1496"/>
                  <a:gd name="T105" fmla="*/ 1500 h 15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496" h="1522">
                    <a:moveTo>
                      <a:pt x="1447" y="15"/>
                    </a:moveTo>
                    <a:cubicBezTo>
                      <a:pt x="1495" y="587"/>
                      <a:pt x="1495" y="587"/>
                      <a:pt x="1495" y="587"/>
                    </a:cubicBezTo>
                    <a:cubicBezTo>
                      <a:pt x="1496" y="596"/>
                      <a:pt x="1488" y="604"/>
                      <a:pt x="1479" y="604"/>
                    </a:cubicBezTo>
                    <a:cubicBezTo>
                      <a:pt x="1177" y="604"/>
                      <a:pt x="1177" y="604"/>
                      <a:pt x="1177" y="604"/>
                    </a:cubicBezTo>
                    <a:cubicBezTo>
                      <a:pt x="1167" y="604"/>
                      <a:pt x="1160" y="596"/>
                      <a:pt x="1161" y="587"/>
                    </a:cubicBezTo>
                    <a:cubicBezTo>
                      <a:pt x="1209" y="15"/>
                      <a:pt x="1209" y="15"/>
                      <a:pt x="1209" y="15"/>
                    </a:cubicBezTo>
                    <a:cubicBezTo>
                      <a:pt x="1210" y="6"/>
                      <a:pt x="1217" y="0"/>
                      <a:pt x="1225" y="0"/>
                    </a:cubicBezTo>
                    <a:cubicBezTo>
                      <a:pt x="1431" y="0"/>
                      <a:pt x="1431" y="0"/>
                      <a:pt x="1431" y="0"/>
                    </a:cubicBezTo>
                    <a:cubicBezTo>
                      <a:pt x="1439" y="0"/>
                      <a:pt x="1446" y="6"/>
                      <a:pt x="1447" y="15"/>
                    </a:cubicBezTo>
                    <a:close/>
                    <a:moveTo>
                      <a:pt x="194" y="915"/>
                    </a:moveTo>
                    <a:cubicBezTo>
                      <a:pt x="194" y="862"/>
                      <a:pt x="151" y="818"/>
                      <a:pt x="97" y="818"/>
                    </a:cubicBezTo>
                    <a:cubicBezTo>
                      <a:pt x="43" y="818"/>
                      <a:pt x="0" y="862"/>
                      <a:pt x="0" y="915"/>
                    </a:cubicBezTo>
                    <a:cubicBezTo>
                      <a:pt x="0" y="969"/>
                      <a:pt x="43" y="1013"/>
                      <a:pt x="97" y="1013"/>
                    </a:cubicBezTo>
                    <a:cubicBezTo>
                      <a:pt x="151" y="1013"/>
                      <a:pt x="194" y="969"/>
                      <a:pt x="194" y="915"/>
                    </a:cubicBezTo>
                    <a:close/>
                    <a:moveTo>
                      <a:pt x="150" y="915"/>
                    </a:moveTo>
                    <a:cubicBezTo>
                      <a:pt x="150" y="945"/>
                      <a:pt x="126" y="969"/>
                      <a:pt x="97" y="969"/>
                    </a:cubicBezTo>
                    <a:cubicBezTo>
                      <a:pt x="68" y="969"/>
                      <a:pt x="44" y="945"/>
                      <a:pt x="44" y="915"/>
                    </a:cubicBezTo>
                    <a:cubicBezTo>
                      <a:pt x="44" y="886"/>
                      <a:pt x="68" y="862"/>
                      <a:pt x="97" y="862"/>
                    </a:cubicBezTo>
                    <a:cubicBezTo>
                      <a:pt x="126" y="862"/>
                      <a:pt x="150" y="886"/>
                      <a:pt x="150" y="915"/>
                    </a:cubicBezTo>
                    <a:close/>
                    <a:moveTo>
                      <a:pt x="371" y="991"/>
                    </a:moveTo>
                    <a:cubicBezTo>
                      <a:pt x="371" y="840"/>
                      <a:pt x="371" y="840"/>
                      <a:pt x="371" y="840"/>
                    </a:cubicBezTo>
                    <a:cubicBezTo>
                      <a:pt x="371" y="828"/>
                      <a:pt x="361" y="818"/>
                      <a:pt x="349" y="818"/>
                    </a:cubicBezTo>
                    <a:cubicBezTo>
                      <a:pt x="336" y="818"/>
                      <a:pt x="327" y="828"/>
                      <a:pt x="327" y="840"/>
                    </a:cubicBezTo>
                    <a:cubicBezTo>
                      <a:pt x="327" y="991"/>
                      <a:pt x="327" y="991"/>
                      <a:pt x="327" y="991"/>
                    </a:cubicBezTo>
                    <a:cubicBezTo>
                      <a:pt x="327" y="1003"/>
                      <a:pt x="336" y="1013"/>
                      <a:pt x="349" y="1013"/>
                    </a:cubicBezTo>
                    <a:cubicBezTo>
                      <a:pt x="361" y="1013"/>
                      <a:pt x="371" y="1003"/>
                      <a:pt x="371" y="991"/>
                    </a:cubicBezTo>
                    <a:close/>
                    <a:moveTo>
                      <a:pt x="698" y="915"/>
                    </a:moveTo>
                    <a:cubicBezTo>
                      <a:pt x="698" y="862"/>
                      <a:pt x="654" y="818"/>
                      <a:pt x="600" y="818"/>
                    </a:cubicBezTo>
                    <a:cubicBezTo>
                      <a:pt x="546" y="818"/>
                      <a:pt x="503" y="862"/>
                      <a:pt x="503" y="915"/>
                    </a:cubicBezTo>
                    <a:cubicBezTo>
                      <a:pt x="503" y="969"/>
                      <a:pt x="546" y="1013"/>
                      <a:pt x="600" y="1013"/>
                    </a:cubicBezTo>
                    <a:cubicBezTo>
                      <a:pt x="654" y="1013"/>
                      <a:pt x="698" y="969"/>
                      <a:pt x="698" y="915"/>
                    </a:cubicBezTo>
                    <a:close/>
                    <a:moveTo>
                      <a:pt x="654" y="915"/>
                    </a:moveTo>
                    <a:cubicBezTo>
                      <a:pt x="654" y="945"/>
                      <a:pt x="630" y="969"/>
                      <a:pt x="600" y="969"/>
                    </a:cubicBezTo>
                    <a:cubicBezTo>
                      <a:pt x="571" y="969"/>
                      <a:pt x="547" y="945"/>
                      <a:pt x="547" y="915"/>
                    </a:cubicBezTo>
                    <a:cubicBezTo>
                      <a:pt x="547" y="886"/>
                      <a:pt x="571" y="862"/>
                      <a:pt x="600" y="862"/>
                    </a:cubicBezTo>
                    <a:cubicBezTo>
                      <a:pt x="630" y="862"/>
                      <a:pt x="654" y="886"/>
                      <a:pt x="654" y="915"/>
                    </a:cubicBezTo>
                    <a:close/>
                    <a:moveTo>
                      <a:pt x="874" y="991"/>
                    </a:moveTo>
                    <a:cubicBezTo>
                      <a:pt x="874" y="840"/>
                      <a:pt x="874" y="840"/>
                      <a:pt x="874" y="840"/>
                    </a:cubicBezTo>
                    <a:cubicBezTo>
                      <a:pt x="874" y="828"/>
                      <a:pt x="864" y="818"/>
                      <a:pt x="852" y="818"/>
                    </a:cubicBezTo>
                    <a:cubicBezTo>
                      <a:pt x="840" y="818"/>
                      <a:pt x="830" y="828"/>
                      <a:pt x="830" y="840"/>
                    </a:cubicBezTo>
                    <a:cubicBezTo>
                      <a:pt x="830" y="991"/>
                      <a:pt x="830" y="991"/>
                      <a:pt x="830" y="991"/>
                    </a:cubicBezTo>
                    <a:cubicBezTo>
                      <a:pt x="830" y="1003"/>
                      <a:pt x="840" y="1013"/>
                      <a:pt x="852" y="1013"/>
                    </a:cubicBezTo>
                    <a:cubicBezTo>
                      <a:pt x="864" y="1013"/>
                      <a:pt x="874" y="1003"/>
                      <a:pt x="874" y="991"/>
                    </a:cubicBezTo>
                    <a:close/>
                    <a:moveTo>
                      <a:pt x="1125" y="991"/>
                    </a:moveTo>
                    <a:cubicBezTo>
                      <a:pt x="1125" y="840"/>
                      <a:pt x="1125" y="840"/>
                      <a:pt x="1125" y="840"/>
                    </a:cubicBezTo>
                    <a:cubicBezTo>
                      <a:pt x="1125" y="828"/>
                      <a:pt x="1116" y="818"/>
                      <a:pt x="1103" y="818"/>
                    </a:cubicBezTo>
                    <a:cubicBezTo>
                      <a:pt x="1091" y="818"/>
                      <a:pt x="1081" y="828"/>
                      <a:pt x="1081" y="840"/>
                    </a:cubicBezTo>
                    <a:cubicBezTo>
                      <a:pt x="1081" y="991"/>
                      <a:pt x="1081" y="991"/>
                      <a:pt x="1081" y="991"/>
                    </a:cubicBezTo>
                    <a:cubicBezTo>
                      <a:pt x="1081" y="1003"/>
                      <a:pt x="1091" y="1013"/>
                      <a:pt x="1103" y="1013"/>
                    </a:cubicBezTo>
                    <a:cubicBezTo>
                      <a:pt x="1116" y="1013"/>
                      <a:pt x="1125" y="1003"/>
                      <a:pt x="1125" y="991"/>
                    </a:cubicBezTo>
                    <a:close/>
                    <a:moveTo>
                      <a:pt x="194" y="1170"/>
                    </a:moveTo>
                    <a:cubicBezTo>
                      <a:pt x="194" y="1116"/>
                      <a:pt x="151" y="1073"/>
                      <a:pt x="97" y="1073"/>
                    </a:cubicBezTo>
                    <a:cubicBezTo>
                      <a:pt x="43" y="1073"/>
                      <a:pt x="0" y="1116"/>
                      <a:pt x="0" y="1170"/>
                    </a:cubicBezTo>
                    <a:cubicBezTo>
                      <a:pt x="0" y="1224"/>
                      <a:pt x="43" y="1267"/>
                      <a:pt x="97" y="1267"/>
                    </a:cubicBezTo>
                    <a:cubicBezTo>
                      <a:pt x="151" y="1267"/>
                      <a:pt x="194" y="1224"/>
                      <a:pt x="194" y="1170"/>
                    </a:cubicBezTo>
                    <a:close/>
                    <a:moveTo>
                      <a:pt x="150" y="1170"/>
                    </a:moveTo>
                    <a:cubicBezTo>
                      <a:pt x="150" y="1199"/>
                      <a:pt x="126" y="1223"/>
                      <a:pt x="97" y="1223"/>
                    </a:cubicBezTo>
                    <a:cubicBezTo>
                      <a:pt x="68" y="1223"/>
                      <a:pt x="44" y="1199"/>
                      <a:pt x="44" y="1170"/>
                    </a:cubicBezTo>
                    <a:cubicBezTo>
                      <a:pt x="44" y="1141"/>
                      <a:pt x="68" y="1117"/>
                      <a:pt x="97" y="1117"/>
                    </a:cubicBezTo>
                    <a:cubicBezTo>
                      <a:pt x="126" y="1117"/>
                      <a:pt x="150" y="1141"/>
                      <a:pt x="150" y="1170"/>
                    </a:cubicBezTo>
                    <a:close/>
                    <a:moveTo>
                      <a:pt x="446" y="1170"/>
                    </a:moveTo>
                    <a:cubicBezTo>
                      <a:pt x="446" y="1116"/>
                      <a:pt x="402" y="1073"/>
                      <a:pt x="349" y="1073"/>
                    </a:cubicBezTo>
                    <a:cubicBezTo>
                      <a:pt x="295" y="1073"/>
                      <a:pt x="251" y="1116"/>
                      <a:pt x="251" y="1170"/>
                    </a:cubicBezTo>
                    <a:cubicBezTo>
                      <a:pt x="251" y="1224"/>
                      <a:pt x="295" y="1267"/>
                      <a:pt x="349" y="1267"/>
                    </a:cubicBezTo>
                    <a:cubicBezTo>
                      <a:pt x="402" y="1267"/>
                      <a:pt x="446" y="1224"/>
                      <a:pt x="446" y="1170"/>
                    </a:cubicBezTo>
                    <a:close/>
                    <a:moveTo>
                      <a:pt x="402" y="1170"/>
                    </a:moveTo>
                    <a:cubicBezTo>
                      <a:pt x="402" y="1199"/>
                      <a:pt x="378" y="1223"/>
                      <a:pt x="349" y="1223"/>
                    </a:cubicBezTo>
                    <a:cubicBezTo>
                      <a:pt x="319" y="1223"/>
                      <a:pt x="295" y="1199"/>
                      <a:pt x="295" y="1170"/>
                    </a:cubicBezTo>
                    <a:cubicBezTo>
                      <a:pt x="295" y="1141"/>
                      <a:pt x="319" y="1117"/>
                      <a:pt x="349" y="1117"/>
                    </a:cubicBezTo>
                    <a:cubicBezTo>
                      <a:pt x="378" y="1117"/>
                      <a:pt x="402" y="1141"/>
                      <a:pt x="402" y="1170"/>
                    </a:cubicBezTo>
                    <a:close/>
                    <a:moveTo>
                      <a:pt x="949" y="1170"/>
                    </a:moveTo>
                    <a:cubicBezTo>
                      <a:pt x="949" y="1116"/>
                      <a:pt x="906" y="1073"/>
                      <a:pt x="852" y="1073"/>
                    </a:cubicBezTo>
                    <a:cubicBezTo>
                      <a:pt x="798" y="1073"/>
                      <a:pt x="754" y="1116"/>
                      <a:pt x="754" y="1170"/>
                    </a:cubicBezTo>
                    <a:cubicBezTo>
                      <a:pt x="754" y="1224"/>
                      <a:pt x="798" y="1267"/>
                      <a:pt x="852" y="1267"/>
                    </a:cubicBezTo>
                    <a:cubicBezTo>
                      <a:pt x="906" y="1267"/>
                      <a:pt x="949" y="1224"/>
                      <a:pt x="949" y="1170"/>
                    </a:cubicBezTo>
                    <a:close/>
                    <a:moveTo>
                      <a:pt x="905" y="1170"/>
                    </a:moveTo>
                    <a:cubicBezTo>
                      <a:pt x="905" y="1199"/>
                      <a:pt x="881" y="1223"/>
                      <a:pt x="852" y="1223"/>
                    </a:cubicBezTo>
                    <a:cubicBezTo>
                      <a:pt x="822" y="1223"/>
                      <a:pt x="798" y="1199"/>
                      <a:pt x="798" y="1170"/>
                    </a:cubicBezTo>
                    <a:cubicBezTo>
                      <a:pt x="798" y="1141"/>
                      <a:pt x="822" y="1117"/>
                      <a:pt x="852" y="1117"/>
                    </a:cubicBezTo>
                    <a:cubicBezTo>
                      <a:pt x="881" y="1117"/>
                      <a:pt x="905" y="1141"/>
                      <a:pt x="905" y="1170"/>
                    </a:cubicBezTo>
                    <a:close/>
                    <a:moveTo>
                      <a:pt x="622" y="1245"/>
                    </a:moveTo>
                    <a:cubicBezTo>
                      <a:pt x="622" y="1095"/>
                      <a:pt x="622" y="1095"/>
                      <a:pt x="622" y="1095"/>
                    </a:cubicBezTo>
                    <a:cubicBezTo>
                      <a:pt x="622" y="1082"/>
                      <a:pt x="612" y="1073"/>
                      <a:pt x="600" y="1073"/>
                    </a:cubicBezTo>
                    <a:cubicBezTo>
                      <a:pt x="588" y="1073"/>
                      <a:pt x="578" y="1082"/>
                      <a:pt x="578" y="1095"/>
                    </a:cubicBezTo>
                    <a:cubicBezTo>
                      <a:pt x="578" y="1245"/>
                      <a:pt x="578" y="1245"/>
                      <a:pt x="578" y="1245"/>
                    </a:cubicBezTo>
                    <a:cubicBezTo>
                      <a:pt x="578" y="1258"/>
                      <a:pt x="588" y="1267"/>
                      <a:pt x="600" y="1267"/>
                    </a:cubicBezTo>
                    <a:cubicBezTo>
                      <a:pt x="612" y="1267"/>
                      <a:pt x="622" y="1258"/>
                      <a:pt x="622" y="1245"/>
                    </a:cubicBezTo>
                    <a:close/>
                    <a:moveTo>
                      <a:pt x="1125" y="1245"/>
                    </a:moveTo>
                    <a:cubicBezTo>
                      <a:pt x="1125" y="1095"/>
                      <a:pt x="1125" y="1095"/>
                      <a:pt x="1125" y="1095"/>
                    </a:cubicBezTo>
                    <a:cubicBezTo>
                      <a:pt x="1125" y="1082"/>
                      <a:pt x="1116" y="1073"/>
                      <a:pt x="1103" y="1073"/>
                    </a:cubicBezTo>
                    <a:cubicBezTo>
                      <a:pt x="1091" y="1073"/>
                      <a:pt x="1081" y="1082"/>
                      <a:pt x="1081" y="1095"/>
                    </a:cubicBezTo>
                    <a:cubicBezTo>
                      <a:pt x="1081" y="1245"/>
                      <a:pt x="1081" y="1245"/>
                      <a:pt x="1081" y="1245"/>
                    </a:cubicBezTo>
                    <a:cubicBezTo>
                      <a:pt x="1081" y="1258"/>
                      <a:pt x="1091" y="1267"/>
                      <a:pt x="1103" y="1267"/>
                    </a:cubicBezTo>
                    <a:cubicBezTo>
                      <a:pt x="1116" y="1267"/>
                      <a:pt x="1125" y="1258"/>
                      <a:pt x="1125" y="1245"/>
                    </a:cubicBezTo>
                    <a:close/>
                    <a:moveTo>
                      <a:pt x="446" y="1425"/>
                    </a:moveTo>
                    <a:cubicBezTo>
                      <a:pt x="446" y="1371"/>
                      <a:pt x="402" y="1327"/>
                      <a:pt x="349" y="1327"/>
                    </a:cubicBezTo>
                    <a:cubicBezTo>
                      <a:pt x="295" y="1327"/>
                      <a:pt x="251" y="1371"/>
                      <a:pt x="251" y="1425"/>
                    </a:cubicBezTo>
                    <a:cubicBezTo>
                      <a:pt x="251" y="1478"/>
                      <a:pt x="295" y="1522"/>
                      <a:pt x="349" y="1522"/>
                    </a:cubicBezTo>
                    <a:cubicBezTo>
                      <a:pt x="402" y="1522"/>
                      <a:pt x="446" y="1478"/>
                      <a:pt x="446" y="1425"/>
                    </a:cubicBezTo>
                    <a:close/>
                    <a:moveTo>
                      <a:pt x="402" y="1425"/>
                    </a:moveTo>
                    <a:cubicBezTo>
                      <a:pt x="402" y="1454"/>
                      <a:pt x="378" y="1478"/>
                      <a:pt x="349" y="1478"/>
                    </a:cubicBezTo>
                    <a:cubicBezTo>
                      <a:pt x="319" y="1478"/>
                      <a:pt x="295" y="1454"/>
                      <a:pt x="295" y="1425"/>
                    </a:cubicBezTo>
                    <a:cubicBezTo>
                      <a:pt x="295" y="1395"/>
                      <a:pt x="319" y="1371"/>
                      <a:pt x="349" y="1371"/>
                    </a:cubicBezTo>
                    <a:cubicBezTo>
                      <a:pt x="378" y="1371"/>
                      <a:pt x="402" y="1395"/>
                      <a:pt x="402" y="1425"/>
                    </a:cubicBezTo>
                    <a:close/>
                    <a:moveTo>
                      <a:pt x="1201" y="1425"/>
                    </a:moveTo>
                    <a:cubicBezTo>
                      <a:pt x="1201" y="1371"/>
                      <a:pt x="1157" y="1327"/>
                      <a:pt x="1103" y="1327"/>
                    </a:cubicBezTo>
                    <a:cubicBezTo>
                      <a:pt x="1050" y="1327"/>
                      <a:pt x="1006" y="1371"/>
                      <a:pt x="1006" y="1425"/>
                    </a:cubicBezTo>
                    <a:cubicBezTo>
                      <a:pt x="1006" y="1478"/>
                      <a:pt x="1050" y="1522"/>
                      <a:pt x="1103" y="1522"/>
                    </a:cubicBezTo>
                    <a:cubicBezTo>
                      <a:pt x="1157" y="1522"/>
                      <a:pt x="1201" y="1478"/>
                      <a:pt x="1201" y="1425"/>
                    </a:cubicBezTo>
                    <a:close/>
                    <a:moveTo>
                      <a:pt x="1157" y="1425"/>
                    </a:moveTo>
                    <a:cubicBezTo>
                      <a:pt x="1157" y="1454"/>
                      <a:pt x="1133" y="1478"/>
                      <a:pt x="1103" y="1478"/>
                    </a:cubicBezTo>
                    <a:cubicBezTo>
                      <a:pt x="1074" y="1478"/>
                      <a:pt x="1050" y="1454"/>
                      <a:pt x="1050" y="1425"/>
                    </a:cubicBezTo>
                    <a:cubicBezTo>
                      <a:pt x="1050" y="1395"/>
                      <a:pt x="1074" y="1371"/>
                      <a:pt x="1103" y="1371"/>
                    </a:cubicBezTo>
                    <a:cubicBezTo>
                      <a:pt x="1133" y="1371"/>
                      <a:pt x="1157" y="1395"/>
                      <a:pt x="1157" y="1425"/>
                    </a:cubicBezTo>
                    <a:close/>
                    <a:moveTo>
                      <a:pt x="622" y="1500"/>
                    </a:moveTo>
                    <a:cubicBezTo>
                      <a:pt x="622" y="1349"/>
                      <a:pt x="622" y="1349"/>
                      <a:pt x="622" y="1349"/>
                    </a:cubicBezTo>
                    <a:cubicBezTo>
                      <a:pt x="622" y="1337"/>
                      <a:pt x="612" y="1327"/>
                      <a:pt x="600" y="1327"/>
                    </a:cubicBezTo>
                    <a:cubicBezTo>
                      <a:pt x="588" y="1327"/>
                      <a:pt x="578" y="1337"/>
                      <a:pt x="578" y="1349"/>
                    </a:cubicBezTo>
                    <a:cubicBezTo>
                      <a:pt x="578" y="1500"/>
                      <a:pt x="578" y="1500"/>
                      <a:pt x="578" y="1500"/>
                    </a:cubicBezTo>
                    <a:cubicBezTo>
                      <a:pt x="578" y="1512"/>
                      <a:pt x="588" y="1522"/>
                      <a:pt x="600" y="1522"/>
                    </a:cubicBezTo>
                    <a:cubicBezTo>
                      <a:pt x="612" y="1522"/>
                      <a:pt x="622" y="1512"/>
                      <a:pt x="622" y="1500"/>
                    </a:cubicBezTo>
                    <a:close/>
                    <a:moveTo>
                      <a:pt x="119" y="1500"/>
                    </a:moveTo>
                    <a:cubicBezTo>
                      <a:pt x="119" y="1349"/>
                      <a:pt x="119" y="1349"/>
                      <a:pt x="119" y="1349"/>
                    </a:cubicBezTo>
                    <a:cubicBezTo>
                      <a:pt x="119" y="1337"/>
                      <a:pt x="109" y="1327"/>
                      <a:pt x="97" y="1327"/>
                    </a:cubicBezTo>
                    <a:cubicBezTo>
                      <a:pt x="85" y="1327"/>
                      <a:pt x="75" y="1337"/>
                      <a:pt x="75" y="1349"/>
                    </a:cubicBezTo>
                    <a:cubicBezTo>
                      <a:pt x="75" y="1500"/>
                      <a:pt x="75" y="1500"/>
                      <a:pt x="75" y="1500"/>
                    </a:cubicBezTo>
                    <a:cubicBezTo>
                      <a:pt x="75" y="1512"/>
                      <a:pt x="85" y="1522"/>
                      <a:pt x="97" y="1522"/>
                    </a:cubicBezTo>
                    <a:cubicBezTo>
                      <a:pt x="109" y="1522"/>
                      <a:pt x="119" y="1512"/>
                      <a:pt x="119" y="1500"/>
                    </a:cubicBezTo>
                    <a:close/>
                    <a:moveTo>
                      <a:pt x="874" y="1500"/>
                    </a:moveTo>
                    <a:cubicBezTo>
                      <a:pt x="874" y="1349"/>
                      <a:pt x="874" y="1349"/>
                      <a:pt x="874" y="1349"/>
                    </a:cubicBezTo>
                    <a:cubicBezTo>
                      <a:pt x="874" y="1337"/>
                      <a:pt x="864" y="1327"/>
                      <a:pt x="852" y="1327"/>
                    </a:cubicBezTo>
                    <a:cubicBezTo>
                      <a:pt x="840" y="1327"/>
                      <a:pt x="830" y="1337"/>
                      <a:pt x="830" y="1349"/>
                    </a:cubicBezTo>
                    <a:cubicBezTo>
                      <a:pt x="830" y="1500"/>
                      <a:pt x="830" y="1500"/>
                      <a:pt x="830" y="1500"/>
                    </a:cubicBezTo>
                    <a:cubicBezTo>
                      <a:pt x="830" y="1512"/>
                      <a:pt x="840" y="1522"/>
                      <a:pt x="852" y="1522"/>
                    </a:cubicBezTo>
                    <a:cubicBezTo>
                      <a:pt x="864" y="1522"/>
                      <a:pt x="874" y="1512"/>
                      <a:pt x="874" y="1500"/>
                    </a:cubicBezTo>
                    <a:close/>
                    <a:moveTo>
                      <a:pt x="1377" y="991"/>
                    </a:moveTo>
                    <a:cubicBezTo>
                      <a:pt x="1377" y="840"/>
                      <a:pt x="1377" y="840"/>
                      <a:pt x="1377" y="840"/>
                    </a:cubicBezTo>
                    <a:cubicBezTo>
                      <a:pt x="1377" y="828"/>
                      <a:pt x="1367" y="818"/>
                      <a:pt x="1355" y="818"/>
                    </a:cubicBezTo>
                    <a:cubicBezTo>
                      <a:pt x="1343" y="818"/>
                      <a:pt x="1333" y="828"/>
                      <a:pt x="1333" y="840"/>
                    </a:cubicBezTo>
                    <a:cubicBezTo>
                      <a:pt x="1333" y="991"/>
                      <a:pt x="1333" y="991"/>
                      <a:pt x="1333" y="991"/>
                    </a:cubicBezTo>
                    <a:cubicBezTo>
                      <a:pt x="1333" y="1003"/>
                      <a:pt x="1343" y="1013"/>
                      <a:pt x="1355" y="1013"/>
                    </a:cubicBezTo>
                    <a:cubicBezTo>
                      <a:pt x="1367" y="1013"/>
                      <a:pt x="1377" y="1003"/>
                      <a:pt x="1377" y="991"/>
                    </a:cubicBezTo>
                    <a:close/>
                    <a:moveTo>
                      <a:pt x="1452" y="1170"/>
                    </a:moveTo>
                    <a:cubicBezTo>
                      <a:pt x="1452" y="1116"/>
                      <a:pt x="1409" y="1073"/>
                      <a:pt x="1355" y="1073"/>
                    </a:cubicBezTo>
                    <a:cubicBezTo>
                      <a:pt x="1301" y="1073"/>
                      <a:pt x="1258" y="1116"/>
                      <a:pt x="1258" y="1170"/>
                    </a:cubicBezTo>
                    <a:cubicBezTo>
                      <a:pt x="1258" y="1224"/>
                      <a:pt x="1301" y="1267"/>
                      <a:pt x="1355" y="1267"/>
                    </a:cubicBezTo>
                    <a:cubicBezTo>
                      <a:pt x="1409" y="1267"/>
                      <a:pt x="1452" y="1224"/>
                      <a:pt x="1452" y="1170"/>
                    </a:cubicBezTo>
                    <a:close/>
                    <a:moveTo>
                      <a:pt x="1408" y="1170"/>
                    </a:moveTo>
                    <a:cubicBezTo>
                      <a:pt x="1408" y="1199"/>
                      <a:pt x="1384" y="1223"/>
                      <a:pt x="1355" y="1223"/>
                    </a:cubicBezTo>
                    <a:cubicBezTo>
                      <a:pt x="1326" y="1223"/>
                      <a:pt x="1302" y="1199"/>
                      <a:pt x="1302" y="1170"/>
                    </a:cubicBezTo>
                    <a:cubicBezTo>
                      <a:pt x="1302" y="1141"/>
                      <a:pt x="1326" y="1117"/>
                      <a:pt x="1355" y="1117"/>
                    </a:cubicBezTo>
                    <a:cubicBezTo>
                      <a:pt x="1384" y="1117"/>
                      <a:pt x="1408" y="1141"/>
                      <a:pt x="1408" y="1170"/>
                    </a:cubicBezTo>
                    <a:close/>
                    <a:moveTo>
                      <a:pt x="1377" y="1500"/>
                    </a:moveTo>
                    <a:cubicBezTo>
                      <a:pt x="1377" y="1349"/>
                      <a:pt x="1377" y="1349"/>
                      <a:pt x="1377" y="1349"/>
                    </a:cubicBezTo>
                    <a:cubicBezTo>
                      <a:pt x="1377" y="1337"/>
                      <a:pt x="1367" y="1327"/>
                      <a:pt x="1355" y="1327"/>
                    </a:cubicBezTo>
                    <a:cubicBezTo>
                      <a:pt x="1343" y="1327"/>
                      <a:pt x="1333" y="1337"/>
                      <a:pt x="1333" y="1349"/>
                    </a:cubicBezTo>
                    <a:cubicBezTo>
                      <a:pt x="1333" y="1500"/>
                      <a:pt x="1333" y="1500"/>
                      <a:pt x="1333" y="1500"/>
                    </a:cubicBezTo>
                    <a:cubicBezTo>
                      <a:pt x="1333" y="1512"/>
                      <a:pt x="1343" y="1522"/>
                      <a:pt x="1355" y="1522"/>
                    </a:cubicBezTo>
                    <a:cubicBezTo>
                      <a:pt x="1367" y="1522"/>
                      <a:pt x="1377" y="1512"/>
                      <a:pt x="1377" y="150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34" name="Rectangle 33"/>
            <p:cNvSpPr/>
            <p:nvPr/>
          </p:nvSpPr>
          <p:spPr>
            <a:xfrm rot="2700000">
              <a:off x="1500007" y="2644123"/>
              <a:ext cx="1529464" cy="1529464"/>
            </a:xfrm>
            <a:prstGeom prst="rect">
              <a:avLst/>
            </a:prstGeom>
            <a:noFill/>
            <a:ln w="19050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638836" y="1676699"/>
              <a:ext cx="3213498" cy="584775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 marL="0" lvl="3" algn="ctr">
                <a:defRPr/>
              </a:pPr>
              <a:r>
                <a:rPr lang="en-US" sz="1600" dirty="0">
                  <a:solidFill>
                    <a:srgbClr val="1F4174"/>
                  </a:solidFill>
                  <a:latin typeface="+mj-lt"/>
                  <a:cs typeface="Arial" panose="020B0604020202020204" pitchFamily="34" charset="0"/>
                  <a:sym typeface="Calibri"/>
                </a:rPr>
                <a:t>Cluster #2:</a:t>
              </a:r>
            </a:p>
            <a:p>
              <a:pPr marL="0" lvl="3" algn="ctr">
                <a:defRPr/>
              </a:pPr>
              <a:r>
                <a:rPr lang="en-US" sz="1600" dirty="0">
                  <a:solidFill>
                    <a:srgbClr val="1F4174"/>
                  </a:solidFill>
                  <a:latin typeface="+mj-lt"/>
                  <a:cs typeface="Arial" panose="020B0604020202020204" pitchFamily="34" charset="0"/>
                  <a:sym typeface="Calibri"/>
                </a:rPr>
                <a:t>Industry 4.0</a:t>
              </a:r>
            </a:p>
          </p:txBody>
        </p:sp>
        <p:sp>
          <p:nvSpPr>
            <p:cNvPr id="37" name="Rectangle 36"/>
            <p:cNvSpPr/>
            <p:nvPr/>
          </p:nvSpPr>
          <p:spPr>
            <a:xfrm>
              <a:off x="638836" y="5057839"/>
              <a:ext cx="3213498" cy="738664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 marL="225425" lvl="1" indent="-225425">
                <a:buClr>
                  <a:srgbClr val="1F4174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sz="1400" dirty="0">
                  <a:cs typeface="Arial" panose="020B0604020202020204" pitchFamily="34" charset="0"/>
                </a:rPr>
                <a:t>Research and product development</a:t>
              </a:r>
            </a:p>
            <a:p>
              <a:pPr marL="225425" lvl="1" indent="-225425">
                <a:buClr>
                  <a:srgbClr val="1F4174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sz="1400" dirty="0">
                  <a:cs typeface="Arial" panose="020B0604020202020204" pitchFamily="34" charset="0"/>
                </a:rPr>
                <a:t>Advanced manufacturing</a:t>
              </a:r>
            </a:p>
            <a:p>
              <a:pPr marL="225425" lvl="1" indent="-225425">
                <a:buClr>
                  <a:srgbClr val="1F4174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sz="1400" dirty="0">
                  <a:cs typeface="Arial" panose="020B0604020202020204" pitchFamily="34" charset="0"/>
                </a:rPr>
                <a:t>Supply chain and logistics</a:t>
              </a:r>
            </a:p>
          </p:txBody>
        </p:sp>
        <p:sp>
          <p:nvSpPr>
            <p:cNvPr id="46" name="Rectangle 45"/>
            <p:cNvSpPr/>
            <p:nvPr/>
          </p:nvSpPr>
          <p:spPr>
            <a:xfrm>
              <a:off x="638836" y="4473064"/>
              <a:ext cx="3213498" cy="338554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 marL="0" lvl="3" algn="ctr">
                <a:defRPr/>
              </a:pPr>
              <a:r>
                <a:rPr lang="en-US" sz="1600" i="1" dirty="0">
                  <a:solidFill>
                    <a:srgbClr val="295E7E"/>
                  </a:solidFill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“Making and moving things”</a:t>
              </a: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428258" y="1676699"/>
            <a:ext cx="3213498" cy="4119804"/>
            <a:chOff x="4441303" y="1676699"/>
            <a:chExt cx="3213498" cy="4119804"/>
          </a:xfrm>
        </p:grpSpPr>
        <p:grpSp>
          <p:nvGrpSpPr>
            <p:cNvPr id="32" name="Group 31"/>
            <p:cNvGrpSpPr/>
            <p:nvPr/>
          </p:nvGrpSpPr>
          <p:grpSpPr>
            <a:xfrm>
              <a:off x="5428333" y="2930442"/>
              <a:ext cx="1328379" cy="956824"/>
              <a:chOff x="5341289" y="2885386"/>
              <a:chExt cx="1509421" cy="1087228"/>
            </a:xfrm>
            <a:solidFill>
              <a:schemeClr val="tx2"/>
            </a:solidFill>
          </p:grpSpPr>
          <p:sp>
            <p:nvSpPr>
              <p:cNvPr id="49" name="Freeform 5"/>
              <p:cNvSpPr>
                <a:spLocks/>
              </p:cNvSpPr>
              <p:nvPr/>
            </p:nvSpPr>
            <p:spPr bwMode="auto">
              <a:xfrm>
                <a:off x="6666596" y="3512328"/>
                <a:ext cx="6349" cy="0"/>
              </a:xfrm>
              <a:custGeom>
                <a:avLst/>
                <a:gdLst>
                  <a:gd name="T0" fmla="*/ 0 w 13"/>
                  <a:gd name="T1" fmla="*/ 0 w 13"/>
                  <a:gd name="T2" fmla="*/ 13 w 13"/>
                  <a:gd name="T3" fmla="*/ 13 w 13"/>
                  <a:gd name="T4" fmla="*/ 2 w 13"/>
                  <a:gd name="T5" fmla="*/ 2 w 13"/>
                  <a:gd name="T6" fmla="*/ 0 w 13"/>
                  <a:gd name="T7" fmla="*/ 0 w 1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</a:cxnLst>
                <a:rect l="0" t="0" r="r" b="b"/>
                <a:pathLst>
                  <a:path w="13">
                    <a:moveTo>
                      <a:pt x="0" y="0"/>
                    </a:moveTo>
                    <a:lnTo>
                      <a:pt x="0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solidFill>
                    <a:srgbClr val="295E7E"/>
                  </a:solidFill>
                </a:endParaRPr>
              </a:p>
            </p:txBody>
          </p:sp>
          <p:sp>
            <p:nvSpPr>
              <p:cNvPr id="50" name="Freeform 6"/>
              <p:cNvSpPr>
                <a:spLocks/>
              </p:cNvSpPr>
              <p:nvPr/>
            </p:nvSpPr>
            <p:spPr bwMode="auto">
              <a:xfrm>
                <a:off x="6650724" y="3512328"/>
                <a:ext cx="15872" cy="0"/>
              </a:xfrm>
              <a:custGeom>
                <a:avLst/>
                <a:gdLst>
                  <a:gd name="T0" fmla="*/ 0 w 31"/>
                  <a:gd name="T1" fmla="*/ 1 h 1"/>
                  <a:gd name="T2" fmla="*/ 0 w 31"/>
                  <a:gd name="T3" fmla="*/ 1 h 1"/>
                  <a:gd name="T4" fmla="*/ 0 w 31"/>
                  <a:gd name="T5" fmla="*/ 1 h 1"/>
                  <a:gd name="T6" fmla="*/ 0 w 31"/>
                  <a:gd name="T7" fmla="*/ 1 h 1"/>
                  <a:gd name="T8" fmla="*/ 17 w 31"/>
                  <a:gd name="T9" fmla="*/ 0 h 1"/>
                  <a:gd name="T10" fmla="*/ 31 w 31"/>
                  <a:gd name="T11" fmla="*/ 0 h 1"/>
                  <a:gd name="T12" fmla="*/ 31 w 31"/>
                  <a:gd name="T13" fmla="*/ 0 h 1"/>
                  <a:gd name="T14" fmla="*/ 30 w 31"/>
                  <a:gd name="T15" fmla="*/ 0 h 1"/>
                  <a:gd name="T16" fmla="*/ 30 w 31"/>
                  <a:gd name="T17" fmla="*/ 0 h 1"/>
                  <a:gd name="T18" fmla="*/ 15 w 31"/>
                  <a:gd name="T19" fmla="*/ 0 h 1"/>
                  <a:gd name="T20" fmla="*/ 0 w 31"/>
                  <a:gd name="T21" fmla="*/ 1 h 1"/>
                  <a:gd name="T22" fmla="*/ 0 w 31"/>
                  <a:gd name="T23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1" h="1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17" y="0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15" y="0"/>
                    </a:lnTo>
                    <a:lnTo>
                      <a:pt x="0" y="1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solidFill>
                    <a:srgbClr val="295E7E"/>
                  </a:solidFill>
                </a:endParaRPr>
              </a:p>
            </p:txBody>
          </p:sp>
          <p:sp>
            <p:nvSpPr>
              <p:cNvPr id="51" name="Freeform 7"/>
              <p:cNvSpPr>
                <a:spLocks noEditPoints="1"/>
              </p:cNvSpPr>
              <p:nvPr/>
            </p:nvSpPr>
            <p:spPr bwMode="auto">
              <a:xfrm>
                <a:off x="5341289" y="2885386"/>
                <a:ext cx="1509421" cy="1087228"/>
              </a:xfrm>
              <a:custGeom>
                <a:avLst/>
                <a:gdLst>
                  <a:gd name="T0" fmla="*/ 2535 w 2855"/>
                  <a:gd name="T1" fmla="*/ 1164 h 2055"/>
                  <a:gd name="T2" fmla="*/ 2535 w 2855"/>
                  <a:gd name="T3" fmla="*/ 732 h 2055"/>
                  <a:gd name="T4" fmla="*/ 2852 w 2855"/>
                  <a:gd name="T5" fmla="*/ 541 h 2055"/>
                  <a:gd name="T6" fmla="*/ 2851 w 2855"/>
                  <a:gd name="T7" fmla="*/ 513 h 2055"/>
                  <a:gd name="T8" fmla="*/ 2824 w 2855"/>
                  <a:gd name="T9" fmla="*/ 498 h 2055"/>
                  <a:gd name="T10" fmla="*/ 2502 w 2855"/>
                  <a:gd name="T11" fmla="*/ 678 h 2055"/>
                  <a:gd name="T12" fmla="*/ 1995 w 2855"/>
                  <a:gd name="T13" fmla="*/ 31 h 2055"/>
                  <a:gd name="T14" fmla="*/ 1984 w 2855"/>
                  <a:gd name="T15" fmla="*/ 7 h 2055"/>
                  <a:gd name="T16" fmla="*/ 1958 w 2855"/>
                  <a:gd name="T17" fmla="*/ 0 h 2055"/>
                  <a:gd name="T18" fmla="*/ 1939 w 2855"/>
                  <a:gd name="T19" fmla="*/ 15 h 2055"/>
                  <a:gd name="T20" fmla="*/ 1935 w 2855"/>
                  <a:gd name="T21" fmla="*/ 385 h 2055"/>
                  <a:gd name="T22" fmla="*/ 920 w 2855"/>
                  <a:gd name="T23" fmla="*/ 385 h 2055"/>
                  <a:gd name="T24" fmla="*/ 916 w 2855"/>
                  <a:gd name="T25" fmla="*/ 15 h 2055"/>
                  <a:gd name="T26" fmla="*/ 897 w 2855"/>
                  <a:gd name="T27" fmla="*/ 0 h 2055"/>
                  <a:gd name="T28" fmla="*/ 871 w 2855"/>
                  <a:gd name="T29" fmla="*/ 7 h 2055"/>
                  <a:gd name="T30" fmla="*/ 860 w 2855"/>
                  <a:gd name="T31" fmla="*/ 383 h 2055"/>
                  <a:gd name="T32" fmla="*/ 353 w 2855"/>
                  <a:gd name="T33" fmla="*/ 678 h 2055"/>
                  <a:gd name="T34" fmla="*/ 31 w 2855"/>
                  <a:gd name="T35" fmla="*/ 498 h 2055"/>
                  <a:gd name="T36" fmla="*/ 4 w 2855"/>
                  <a:gd name="T37" fmla="*/ 513 h 2055"/>
                  <a:gd name="T38" fmla="*/ 3 w 2855"/>
                  <a:gd name="T39" fmla="*/ 541 h 2055"/>
                  <a:gd name="T40" fmla="*/ 320 w 2855"/>
                  <a:gd name="T41" fmla="*/ 732 h 2055"/>
                  <a:gd name="T42" fmla="*/ 320 w 2855"/>
                  <a:gd name="T43" fmla="*/ 1164 h 2055"/>
                  <a:gd name="T44" fmla="*/ 10 w 2855"/>
                  <a:gd name="T45" fmla="*/ 1503 h 2055"/>
                  <a:gd name="T46" fmla="*/ 0 w 2855"/>
                  <a:gd name="T47" fmla="*/ 1530 h 2055"/>
                  <a:gd name="T48" fmla="*/ 16 w 2855"/>
                  <a:gd name="T49" fmla="*/ 1553 h 2055"/>
                  <a:gd name="T50" fmla="*/ 46 w 2855"/>
                  <a:gd name="T51" fmla="*/ 1553 h 2055"/>
                  <a:gd name="T52" fmla="*/ 562 w 2855"/>
                  <a:gd name="T53" fmla="*/ 1497 h 2055"/>
                  <a:gd name="T54" fmla="*/ 863 w 2855"/>
                  <a:gd name="T55" fmla="*/ 2037 h 2055"/>
                  <a:gd name="T56" fmla="*/ 889 w 2855"/>
                  <a:gd name="T57" fmla="*/ 2055 h 2055"/>
                  <a:gd name="T58" fmla="*/ 910 w 2855"/>
                  <a:gd name="T59" fmla="*/ 2048 h 2055"/>
                  <a:gd name="T60" fmla="*/ 920 w 2855"/>
                  <a:gd name="T61" fmla="*/ 2025 h 2055"/>
                  <a:gd name="T62" fmla="*/ 1428 w 2855"/>
                  <a:gd name="T63" fmla="*/ 1376 h 2055"/>
                  <a:gd name="T64" fmla="*/ 1935 w 2855"/>
                  <a:gd name="T65" fmla="*/ 2031 h 2055"/>
                  <a:gd name="T66" fmla="*/ 1949 w 2855"/>
                  <a:gd name="T67" fmla="*/ 2051 h 2055"/>
                  <a:gd name="T68" fmla="*/ 1972 w 2855"/>
                  <a:gd name="T69" fmla="*/ 2054 h 2055"/>
                  <a:gd name="T70" fmla="*/ 1993 w 2855"/>
                  <a:gd name="T71" fmla="*/ 2031 h 2055"/>
                  <a:gd name="T72" fmla="*/ 2293 w 2855"/>
                  <a:gd name="T73" fmla="*/ 1497 h 2055"/>
                  <a:gd name="T74" fmla="*/ 2816 w 2855"/>
                  <a:gd name="T75" fmla="*/ 1557 h 2055"/>
                  <a:gd name="T76" fmla="*/ 2845 w 2855"/>
                  <a:gd name="T77" fmla="*/ 1549 h 2055"/>
                  <a:gd name="T78" fmla="*/ 2855 w 2855"/>
                  <a:gd name="T79" fmla="*/ 1524 h 2055"/>
                  <a:gd name="T80" fmla="*/ 2840 w 2855"/>
                  <a:gd name="T81" fmla="*/ 1500 h 2055"/>
                  <a:gd name="T82" fmla="*/ 751 w 2855"/>
                  <a:gd name="T83" fmla="*/ 1537 h 2055"/>
                  <a:gd name="T84" fmla="*/ 385 w 2855"/>
                  <a:gd name="T85" fmla="*/ 1163 h 2055"/>
                  <a:gd name="T86" fmla="*/ 385 w 2855"/>
                  <a:gd name="T87" fmla="*/ 732 h 2055"/>
                  <a:gd name="T88" fmla="*/ 890 w 2855"/>
                  <a:gd name="T89" fmla="*/ 437 h 2055"/>
                  <a:gd name="T90" fmla="*/ 1395 w 2855"/>
                  <a:gd name="T91" fmla="*/ 733 h 2055"/>
                  <a:gd name="T92" fmla="*/ 1395 w 2855"/>
                  <a:gd name="T93" fmla="*/ 1163 h 2055"/>
                  <a:gd name="T94" fmla="*/ 1139 w 2855"/>
                  <a:gd name="T95" fmla="*/ 1473 h 2055"/>
                  <a:gd name="T96" fmla="*/ 2470 w 2855"/>
                  <a:gd name="T97" fmla="*/ 1163 h 2055"/>
                  <a:gd name="T98" fmla="*/ 2104 w 2855"/>
                  <a:gd name="T99" fmla="*/ 1535 h 2055"/>
                  <a:gd name="T100" fmla="*/ 1612 w 2855"/>
                  <a:gd name="T101" fmla="*/ 1412 h 2055"/>
                  <a:gd name="T102" fmla="*/ 1460 w 2855"/>
                  <a:gd name="T103" fmla="*/ 1163 h 2055"/>
                  <a:gd name="T104" fmla="*/ 1460 w 2855"/>
                  <a:gd name="T105" fmla="*/ 733 h 2055"/>
                  <a:gd name="T106" fmla="*/ 1965 w 2855"/>
                  <a:gd name="T107" fmla="*/ 437 h 2055"/>
                  <a:gd name="T108" fmla="*/ 2470 w 2855"/>
                  <a:gd name="T109" fmla="*/ 732 h 20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855" h="2055">
                    <a:moveTo>
                      <a:pt x="2840" y="1500"/>
                    </a:moveTo>
                    <a:lnTo>
                      <a:pt x="2840" y="1500"/>
                    </a:lnTo>
                    <a:lnTo>
                      <a:pt x="2535" y="1323"/>
                    </a:lnTo>
                    <a:lnTo>
                      <a:pt x="2535" y="1323"/>
                    </a:lnTo>
                    <a:lnTo>
                      <a:pt x="2535" y="1164"/>
                    </a:lnTo>
                    <a:lnTo>
                      <a:pt x="2535" y="1164"/>
                    </a:lnTo>
                    <a:lnTo>
                      <a:pt x="2535" y="891"/>
                    </a:lnTo>
                    <a:lnTo>
                      <a:pt x="2535" y="891"/>
                    </a:lnTo>
                    <a:lnTo>
                      <a:pt x="2535" y="732"/>
                    </a:lnTo>
                    <a:lnTo>
                      <a:pt x="2535" y="732"/>
                    </a:lnTo>
                    <a:lnTo>
                      <a:pt x="2840" y="555"/>
                    </a:lnTo>
                    <a:lnTo>
                      <a:pt x="2840" y="555"/>
                    </a:lnTo>
                    <a:lnTo>
                      <a:pt x="2845" y="552"/>
                    </a:lnTo>
                    <a:lnTo>
                      <a:pt x="2849" y="547"/>
                    </a:lnTo>
                    <a:lnTo>
                      <a:pt x="2852" y="541"/>
                    </a:lnTo>
                    <a:lnTo>
                      <a:pt x="2853" y="536"/>
                    </a:lnTo>
                    <a:lnTo>
                      <a:pt x="2855" y="531"/>
                    </a:lnTo>
                    <a:lnTo>
                      <a:pt x="2855" y="525"/>
                    </a:lnTo>
                    <a:lnTo>
                      <a:pt x="2853" y="518"/>
                    </a:lnTo>
                    <a:lnTo>
                      <a:pt x="2851" y="513"/>
                    </a:lnTo>
                    <a:lnTo>
                      <a:pt x="2851" y="513"/>
                    </a:lnTo>
                    <a:lnTo>
                      <a:pt x="2845" y="506"/>
                    </a:lnTo>
                    <a:lnTo>
                      <a:pt x="2839" y="502"/>
                    </a:lnTo>
                    <a:lnTo>
                      <a:pt x="2832" y="498"/>
                    </a:lnTo>
                    <a:lnTo>
                      <a:pt x="2824" y="498"/>
                    </a:lnTo>
                    <a:lnTo>
                      <a:pt x="2824" y="498"/>
                    </a:lnTo>
                    <a:lnTo>
                      <a:pt x="2816" y="498"/>
                    </a:lnTo>
                    <a:lnTo>
                      <a:pt x="2809" y="502"/>
                    </a:lnTo>
                    <a:lnTo>
                      <a:pt x="2809" y="502"/>
                    </a:lnTo>
                    <a:lnTo>
                      <a:pt x="2502" y="678"/>
                    </a:lnTo>
                    <a:lnTo>
                      <a:pt x="2502" y="678"/>
                    </a:lnTo>
                    <a:lnTo>
                      <a:pt x="2293" y="558"/>
                    </a:lnTo>
                    <a:lnTo>
                      <a:pt x="2293" y="558"/>
                    </a:lnTo>
                    <a:lnTo>
                      <a:pt x="1995" y="383"/>
                    </a:lnTo>
                    <a:lnTo>
                      <a:pt x="1995" y="31"/>
                    </a:lnTo>
                    <a:lnTo>
                      <a:pt x="1995" y="31"/>
                    </a:lnTo>
                    <a:lnTo>
                      <a:pt x="1993" y="24"/>
                    </a:lnTo>
                    <a:lnTo>
                      <a:pt x="1992" y="18"/>
                    </a:lnTo>
                    <a:lnTo>
                      <a:pt x="1988" y="12"/>
                    </a:lnTo>
                    <a:lnTo>
                      <a:pt x="1984" y="7"/>
                    </a:lnTo>
                    <a:lnTo>
                      <a:pt x="1978" y="4"/>
                    </a:lnTo>
                    <a:lnTo>
                      <a:pt x="1972" y="1"/>
                    </a:lnTo>
                    <a:lnTo>
                      <a:pt x="1966" y="0"/>
                    </a:lnTo>
                    <a:lnTo>
                      <a:pt x="1958" y="0"/>
                    </a:lnTo>
                    <a:lnTo>
                      <a:pt x="1958" y="0"/>
                    </a:lnTo>
                    <a:lnTo>
                      <a:pt x="1954" y="1"/>
                    </a:lnTo>
                    <a:lnTo>
                      <a:pt x="1949" y="4"/>
                    </a:lnTo>
                    <a:lnTo>
                      <a:pt x="1945" y="7"/>
                    </a:lnTo>
                    <a:lnTo>
                      <a:pt x="1942" y="11"/>
                    </a:lnTo>
                    <a:lnTo>
                      <a:pt x="1939" y="15"/>
                    </a:lnTo>
                    <a:lnTo>
                      <a:pt x="1937" y="19"/>
                    </a:lnTo>
                    <a:lnTo>
                      <a:pt x="1935" y="24"/>
                    </a:lnTo>
                    <a:lnTo>
                      <a:pt x="1935" y="30"/>
                    </a:lnTo>
                    <a:lnTo>
                      <a:pt x="1935" y="30"/>
                    </a:lnTo>
                    <a:lnTo>
                      <a:pt x="1935" y="385"/>
                    </a:lnTo>
                    <a:lnTo>
                      <a:pt x="1935" y="385"/>
                    </a:lnTo>
                    <a:lnTo>
                      <a:pt x="1428" y="679"/>
                    </a:lnTo>
                    <a:lnTo>
                      <a:pt x="1428" y="679"/>
                    </a:lnTo>
                    <a:lnTo>
                      <a:pt x="920" y="385"/>
                    </a:lnTo>
                    <a:lnTo>
                      <a:pt x="920" y="385"/>
                    </a:lnTo>
                    <a:lnTo>
                      <a:pt x="920" y="30"/>
                    </a:lnTo>
                    <a:lnTo>
                      <a:pt x="920" y="30"/>
                    </a:lnTo>
                    <a:lnTo>
                      <a:pt x="920" y="24"/>
                    </a:lnTo>
                    <a:lnTo>
                      <a:pt x="918" y="19"/>
                    </a:lnTo>
                    <a:lnTo>
                      <a:pt x="916" y="15"/>
                    </a:lnTo>
                    <a:lnTo>
                      <a:pt x="913" y="11"/>
                    </a:lnTo>
                    <a:lnTo>
                      <a:pt x="910" y="7"/>
                    </a:lnTo>
                    <a:lnTo>
                      <a:pt x="906" y="4"/>
                    </a:lnTo>
                    <a:lnTo>
                      <a:pt x="901" y="1"/>
                    </a:lnTo>
                    <a:lnTo>
                      <a:pt x="897" y="0"/>
                    </a:lnTo>
                    <a:lnTo>
                      <a:pt x="897" y="0"/>
                    </a:lnTo>
                    <a:lnTo>
                      <a:pt x="889" y="0"/>
                    </a:lnTo>
                    <a:lnTo>
                      <a:pt x="883" y="1"/>
                    </a:lnTo>
                    <a:lnTo>
                      <a:pt x="877" y="4"/>
                    </a:lnTo>
                    <a:lnTo>
                      <a:pt x="871" y="7"/>
                    </a:lnTo>
                    <a:lnTo>
                      <a:pt x="867" y="12"/>
                    </a:lnTo>
                    <a:lnTo>
                      <a:pt x="863" y="18"/>
                    </a:lnTo>
                    <a:lnTo>
                      <a:pt x="862" y="24"/>
                    </a:lnTo>
                    <a:lnTo>
                      <a:pt x="860" y="31"/>
                    </a:lnTo>
                    <a:lnTo>
                      <a:pt x="860" y="383"/>
                    </a:lnTo>
                    <a:lnTo>
                      <a:pt x="860" y="383"/>
                    </a:lnTo>
                    <a:lnTo>
                      <a:pt x="562" y="558"/>
                    </a:lnTo>
                    <a:lnTo>
                      <a:pt x="562" y="558"/>
                    </a:lnTo>
                    <a:lnTo>
                      <a:pt x="353" y="678"/>
                    </a:lnTo>
                    <a:lnTo>
                      <a:pt x="353" y="678"/>
                    </a:lnTo>
                    <a:lnTo>
                      <a:pt x="46" y="502"/>
                    </a:lnTo>
                    <a:lnTo>
                      <a:pt x="46" y="502"/>
                    </a:lnTo>
                    <a:lnTo>
                      <a:pt x="39" y="498"/>
                    </a:lnTo>
                    <a:lnTo>
                      <a:pt x="31" y="498"/>
                    </a:lnTo>
                    <a:lnTo>
                      <a:pt x="31" y="498"/>
                    </a:lnTo>
                    <a:lnTo>
                      <a:pt x="23" y="498"/>
                    </a:lnTo>
                    <a:lnTo>
                      <a:pt x="16" y="502"/>
                    </a:lnTo>
                    <a:lnTo>
                      <a:pt x="10" y="506"/>
                    </a:lnTo>
                    <a:lnTo>
                      <a:pt x="4" y="513"/>
                    </a:lnTo>
                    <a:lnTo>
                      <a:pt x="4" y="513"/>
                    </a:lnTo>
                    <a:lnTo>
                      <a:pt x="2" y="518"/>
                    </a:lnTo>
                    <a:lnTo>
                      <a:pt x="0" y="525"/>
                    </a:lnTo>
                    <a:lnTo>
                      <a:pt x="0" y="531"/>
                    </a:lnTo>
                    <a:lnTo>
                      <a:pt x="2" y="536"/>
                    </a:lnTo>
                    <a:lnTo>
                      <a:pt x="3" y="541"/>
                    </a:lnTo>
                    <a:lnTo>
                      <a:pt x="6" y="547"/>
                    </a:lnTo>
                    <a:lnTo>
                      <a:pt x="10" y="552"/>
                    </a:lnTo>
                    <a:lnTo>
                      <a:pt x="15" y="555"/>
                    </a:lnTo>
                    <a:lnTo>
                      <a:pt x="15" y="555"/>
                    </a:lnTo>
                    <a:lnTo>
                      <a:pt x="320" y="732"/>
                    </a:lnTo>
                    <a:lnTo>
                      <a:pt x="320" y="732"/>
                    </a:lnTo>
                    <a:lnTo>
                      <a:pt x="320" y="891"/>
                    </a:lnTo>
                    <a:lnTo>
                      <a:pt x="320" y="891"/>
                    </a:lnTo>
                    <a:lnTo>
                      <a:pt x="320" y="1164"/>
                    </a:lnTo>
                    <a:lnTo>
                      <a:pt x="320" y="1164"/>
                    </a:lnTo>
                    <a:lnTo>
                      <a:pt x="320" y="1323"/>
                    </a:lnTo>
                    <a:lnTo>
                      <a:pt x="320" y="1323"/>
                    </a:lnTo>
                    <a:lnTo>
                      <a:pt x="15" y="1500"/>
                    </a:lnTo>
                    <a:lnTo>
                      <a:pt x="15" y="1500"/>
                    </a:lnTo>
                    <a:lnTo>
                      <a:pt x="10" y="1503"/>
                    </a:lnTo>
                    <a:lnTo>
                      <a:pt x="6" y="1508"/>
                    </a:lnTo>
                    <a:lnTo>
                      <a:pt x="3" y="1514"/>
                    </a:lnTo>
                    <a:lnTo>
                      <a:pt x="2" y="1519"/>
                    </a:lnTo>
                    <a:lnTo>
                      <a:pt x="0" y="1524"/>
                    </a:lnTo>
                    <a:lnTo>
                      <a:pt x="0" y="1530"/>
                    </a:lnTo>
                    <a:lnTo>
                      <a:pt x="2" y="1537"/>
                    </a:lnTo>
                    <a:lnTo>
                      <a:pt x="4" y="1542"/>
                    </a:lnTo>
                    <a:lnTo>
                      <a:pt x="4" y="1542"/>
                    </a:lnTo>
                    <a:lnTo>
                      <a:pt x="10" y="1549"/>
                    </a:lnTo>
                    <a:lnTo>
                      <a:pt x="16" y="1553"/>
                    </a:lnTo>
                    <a:lnTo>
                      <a:pt x="23" y="1557"/>
                    </a:lnTo>
                    <a:lnTo>
                      <a:pt x="31" y="1557"/>
                    </a:lnTo>
                    <a:lnTo>
                      <a:pt x="31" y="1557"/>
                    </a:lnTo>
                    <a:lnTo>
                      <a:pt x="39" y="1557"/>
                    </a:lnTo>
                    <a:lnTo>
                      <a:pt x="46" y="1553"/>
                    </a:lnTo>
                    <a:lnTo>
                      <a:pt x="46" y="1553"/>
                    </a:lnTo>
                    <a:lnTo>
                      <a:pt x="353" y="1377"/>
                    </a:lnTo>
                    <a:lnTo>
                      <a:pt x="353" y="1377"/>
                    </a:lnTo>
                    <a:lnTo>
                      <a:pt x="562" y="1497"/>
                    </a:lnTo>
                    <a:lnTo>
                      <a:pt x="562" y="1497"/>
                    </a:lnTo>
                    <a:lnTo>
                      <a:pt x="860" y="1672"/>
                    </a:lnTo>
                    <a:lnTo>
                      <a:pt x="860" y="2024"/>
                    </a:lnTo>
                    <a:lnTo>
                      <a:pt x="860" y="2024"/>
                    </a:lnTo>
                    <a:lnTo>
                      <a:pt x="862" y="2031"/>
                    </a:lnTo>
                    <a:lnTo>
                      <a:pt x="863" y="2037"/>
                    </a:lnTo>
                    <a:lnTo>
                      <a:pt x="867" y="2043"/>
                    </a:lnTo>
                    <a:lnTo>
                      <a:pt x="871" y="2048"/>
                    </a:lnTo>
                    <a:lnTo>
                      <a:pt x="877" y="2051"/>
                    </a:lnTo>
                    <a:lnTo>
                      <a:pt x="883" y="2054"/>
                    </a:lnTo>
                    <a:lnTo>
                      <a:pt x="889" y="2055"/>
                    </a:lnTo>
                    <a:lnTo>
                      <a:pt x="897" y="2055"/>
                    </a:lnTo>
                    <a:lnTo>
                      <a:pt x="897" y="2055"/>
                    </a:lnTo>
                    <a:lnTo>
                      <a:pt x="901" y="2054"/>
                    </a:lnTo>
                    <a:lnTo>
                      <a:pt x="906" y="2051"/>
                    </a:lnTo>
                    <a:lnTo>
                      <a:pt x="910" y="2048"/>
                    </a:lnTo>
                    <a:lnTo>
                      <a:pt x="913" y="2044"/>
                    </a:lnTo>
                    <a:lnTo>
                      <a:pt x="916" y="2040"/>
                    </a:lnTo>
                    <a:lnTo>
                      <a:pt x="918" y="2036"/>
                    </a:lnTo>
                    <a:lnTo>
                      <a:pt x="920" y="2031"/>
                    </a:lnTo>
                    <a:lnTo>
                      <a:pt x="920" y="2025"/>
                    </a:lnTo>
                    <a:lnTo>
                      <a:pt x="920" y="2025"/>
                    </a:lnTo>
                    <a:lnTo>
                      <a:pt x="920" y="1670"/>
                    </a:lnTo>
                    <a:lnTo>
                      <a:pt x="920" y="1670"/>
                    </a:lnTo>
                    <a:lnTo>
                      <a:pt x="1428" y="1376"/>
                    </a:lnTo>
                    <a:lnTo>
                      <a:pt x="1428" y="1376"/>
                    </a:lnTo>
                    <a:lnTo>
                      <a:pt x="1935" y="1670"/>
                    </a:lnTo>
                    <a:lnTo>
                      <a:pt x="1935" y="1670"/>
                    </a:lnTo>
                    <a:lnTo>
                      <a:pt x="1935" y="2025"/>
                    </a:lnTo>
                    <a:lnTo>
                      <a:pt x="1935" y="2025"/>
                    </a:lnTo>
                    <a:lnTo>
                      <a:pt x="1935" y="2031"/>
                    </a:lnTo>
                    <a:lnTo>
                      <a:pt x="1937" y="2036"/>
                    </a:lnTo>
                    <a:lnTo>
                      <a:pt x="1939" y="2040"/>
                    </a:lnTo>
                    <a:lnTo>
                      <a:pt x="1942" y="2044"/>
                    </a:lnTo>
                    <a:lnTo>
                      <a:pt x="1945" y="2048"/>
                    </a:lnTo>
                    <a:lnTo>
                      <a:pt x="1949" y="2051"/>
                    </a:lnTo>
                    <a:lnTo>
                      <a:pt x="1954" y="2054"/>
                    </a:lnTo>
                    <a:lnTo>
                      <a:pt x="1958" y="2055"/>
                    </a:lnTo>
                    <a:lnTo>
                      <a:pt x="1958" y="2055"/>
                    </a:lnTo>
                    <a:lnTo>
                      <a:pt x="1966" y="2055"/>
                    </a:lnTo>
                    <a:lnTo>
                      <a:pt x="1972" y="2054"/>
                    </a:lnTo>
                    <a:lnTo>
                      <a:pt x="1978" y="2051"/>
                    </a:lnTo>
                    <a:lnTo>
                      <a:pt x="1984" y="2048"/>
                    </a:lnTo>
                    <a:lnTo>
                      <a:pt x="1988" y="2043"/>
                    </a:lnTo>
                    <a:lnTo>
                      <a:pt x="1992" y="2037"/>
                    </a:lnTo>
                    <a:lnTo>
                      <a:pt x="1993" y="2031"/>
                    </a:lnTo>
                    <a:lnTo>
                      <a:pt x="1995" y="2024"/>
                    </a:lnTo>
                    <a:lnTo>
                      <a:pt x="1995" y="1672"/>
                    </a:lnTo>
                    <a:lnTo>
                      <a:pt x="1995" y="1672"/>
                    </a:lnTo>
                    <a:lnTo>
                      <a:pt x="2293" y="1497"/>
                    </a:lnTo>
                    <a:lnTo>
                      <a:pt x="2293" y="1497"/>
                    </a:lnTo>
                    <a:lnTo>
                      <a:pt x="2502" y="1377"/>
                    </a:lnTo>
                    <a:lnTo>
                      <a:pt x="2502" y="1377"/>
                    </a:lnTo>
                    <a:lnTo>
                      <a:pt x="2809" y="1553"/>
                    </a:lnTo>
                    <a:lnTo>
                      <a:pt x="2809" y="1553"/>
                    </a:lnTo>
                    <a:lnTo>
                      <a:pt x="2816" y="1557"/>
                    </a:lnTo>
                    <a:lnTo>
                      <a:pt x="2824" y="1557"/>
                    </a:lnTo>
                    <a:lnTo>
                      <a:pt x="2824" y="1557"/>
                    </a:lnTo>
                    <a:lnTo>
                      <a:pt x="2832" y="1557"/>
                    </a:lnTo>
                    <a:lnTo>
                      <a:pt x="2839" y="1553"/>
                    </a:lnTo>
                    <a:lnTo>
                      <a:pt x="2845" y="1549"/>
                    </a:lnTo>
                    <a:lnTo>
                      <a:pt x="2851" y="1542"/>
                    </a:lnTo>
                    <a:lnTo>
                      <a:pt x="2851" y="1542"/>
                    </a:lnTo>
                    <a:lnTo>
                      <a:pt x="2853" y="1537"/>
                    </a:lnTo>
                    <a:lnTo>
                      <a:pt x="2855" y="1530"/>
                    </a:lnTo>
                    <a:lnTo>
                      <a:pt x="2855" y="1524"/>
                    </a:lnTo>
                    <a:lnTo>
                      <a:pt x="2853" y="1519"/>
                    </a:lnTo>
                    <a:lnTo>
                      <a:pt x="2852" y="1514"/>
                    </a:lnTo>
                    <a:lnTo>
                      <a:pt x="2849" y="1508"/>
                    </a:lnTo>
                    <a:lnTo>
                      <a:pt x="2845" y="1503"/>
                    </a:lnTo>
                    <a:lnTo>
                      <a:pt x="2840" y="1500"/>
                    </a:lnTo>
                    <a:lnTo>
                      <a:pt x="2840" y="1500"/>
                    </a:lnTo>
                    <a:close/>
                    <a:moveTo>
                      <a:pt x="890" y="1618"/>
                    </a:moveTo>
                    <a:lnTo>
                      <a:pt x="890" y="1618"/>
                    </a:lnTo>
                    <a:lnTo>
                      <a:pt x="751" y="1537"/>
                    </a:lnTo>
                    <a:lnTo>
                      <a:pt x="751" y="1537"/>
                    </a:lnTo>
                    <a:lnTo>
                      <a:pt x="751" y="1535"/>
                    </a:lnTo>
                    <a:lnTo>
                      <a:pt x="751" y="1535"/>
                    </a:lnTo>
                    <a:lnTo>
                      <a:pt x="385" y="1323"/>
                    </a:lnTo>
                    <a:lnTo>
                      <a:pt x="385" y="1323"/>
                    </a:lnTo>
                    <a:lnTo>
                      <a:pt x="385" y="1163"/>
                    </a:lnTo>
                    <a:lnTo>
                      <a:pt x="385" y="1163"/>
                    </a:lnTo>
                    <a:lnTo>
                      <a:pt x="385" y="892"/>
                    </a:lnTo>
                    <a:lnTo>
                      <a:pt x="385" y="892"/>
                    </a:lnTo>
                    <a:lnTo>
                      <a:pt x="385" y="732"/>
                    </a:lnTo>
                    <a:lnTo>
                      <a:pt x="385" y="732"/>
                    </a:lnTo>
                    <a:lnTo>
                      <a:pt x="751" y="520"/>
                    </a:lnTo>
                    <a:lnTo>
                      <a:pt x="751" y="520"/>
                    </a:lnTo>
                    <a:lnTo>
                      <a:pt x="751" y="518"/>
                    </a:lnTo>
                    <a:lnTo>
                      <a:pt x="751" y="518"/>
                    </a:lnTo>
                    <a:lnTo>
                      <a:pt x="890" y="437"/>
                    </a:lnTo>
                    <a:lnTo>
                      <a:pt x="890" y="437"/>
                    </a:lnTo>
                    <a:lnTo>
                      <a:pt x="1139" y="582"/>
                    </a:lnTo>
                    <a:lnTo>
                      <a:pt x="1139" y="582"/>
                    </a:lnTo>
                    <a:lnTo>
                      <a:pt x="1243" y="644"/>
                    </a:lnTo>
                    <a:lnTo>
                      <a:pt x="1395" y="733"/>
                    </a:lnTo>
                    <a:lnTo>
                      <a:pt x="1395" y="733"/>
                    </a:lnTo>
                    <a:lnTo>
                      <a:pt x="1395" y="892"/>
                    </a:lnTo>
                    <a:lnTo>
                      <a:pt x="1395" y="892"/>
                    </a:lnTo>
                    <a:lnTo>
                      <a:pt x="1395" y="1163"/>
                    </a:lnTo>
                    <a:lnTo>
                      <a:pt x="1395" y="1163"/>
                    </a:lnTo>
                    <a:lnTo>
                      <a:pt x="1395" y="1322"/>
                    </a:lnTo>
                    <a:lnTo>
                      <a:pt x="1395" y="1322"/>
                    </a:lnTo>
                    <a:lnTo>
                      <a:pt x="1243" y="1411"/>
                    </a:lnTo>
                    <a:lnTo>
                      <a:pt x="1139" y="1473"/>
                    </a:lnTo>
                    <a:lnTo>
                      <a:pt x="1139" y="1473"/>
                    </a:lnTo>
                    <a:lnTo>
                      <a:pt x="890" y="1618"/>
                    </a:lnTo>
                    <a:lnTo>
                      <a:pt x="890" y="1618"/>
                    </a:lnTo>
                    <a:close/>
                    <a:moveTo>
                      <a:pt x="2470" y="892"/>
                    </a:moveTo>
                    <a:lnTo>
                      <a:pt x="2470" y="892"/>
                    </a:lnTo>
                    <a:lnTo>
                      <a:pt x="2470" y="1163"/>
                    </a:lnTo>
                    <a:lnTo>
                      <a:pt x="2470" y="1163"/>
                    </a:lnTo>
                    <a:lnTo>
                      <a:pt x="2470" y="1323"/>
                    </a:lnTo>
                    <a:lnTo>
                      <a:pt x="2470" y="1323"/>
                    </a:lnTo>
                    <a:lnTo>
                      <a:pt x="2104" y="1535"/>
                    </a:lnTo>
                    <a:lnTo>
                      <a:pt x="2104" y="1535"/>
                    </a:lnTo>
                    <a:lnTo>
                      <a:pt x="2104" y="1537"/>
                    </a:lnTo>
                    <a:lnTo>
                      <a:pt x="2104" y="1537"/>
                    </a:lnTo>
                    <a:lnTo>
                      <a:pt x="1965" y="1618"/>
                    </a:lnTo>
                    <a:lnTo>
                      <a:pt x="1965" y="1618"/>
                    </a:lnTo>
                    <a:lnTo>
                      <a:pt x="1612" y="1412"/>
                    </a:lnTo>
                    <a:lnTo>
                      <a:pt x="1612" y="1412"/>
                    </a:lnTo>
                    <a:lnTo>
                      <a:pt x="1542" y="1370"/>
                    </a:lnTo>
                    <a:lnTo>
                      <a:pt x="1460" y="1322"/>
                    </a:lnTo>
                    <a:lnTo>
                      <a:pt x="1460" y="1322"/>
                    </a:lnTo>
                    <a:lnTo>
                      <a:pt x="1460" y="1163"/>
                    </a:lnTo>
                    <a:lnTo>
                      <a:pt x="1460" y="1163"/>
                    </a:lnTo>
                    <a:lnTo>
                      <a:pt x="1460" y="892"/>
                    </a:lnTo>
                    <a:lnTo>
                      <a:pt x="1460" y="892"/>
                    </a:lnTo>
                    <a:lnTo>
                      <a:pt x="1460" y="733"/>
                    </a:lnTo>
                    <a:lnTo>
                      <a:pt x="1460" y="733"/>
                    </a:lnTo>
                    <a:lnTo>
                      <a:pt x="1612" y="644"/>
                    </a:lnTo>
                    <a:lnTo>
                      <a:pt x="1716" y="582"/>
                    </a:lnTo>
                    <a:lnTo>
                      <a:pt x="1716" y="582"/>
                    </a:lnTo>
                    <a:lnTo>
                      <a:pt x="1965" y="437"/>
                    </a:lnTo>
                    <a:lnTo>
                      <a:pt x="1965" y="437"/>
                    </a:lnTo>
                    <a:lnTo>
                      <a:pt x="2104" y="518"/>
                    </a:lnTo>
                    <a:lnTo>
                      <a:pt x="2104" y="518"/>
                    </a:lnTo>
                    <a:lnTo>
                      <a:pt x="2104" y="520"/>
                    </a:lnTo>
                    <a:lnTo>
                      <a:pt x="2104" y="520"/>
                    </a:lnTo>
                    <a:lnTo>
                      <a:pt x="2470" y="732"/>
                    </a:lnTo>
                    <a:lnTo>
                      <a:pt x="2470" y="732"/>
                    </a:lnTo>
                    <a:lnTo>
                      <a:pt x="2470" y="892"/>
                    </a:lnTo>
                    <a:lnTo>
                      <a:pt x="2470" y="892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>
                  <a:solidFill>
                    <a:srgbClr val="295E7E"/>
                  </a:solidFill>
                </a:endParaRPr>
              </a:p>
            </p:txBody>
          </p:sp>
          <p:sp>
            <p:nvSpPr>
              <p:cNvPr id="52" name="Freeform 51"/>
              <p:cNvSpPr>
                <a:spLocks/>
              </p:cNvSpPr>
              <p:nvPr/>
            </p:nvSpPr>
            <p:spPr bwMode="auto">
              <a:xfrm>
                <a:off x="5582543" y="3207586"/>
                <a:ext cx="985647" cy="441241"/>
              </a:xfrm>
              <a:custGeom>
                <a:avLst/>
                <a:gdLst>
                  <a:gd name="connsiteX0" fmla="*/ 969735 w 985647"/>
                  <a:gd name="connsiteY0" fmla="*/ 304742 h 441241"/>
                  <a:gd name="connsiteX1" fmla="*/ 973448 w 985647"/>
                  <a:gd name="connsiteY1" fmla="*/ 305804 h 441241"/>
                  <a:gd name="connsiteX2" fmla="*/ 977691 w 985647"/>
                  <a:gd name="connsiteY2" fmla="*/ 307398 h 441241"/>
                  <a:gd name="connsiteX3" fmla="*/ 981404 w 985647"/>
                  <a:gd name="connsiteY3" fmla="*/ 310053 h 441241"/>
                  <a:gd name="connsiteX4" fmla="*/ 983526 w 985647"/>
                  <a:gd name="connsiteY4" fmla="*/ 313771 h 441241"/>
                  <a:gd name="connsiteX5" fmla="*/ 985117 w 985647"/>
                  <a:gd name="connsiteY5" fmla="*/ 316427 h 441241"/>
                  <a:gd name="connsiteX6" fmla="*/ 985647 w 985647"/>
                  <a:gd name="connsiteY6" fmla="*/ 319082 h 441241"/>
                  <a:gd name="connsiteX7" fmla="*/ 985647 w 985647"/>
                  <a:gd name="connsiteY7" fmla="*/ 322269 h 441241"/>
                  <a:gd name="connsiteX8" fmla="*/ 985647 w 985647"/>
                  <a:gd name="connsiteY8" fmla="*/ 325987 h 441241"/>
                  <a:gd name="connsiteX9" fmla="*/ 984056 w 985647"/>
                  <a:gd name="connsiteY9" fmla="*/ 328643 h 441241"/>
                  <a:gd name="connsiteX10" fmla="*/ 982995 w 985647"/>
                  <a:gd name="connsiteY10" fmla="*/ 331298 h 441241"/>
                  <a:gd name="connsiteX11" fmla="*/ 980874 w 985647"/>
                  <a:gd name="connsiteY11" fmla="*/ 333423 h 441241"/>
                  <a:gd name="connsiteX12" fmla="*/ 977691 w 985647"/>
                  <a:gd name="connsiteY12" fmla="*/ 336078 h 441241"/>
                  <a:gd name="connsiteX13" fmla="*/ 798948 w 985647"/>
                  <a:gd name="connsiteY13" fmla="*/ 439117 h 441241"/>
                  <a:gd name="connsiteX14" fmla="*/ 795766 w 985647"/>
                  <a:gd name="connsiteY14" fmla="*/ 440710 h 441241"/>
                  <a:gd name="connsiteX15" fmla="*/ 793114 w 985647"/>
                  <a:gd name="connsiteY15" fmla="*/ 441241 h 441241"/>
                  <a:gd name="connsiteX16" fmla="*/ 789401 w 985647"/>
                  <a:gd name="connsiteY16" fmla="*/ 441241 h 441241"/>
                  <a:gd name="connsiteX17" fmla="*/ 786749 w 985647"/>
                  <a:gd name="connsiteY17" fmla="*/ 440710 h 441241"/>
                  <a:gd name="connsiteX18" fmla="*/ 783567 w 985647"/>
                  <a:gd name="connsiteY18" fmla="*/ 439648 h 441241"/>
                  <a:gd name="connsiteX19" fmla="*/ 780915 w 985647"/>
                  <a:gd name="connsiteY19" fmla="*/ 437523 h 441241"/>
                  <a:gd name="connsiteX20" fmla="*/ 778793 w 985647"/>
                  <a:gd name="connsiteY20" fmla="*/ 435399 h 441241"/>
                  <a:gd name="connsiteX21" fmla="*/ 776672 w 985647"/>
                  <a:gd name="connsiteY21" fmla="*/ 432743 h 441241"/>
                  <a:gd name="connsiteX22" fmla="*/ 775081 w 985647"/>
                  <a:gd name="connsiteY22" fmla="*/ 429556 h 441241"/>
                  <a:gd name="connsiteX23" fmla="*/ 774550 w 985647"/>
                  <a:gd name="connsiteY23" fmla="*/ 426901 h 441241"/>
                  <a:gd name="connsiteX24" fmla="*/ 774550 w 985647"/>
                  <a:gd name="connsiteY24" fmla="*/ 424245 h 441241"/>
                  <a:gd name="connsiteX25" fmla="*/ 775081 w 985647"/>
                  <a:gd name="connsiteY25" fmla="*/ 420527 h 441241"/>
                  <a:gd name="connsiteX26" fmla="*/ 775611 w 985647"/>
                  <a:gd name="connsiteY26" fmla="*/ 417341 h 441241"/>
                  <a:gd name="connsiteX27" fmla="*/ 777733 w 985647"/>
                  <a:gd name="connsiteY27" fmla="*/ 414685 h 441241"/>
                  <a:gd name="connsiteX28" fmla="*/ 779854 w 985647"/>
                  <a:gd name="connsiteY28" fmla="*/ 412560 h 441241"/>
                  <a:gd name="connsiteX29" fmla="*/ 783037 w 985647"/>
                  <a:gd name="connsiteY29" fmla="*/ 410436 h 441241"/>
                  <a:gd name="connsiteX30" fmla="*/ 961249 w 985647"/>
                  <a:gd name="connsiteY30" fmla="*/ 307398 h 441241"/>
                  <a:gd name="connsiteX31" fmla="*/ 965492 w 985647"/>
                  <a:gd name="connsiteY31" fmla="*/ 305804 h 441241"/>
                  <a:gd name="connsiteX32" fmla="*/ 410554 w 985647"/>
                  <a:gd name="connsiteY32" fmla="*/ 304742 h 441241"/>
                  <a:gd name="connsiteX33" fmla="*/ 414787 w 985647"/>
                  <a:gd name="connsiteY33" fmla="*/ 305804 h 441241"/>
                  <a:gd name="connsiteX34" fmla="*/ 418490 w 985647"/>
                  <a:gd name="connsiteY34" fmla="*/ 307398 h 441241"/>
                  <a:gd name="connsiteX35" fmla="*/ 421665 w 985647"/>
                  <a:gd name="connsiteY35" fmla="*/ 310053 h 441241"/>
                  <a:gd name="connsiteX36" fmla="*/ 424839 w 985647"/>
                  <a:gd name="connsiteY36" fmla="*/ 313771 h 441241"/>
                  <a:gd name="connsiteX37" fmla="*/ 425897 w 985647"/>
                  <a:gd name="connsiteY37" fmla="*/ 316427 h 441241"/>
                  <a:gd name="connsiteX38" fmla="*/ 426955 w 985647"/>
                  <a:gd name="connsiteY38" fmla="*/ 319082 h 441241"/>
                  <a:gd name="connsiteX39" fmla="*/ 426955 w 985647"/>
                  <a:gd name="connsiteY39" fmla="*/ 322269 h 441241"/>
                  <a:gd name="connsiteX40" fmla="*/ 425897 w 985647"/>
                  <a:gd name="connsiteY40" fmla="*/ 325987 h 441241"/>
                  <a:gd name="connsiteX41" fmla="*/ 425368 w 985647"/>
                  <a:gd name="connsiteY41" fmla="*/ 328643 h 441241"/>
                  <a:gd name="connsiteX42" fmla="*/ 423252 w 985647"/>
                  <a:gd name="connsiteY42" fmla="*/ 331298 h 441241"/>
                  <a:gd name="connsiteX43" fmla="*/ 421136 w 985647"/>
                  <a:gd name="connsiteY43" fmla="*/ 333423 h 441241"/>
                  <a:gd name="connsiteX44" fmla="*/ 419019 w 985647"/>
                  <a:gd name="connsiteY44" fmla="*/ 336078 h 441241"/>
                  <a:gd name="connsiteX45" fmla="*/ 240195 w 985647"/>
                  <a:gd name="connsiteY45" fmla="*/ 439117 h 441241"/>
                  <a:gd name="connsiteX46" fmla="*/ 237550 w 985647"/>
                  <a:gd name="connsiteY46" fmla="*/ 440710 h 441241"/>
                  <a:gd name="connsiteX47" fmla="*/ 233846 w 985647"/>
                  <a:gd name="connsiteY47" fmla="*/ 441241 h 441241"/>
                  <a:gd name="connsiteX48" fmla="*/ 231201 w 985647"/>
                  <a:gd name="connsiteY48" fmla="*/ 441241 h 441241"/>
                  <a:gd name="connsiteX49" fmla="*/ 228027 w 985647"/>
                  <a:gd name="connsiteY49" fmla="*/ 440710 h 441241"/>
                  <a:gd name="connsiteX50" fmla="*/ 225381 w 985647"/>
                  <a:gd name="connsiteY50" fmla="*/ 439648 h 441241"/>
                  <a:gd name="connsiteX51" fmla="*/ 222736 w 985647"/>
                  <a:gd name="connsiteY51" fmla="*/ 437523 h 441241"/>
                  <a:gd name="connsiteX52" fmla="*/ 220620 w 985647"/>
                  <a:gd name="connsiteY52" fmla="*/ 435399 h 441241"/>
                  <a:gd name="connsiteX53" fmla="*/ 217975 w 985647"/>
                  <a:gd name="connsiteY53" fmla="*/ 432743 h 441241"/>
                  <a:gd name="connsiteX54" fmla="*/ 216916 w 985647"/>
                  <a:gd name="connsiteY54" fmla="*/ 429556 h 441241"/>
                  <a:gd name="connsiteX55" fmla="*/ 215858 w 985647"/>
                  <a:gd name="connsiteY55" fmla="*/ 426901 h 441241"/>
                  <a:gd name="connsiteX56" fmla="*/ 215858 w 985647"/>
                  <a:gd name="connsiteY56" fmla="*/ 424245 h 441241"/>
                  <a:gd name="connsiteX57" fmla="*/ 215858 w 985647"/>
                  <a:gd name="connsiteY57" fmla="*/ 420527 h 441241"/>
                  <a:gd name="connsiteX58" fmla="*/ 217445 w 985647"/>
                  <a:gd name="connsiteY58" fmla="*/ 417341 h 441241"/>
                  <a:gd name="connsiteX59" fmla="*/ 219033 w 985647"/>
                  <a:gd name="connsiteY59" fmla="*/ 414685 h 441241"/>
                  <a:gd name="connsiteX60" fmla="*/ 221149 w 985647"/>
                  <a:gd name="connsiteY60" fmla="*/ 412560 h 441241"/>
                  <a:gd name="connsiteX61" fmla="*/ 223794 w 985647"/>
                  <a:gd name="connsiteY61" fmla="*/ 410436 h 441241"/>
                  <a:gd name="connsiteX62" fmla="*/ 402618 w 985647"/>
                  <a:gd name="connsiteY62" fmla="*/ 307398 h 441241"/>
                  <a:gd name="connsiteX63" fmla="*/ 406322 w 985647"/>
                  <a:gd name="connsiteY63" fmla="*/ 305804 h 441241"/>
                  <a:gd name="connsiteX64" fmla="*/ 13755 w 985647"/>
                  <a:gd name="connsiteY64" fmla="*/ 101581 h 441241"/>
                  <a:gd name="connsiteX65" fmla="*/ 16930 w 985647"/>
                  <a:gd name="connsiteY65" fmla="*/ 101581 h 441241"/>
                  <a:gd name="connsiteX66" fmla="*/ 20633 w 985647"/>
                  <a:gd name="connsiteY66" fmla="*/ 101581 h 441241"/>
                  <a:gd name="connsiteX67" fmla="*/ 23808 w 985647"/>
                  <a:gd name="connsiteY67" fmla="*/ 103175 h 441241"/>
                  <a:gd name="connsiteX68" fmla="*/ 26453 w 985647"/>
                  <a:gd name="connsiteY68" fmla="*/ 104238 h 441241"/>
                  <a:gd name="connsiteX69" fmla="*/ 28569 w 985647"/>
                  <a:gd name="connsiteY69" fmla="*/ 106364 h 441241"/>
                  <a:gd name="connsiteX70" fmla="*/ 30685 w 985647"/>
                  <a:gd name="connsiteY70" fmla="*/ 109021 h 441241"/>
                  <a:gd name="connsiteX71" fmla="*/ 32273 w 985647"/>
                  <a:gd name="connsiteY71" fmla="*/ 111678 h 441241"/>
                  <a:gd name="connsiteX72" fmla="*/ 32802 w 985647"/>
                  <a:gd name="connsiteY72" fmla="*/ 114335 h 441241"/>
                  <a:gd name="connsiteX73" fmla="*/ 33331 w 985647"/>
                  <a:gd name="connsiteY73" fmla="*/ 118055 h 441241"/>
                  <a:gd name="connsiteX74" fmla="*/ 32802 w 985647"/>
                  <a:gd name="connsiteY74" fmla="*/ 324773 h 441241"/>
                  <a:gd name="connsiteX75" fmla="*/ 32802 w 985647"/>
                  <a:gd name="connsiteY75" fmla="*/ 328493 h 441241"/>
                  <a:gd name="connsiteX76" fmla="*/ 31214 w 985647"/>
                  <a:gd name="connsiteY76" fmla="*/ 331150 h 441241"/>
                  <a:gd name="connsiteX77" fmla="*/ 30156 w 985647"/>
                  <a:gd name="connsiteY77" fmla="*/ 333807 h 441241"/>
                  <a:gd name="connsiteX78" fmla="*/ 28040 w 985647"/>
                  <a:gd name="connsiteY78" fmla="*/ 336464 h 441241"/>
                  <a:gd name="connsiteX79" fmla="*/ 25924 w 985647"/>
                  <a:gd name="connsiteY79" fmla="*/ 338590 h 441241"/>
                  <a:gd name="connsiteX80" fmla="*/ 22749 w 985647"/>
                  <a:gd name="connsiteY80" fmla="*/ 339653 h 441241"/>
                  <a:gd name="connsiteX81" fmla="*/ 20104 w 985647"/>
                  <a:gd name="connsiteY81" fmla="*/ 340716 h 441241"/>
                  <a:gd name="connsiteX82" fmla="*/ 16401 w 985647"/>
                  <a:gd name="connsiteY82" fmla="*/ 341247 h 441241"/>
                  <a:gd name="connsiteX83" fmla="*/ 12168 w 985647"/>
                  <a:gd name="connsiteY83" fmla="*/ 340716 h 441241"/>
                  <a:gd name="connsiteX84" fmla="*/ 8465 w 985647"/>
                  <a:gd name="connsiteY84" fmla="*/ 339121 h 441241"/>
                  <a:gd name="connsiteX85" fmla="*/ 4761 w 985647"/>
                  <a:gd name="connsiteY85" fmla="*/ 336464 h 441241"/>
                  <a:gd name="connsiteX86" fmla="*/ 2116 w 985647"/>
                  <a:gd name="connsiteY86" fmla="*/ 332745 h 441241"/>
                  <a:gd name="connsiteX87" fmla="*/ 529 w 985647"/>
                  <a:gd name="connsiteY87" fmla="*/ 329025 h 441241"/>
                  <a:gd name="connsiteX88" fmla="*/ 0 w 985647"/>
                  <a:gd name="connsiteY88" fmla="*/ 324773 h 441241"/>
                  <a:gd name="connsiteX89" fmla="*/ 529 w 985647"/>
                  <a:gd name="connsiteY89" fmla="*/ 118055 h 441241"/>
                  <a:gd name="connsiteX90" fmla="*/ 529 w 985647"/>
                  <a:gd name="connsiteY90" fmla="*/ 114335 h 441241"/>
                  <a:gd name="connsiteX91" fmla="*/ 2116 w 985647"/>
                  <a:gd name="connsiteY91" fmla="*/ 111678 h 441241"/>
                  <a:gd name="connsiteX92" fmla="*/ 3703 w 985647"/>
                  <a:gd name="connsiteY92" fmla="*/ 109021 h 441241"/>
                  <a:gd name="connsiteX93" fmla="*/ 5819 w 985647"/>
                  <a:gd name="connsiteY93" fmla="*/ 106364 h 441241"/>
                  <a:gd name="connsiteX94" fmla="*/ 7936 w 985647"/>
                  <a:gd name="connsiteY94" fmla="*/ 104238 h 441241"/>
                  <a:gd name="connsiteX95" fmla="*/ 10581 w 985647"/>
                  <a:gd name="connsiteY95" fmla="*/ 103175 h 441241"/>
                  <a:gd name="connsiteX96" fmla="*/ 789401 w 985647"/>
                  <a:gd name="connsiteY96" fmla="*/ 0 h 441241"/>
                  <a:gd name="connsiteX97" fmla="*/ 793114 w 985647"/>
                  <a:gd name="connsiteY97" fmla="*/ 527 h 441241"/>
                  <a:gd name="connsiteX98" fmla="*/ 795766 w 985647"/>
                  <a:gd name="connsiteY98" fmla="*/ 1581 h 441241"/>
                  <a:gd name="connsiteX99" fmla="*/ 798948 w 985647"/>
                  <a:gd name="connsiteY99" fmla="*/ 2635 h 441241"/>
                  <a:gd name="connsiteX100" fmla="*/ 977691 w 985647"/>
                  <a:gd name="connsiteY100" fmla="*/ 104345 h 441241"/>
                  <a:gd name="connsiteX101" fmla="*/ 980874 w 985647"/>
                  <a:gd name="connsiteY101" fmla="*/ 106453 h 441241"/>
                  <a:gd name="connsiteX102" fmla="*/ 982995 w 985647"/>
                  <a:gd name="connsiteY102" fmla="*/ 109088 h 441241"/>
                  <a:gd name="connsiteX103" fmla="*/ 984056 w 985647"/>
                  <a:gd name="connsiteY103" fmla="*/ 111723 h 441241"/>
                  <a:gd name="connsiteX104" fmla="*/ 985647 w 985647"/>
                  <a:gd name="connsiteY104" fmla="*/ 114358 h 441241"/>
                  <a:gd name="connsiteX105" fmla="*/ 985647 w 985647"/>
                  <a:gd name="connsiteY105" fmla="*/ 118047 h 441241"/>
                  <a:gd name="connsiteX106" fmla="*/ 985647 w 985647"/>
                  <a:gd name="connsiteY106" fmla="*/ 120682 h 441241"/>
                  <a:gd name="connsiteX107" fmla="*/ 985117 w 985647"/>
                  <a:gd name="connsiteY107" fmla="*/ 124371 h 441241"/>
                  <a:gd name="connsiteX108" fmla="*/ 983526 w 985647"/>
                  <a:gd name="connsiteY108" fmla="*/ 127533 h 441241"/>
                  <a:gd name="connsiteX109" fmla="*/ 981404 w 985647"/>
                  <a:gd name="connsiteY109" fmla="*/ 130695 h 441241"/>
                  <a:gd name="connsiteX110" fmla="*/ 977691 w 985647"/>
                  <a:gd name="connsiteY110" fmla="*/ 132803 h 441241"/>
                  <a:gd name="connsiteX111" fmla="*/ 973448 w 985647"/>
                  <a:gd name="connsiteY111" fmla="*/ 134384 h 441241"/>
                  <a:gd name="connsiteX112" fmla="*/ 969735 w 985647"/>
                  <a:gd name="connsiteY112" fmla="*/ 134911 h 441241"/>
                  <a:gd name="connsiteX113" fmla="*/ 965492 w 985647"/>
                  <a:gd name="connsiteY113" fmla="*/ 134384 h 441241"/>
                  <a:gd name="connsiteX114" fmla="*/ 961249 w 985647"/>
                  <a:gd name="connsiteY114" fmla="*/ 132803 h 441241"/>
                  <a:gd name="connsiteX115" fmla="*/ 783037 w 985647"/>
                  <a:gd name="connsiteY115" fmla="*/ 30566 h 441241"/>
                  <a:gd name="connsiteX116" fmla="*/ 779854 w 985647"/>
                  <a:gd name="connsiteY116" fmla="*/ 28458 h 441241"/>
                  <a:gd name="connsiteX117" fmla="*/ 777733 w 985647"/>
                  <a:gd name="connsiteY117" fmla="*/ 26350 h 441241"/>
                  <a:gd name="connsiteX118" fmla="*/ 775611 w 985647"/>
                  <a:gd name="connsiteY118" fmla="*/ 23188 h 441241"/>
                  <a:gd name="connsiteX119" fmla="*/ 775081 w 985647"/>
                  <a:gd name="connsiteY119" fmla="*/ 20553 h 441241"/>
                  <a:gd name="connsiteX120" fmla="*/ 774550 w 985647"/>
                  <a:gd name="connsiteY120" fmla="*/ 17918 h 441241"/>
                  <a:gd name="connsiteX121" fmla="*/ 774550 w 985647"/>
                  <a:gd name="connsiteY121" fmla="*/ 14229 h 441241"/>
                  <a:gd name="connsiteX122" fmla="*/ 775081 w 985647"/>
                  <a:gd name="connsiteY122" fmla="*/ 11594 h 441241"/>
                  <a:gd name="connsiteX123" fmla="*/ 776672 w 985647"/>
                  <a:gd name="connsiteY123" fmla="*/ 8432 h 441241"/>
                  <a:gd name="connsiteX124" fmla="*/ 778793 w 985647"/>
                  <a:gd name="connsiteY124" fmla="*/ 5797 h 441241"/>
                  <a:gd name="connsiteX125" fmla="*/ 780915 w 985647"/>
                  <a:gd name="connsiteY125" fmla="*/ 3689 h 441241"/>
                  <a:gd name="connsiteX126" fmla="*/ 783567 w 985647"/>
                  <a:gd name="connsiteY126" fmla="*/ 2108 h 441241"/>
                  <a:gd name="connsiteX127" fmla="*/ 786749 w 985647"/>
                  <a:gd name="connsiteY127" fmla="*/ 527 h 441241"/>
                  <a:gd name="connsiteX128" fmla="*/ 231201 w 985647"/>
                  <a:gd name="connsiteY128" fmla="*/ 0 h 441241"/>
                  <a:gd name="connsiteX129" fmla="*/ 233846 w 985647"/>
                  <a:gd name="connsiteY129" fmla="*/ 527 h 441241"/>
                  <a:gd name="connsiteX130" fmla="*/ 237550 w 985647"/>
                  <a:gd name="connsiteY130" fmla="*/ 1581 h 441241"/>
                  <a:gd name="connsiteX131" fmla="*/ 240195 w 985647"/>
                  <a:gd name="connsiteY131" fmla="*/ 2635 h 441241"/>
                  <a:gd name="connsiteX132" fmla="*/ 419019 w 985647"/>
                  <a:gd name="connsiteY132" fmla="*/ 104345 h 441241"/>
                  <a:gd name="connsiteX133" fmla="*/ 421136 w 985647"/>
                  <a:gd name="connsiteY133" fmla="*/ 106453 h 441241"/>
                  <a:gd name="connsiteX134" fmla="*/ 423252 w 985647"/>
                  <a:gd name="connsiteY134" fmla="*/ 109088 h 441241"/>
                  <a:gd name="connsiteX135" fmla="*/ 425368 w 985647"/>
                  <a:gd name="connsiteY135" fmla="*/ 111723 h 441241"/>
                  <a:gd name="connsiteX136" fmla="*/ 425897 w 985647"/>
                  <a:gd name="connsiteY136" fmla="*/ 114358 h 441241"/>
                  <a:gd name="connsiteX137" fmla="*/ 426955 w 985647"/>
                  <a:gd name="connsiteY137" fmla="*/ 118047 h 441241"/>
                  <a:gd name="connsiteX138" fmla="*/ 426955 w 985647"/>
                  <a:gd name="connsiteY138" fmla="*/ 120682 h 441241"/>
                  <a:gd name="connsiteX139" fmla="*/ 425897 w 985647"/>
                  <a:gd name="connsiteY139" fmla="*/ 124371 h 441241"/>
                  <a:gd name="connsiteX140" fmla="*/ 424839 w 985647"/>
                  <a:gd name="connsiteY140" fmla="*/ 127533 h 441241"/>
                  <a:gd name="connsiteX141" fmla="*/ 421665 w 985647"/>
                  <a:gd name="connsiteY141" fmla="*/ 130695 h 441241"/>
                  <a:gd name="connsiteX142" fmla="*/ 418490 w 985647"/>
                  <a:gd name="connsiteY142" fmla="*/ 132803 h 441241"/>
                  <a:gd name="connsiteX143" fmla="*/ 414787 w 985647"/>
                  <a:gd name="connsiteY143" fmla="*/ 134384 h 441241"/>
                  <a:gd name="connsiteX144" fmla="*/ 410554 w 985647"/>
                  <a:gd name="connsiteY144" fmla="*/ 134911 h 441241"/>
                  <a:gd name="connsiteX145" fmla="*/ 406322 w 985647"/>
                  <a:gd name="connsiteY145" fmla="*/ 134384 h 441241"/>
                  <a:gd name="connsiteX146" fmla="*/ 402618 w 985647"/>
                  <a:gd name="connsiteY146" fmla="*/ 132803 h 441241"/>
                  <a:gd name="connsiteX147" fmla="*/ 223794 w 985647"/>
                  <a:gd name="connsiteY147" fmla="*/ 30566 h 441241"/>
                  <a:gd name="connsiteX148" fmla="*/ 221149 w 985647"/>
                  <a:gd name="connsiteY148" fmla="*/ 28458 h 441241"/>
                  <a:gd name="connsiteX149" fmla="*/ 219033 w 985647"/>
                  <a:gd name="connsiteY149" fmla="*/ 26350 h 441241"/>
                  <a:gd name="connsiteX150" fmla="*/ 217445 w 985647"/>
                  <a:gd name="connsiteY150" fmla="*/ 23188 h 441241"/>
                  <a:gd name="connsiteX151" fmla="*/ 215858 w 985647"/>
                  <a:gd name="connsiteY151" fmla="*/ 20553 h 441241"/>
                  <a:gd name="connsiteX152" fmla="*/ 215858 w 985647"/>
                  <a:gd name="connsiteY152" fmla="*/ 17918 h 441241"/>
                  <a:gd name="connsiteX153" fmla="*/ 215858 w 985647"/>
                  <a:gd name="connsiteY153" fmla="*/ 14229 h 441241"/>
                  <a:gd name="connsiteX154" fmla="*/ 216916 w 985647"/>
                  <a:gd name="connsiteY154" fmla="*/ 11594 h 441241"/>
                  <a:gd name="connsiteX155" fmla="*/ 217975 w 985647"/>
                  <a:gd name="connsiteY155" fmla="*/ 8432 h 441241"/>
                  <a:gd name="connsiteX156" fmla="*/ 220620 w 985647"/>
                  <a:gd name="connsiteY156" fmla="*/ 5797 h 441241"/>
                  <a:gd name="connsiteX157" fmla="*/ 222736 w 985647"/>
                  <a:gd name="connsiteY157" fmla="*/ 3689 h 441241"/>
                  <a:gd name="connsiteX158" fmla="*/ 225381 w 985647"/>
                  <a:gd name="connsiteY158" fmla="*/ 2108 h 441241"/>
                  <a:gd name="connsiteX159" fmla="*/ 228027 w 985647"/>
                  <a:gd name="connsiteY159" fmla="*/ 527 h 441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</a:cxnLst>
                <a:rect l="l" t="t" r="r" b="b"/>
                <a:pathLst>
                  <a:path w="985647" h="441241">
                    <a:moveTo>
                      <a:pt x="969735" y="304742"/>
                    </a:moveTo>
                    <a:lnTo>
                      <a:pt x="973448" y="305804"/>
                    </a:lnTo>
                    <a:lnTo>
                      <a:pt x="977691" y="307398"/>
                    </a:lnTo>
                    <a:lnTo>
                      <a:pt x="981404" y="310053"/>
                    </a:lnTo>
                    <a:lnTo>
                      <a:pt x="983526" y="313771"/>
                    </a:lnTo>
                    <a:lnTo>
                      <a:pt x="985117" y="316427"/>
                    </a:lnTo>
                    <a:lnTo>
                      <a:pt x="985647" y="319082"/>
                    </a:lnTo>
                    <a:lnTo>
                      <a:pt x="985647" y="322269"/>
                    </a:lnTo>
                    <a:lnTo>
                      <a:pt x="985647" y="325987"/>
                    </a:lnTo>
                    <a:lnTo>
                      <a:pt x="984056" y="328643"/>
                    </a:lnTo>
                    <a:lnTo>
                      <a:pt x="982995" y="331298"/>
                    </a:lnTo>
                    <a:lnTo>
                      <a:pt x="980874" y="333423"/>
                    </a:lnTo>
                    <a:lnTo>
                      <a:pt x="977691" y="336078"/>
                    </a:lnTo>
                    <a:lnTo>
                      <a:pt x="798948" y="439117"/>
                    </a:lnTo>
                    <a:lnTo>
                      <a:pt x="795766" y="440710"/>
                    </a:lnTo>
                    <a:lnTo>
                      <a:pt x="793114" y="441241"/>
                    </a:lnTo>
                    <a:lnTo>
                      <a:pt x="789401" y="441241"/>
                    </a:lnTo>
                    <a:lnTo>
                      <a:pt x="786749" y="440710"/>
                    </a:lnTo>
                    <a:lnTo>
                      <a:pt x="783567" y="439648"/>
                    </a:lnTo>
                    <a:lnTo>
                      <a:pt x="780915" y="437523"/>
                    </a:lnTo>
                    <a:lnTo>
                      <a:pt x="778793" y="435399"/>
                    </a:lnTo>
                    <a:lnTo>
                      <a:pt x="776672" y="432743"/>
                    </a:lnTo>
                    <a:lnTo>
                      <a:pt x="775081" y="429556"/>
                    </a:lnTo>
                    <a:lnTo>
                      <a:pt x="774550" y="426901"/>
                    </a:lnTo>
                    <a:lnTo>
                      <a:pt x="774550" y="424245"/>
                    </a:lnTo>
                    <a:lnTo>
                      <a:pt x="775081" y="420527"/>
                    </a:lnTo>
                    <a:lnTo>
                      <a:pt x="775611" y="417341"/>
                    </a:lnTo>
                    <a:lnTo>
                      <a:pt x="777733" y="414685"/>
                    </a:lnTo>
                    <a:lnTo>
                      <a:pt x="779854" y="412560"/>
                    </a:lnTo>
                    <a:lnTo>
                      <a:pt x="783037" y="410436"/>
                    </a:lnTo>
                    <a:lnTo>
                      <a:pt x="961249" y="307398"/>
                    </a:lnTo>
                    <a:lnTo>
                      <a:pt x="965492" y="305804"/>
                    </a:lnTo>
                    <a:close/>
                    <a:moveTo>
                      <a:pt x="410554" y="304742"/>
                    </a:moveTo>
                    <a:lnTo>
                      <a:pt x="414787" y="305804"/>
                    </a:lnTo>
                    <a:lnTo>
                      <a:pt x="418490" y="307398"/>
                    </a:lnTo>
                    <a:lnTo>
                      <a:pt x="421665" y="310053"/>
                    </a:lnTo>
                    <a:lnTo>
                      <a:pt x="424839" y="313771"/>
                    </a:lnTo>
                    <a:lnTo>
                      <a:pt x="425897" y="316427"/>
                    </a:lnTo>
                    <a:lnTo>
                      <a:pt x="426955" y="319082"/>
                    </a:lnTo>
                    <a:lnTo>
                      <a:pt x="426955" y="322269"/>
                    </a:lnTo>
                    <a:lnTo>
                      <a:pt x="425897" y="325987"/>
                    </a:lnTo>
                    <a:lnTo>
                      <a:pt x="425368" y="328643"/>
                    </a:lnTo>
                    <a:lnTo>
                      <a:pt x="423252" y="331298"/>
                    </a:lnTo>
                    <a:lnTo>
                      <a:pt x="421136" y="333423"/>
                    </a:lnTo>
                    <a:lnTo>
                      <a:pt x="419019" y="336078"/>
                    </a:lnTo>
                    <a:lnTo>
                      <a:pt x="240195" y="439117"/>
                    </a:lnTo>
                    <a:lnTo>
                      <a:pt x="237550" y="440710"/>
                    </a:lnTo>
                    <a:lnTo>
                      <a:pt x="233846" y="441241"/>
                    </a:lnTo>
                    <a:lnTo>
                      <a:pt x="231201" y="441241"/>
                    </a:lnTo>
                    <a:lnTo>
                      <a:pt x="228027" y="440710"/>
                    </a:lnTo>
                    <a:lnTo>
                      <a:pt x="225381" y="439648"/>
                    </a:lnTo>
                    <a:lnTo>
                      <a:pt x="222736" y="437523"/>
                    </a:lnTo>
                    <a:lnTo>
                      <a:pt x="220620" y="435399"/>
                    </a:lnTo>
                    <a:lnTo>
                      <a:pt x="217975" y="432743"/>
                    </a:lnTo>
                    <a:lnTo>
                      <a:pt x="216916" y="429556"/>
                    </a:lnTo>
                    <a:lnTo>
                      <a:pt x="215858" y="426901"/>
                    </a:lnTo>
                    <a:lnTo>
                      <a:pt x="215858" y="424245"/>
                    </a:lnTo>
                    <a:lnTo>
                      <a:pt x="215858" y="420527"/>
                    </a:lnTo>
                    <a:lnTo>
                      <a:pt x="217445" y="417341"/>
                    </a:lnTo>
                    <a:lnTo>
                      <a:pt x="219033" y="414685"/>
                    </a:lnTo>
                    <a:lnTo>
                      <a:pt x="221149" y="412560"/>
                    </a:lnTo>
                    <a:lnTo>
                      <a:pt x="223794" y="410436"/>
                    </a:lnTo>
                    <a:lnTo>
                      <a:pt x="402618" y="307398"/>
                    </a:lnTo>
                    <a:lnTo>
                      <a:pt x="406322" y="305804"/>
                    </a:lnTo>
                    <a:close/>
                    <a:moveTo>
                      <a:pt x="13755" y="101581"/>
                    </a:moveTo>
                    <a:lnTo>
                      <a:pt x="16930" y="101581"/>
                    </a:lnTo>
                    <a:lnTo>
                      <a:pt x="20633" y="101581"/>
                    </a:lnTo>
                    <a:lnTo>
                      <a:pt x="23808" y="103175"/>
                    </a:lnTo>
                    <a:lnTo>
                      <a:pt x="26453" y="104238"/>
                    </a:lnTo>
                    <a:lnTo>
                      <a:pt x="28569" y="106364"/>
                    </a:lnTo>
                    <a:lnTo>
                      <a:pt x="30685" y="109021"/>
                    </a:lnTo>
                    <a:lnTo>
                      <a:pt x="32273" y="111678"/>
                    </a:lnTo>
                    <a:lnTo>
                      <a:pt x="32802" y="114335"/>
                    </a:lnTo>
                    <a:lnTo>
                      <a:pt x="33331" y="118055"/>
                    </a:lnTo>
                    <a:lnTo>
                      <a:pt x="32802" y="324773"/>
                    </a:lnTo>
                    <a:lnTo>
                      <a:pt x="32802" y="328493"/>
                    </a:lnTo>
                    <a:lnTo>
                      <a:pt x="31214" y="331150"/>
                    </a:lnTo>
                    <a:lnTo>
                      <a:pt x="30156" y="333807"/>
                    </a:lnTo>
                    <a:lnTo>
                      <a:pt x="28040" y="336464"/>
                    </a:lnTo>
                    <a:lnTo>
                      <a:pt x="25924" y="338590"/>
                    </a:lnTo>
                    <a:lnTo>
                      <a:pt x="22749" y="339653"/>
                    </a:lnTo>
                    <a:lnTo>
                      <a:pt x="20104" y="340716"/>
                    </a:lnTo>
                    <a:lnTo>
                      <a:pt x="16401" y="341247"/>
                    </a:lnTo>
                    <a:lnTo>
                      <a:pt x="12168" y="340716"/>
                    </a:lnTo>
                    <a:lnTo>
                      <a:pt x="8465" y="339121"/>
                    </a:lnTo>
                    <a:lnTo>
                      <a:pt x="4761" y="336464"/>
                    </a:lnTo>
                    <a:lnTo>
                      <a:pt x="2116" y="332745"/>
                    </a:lnTo>
                    <a:lnTo>
                      <a:pt x="529" y="329025"/>
                    </a:lnTo>
                    <a:lnTo>
                      <a:pt x="0" y="324773"/>
                    </a:lnTo>
                    <a:lnTo>
                      <a:pt x="529" y="118055"/>
                    </a:lnTo>
                    <a:lnTo>
                      <a:pt x="529" y="114335"/>
                    </a:lnTo>
                    <a:lnTo>
                      <a:pt x="2116" y="111678"/>
                    </a:lnTo>
                    <a:lnTo>
                      <a:pt x="3703" y="109021"/>
                    </a:lnTo>
                    <a:lnTo>
                      <a:pt x="5819" y="106364"/>
                    </a:lnTo>
                    <a:lnTo>
                      <a:pt x="7936" y="104238"/>
                    </a:lnTo>
                    <a:lnTo>
                      <a:pt x="10581" y="103175"/>
                    </a:lnTo>
                    <a:close/>
                    <a:moveTo>
                      <a:pt x="789401" y="0"/>
                    </a:moveTo>
                    <a:lnTo>
                      <a:pt x="793114" y="527"/>
                    </a:lnTo>
                    <a:lnTo>
                      <a:pt x="795766" y="1581"/>
                    </a:lnTo>
                    <a:lnTo>
                      <a:pt x="798948" y="2635"/>
                    </a:lnTo>
                    <a:lnTo>
                      <a:pt x="977691" y="104345"/>
                    </a:lnTo>
                    <a:lnTo>
                      <a:pt x="980874" y="106453"/>
                    </a:lnTo>
                    <a:lnTo>
                      <a:pt x="982995" y="109088"/>
                    </a:lnTo>
                    <a:lnTo>
                      <a:pt x="984056" y="111723"/>
                    </a:lnTo>
                    <a:lnTo>
                      <a:pt x="985647" y="114358"/>
                    </a:lnTo>
                    <a:lnTo>
                      <a:pt x="985647" y="118047"/>
                    </a:lnTo>
                    <a:lnTo>
                      <a:pt x="985647" y="120682"/>
                    </a:lnTo>
                    <a:lnTo>
                      <a:pt x="985117" y="124371"/>
                    </a:lnTo>
                    <a:lnTo>
                      <a:pt x="983526" y="127533"/>
                    </a:lnTo>
                    <a:lnTo>
                      <a:pt x="981404" y="130695"/>
                    </a:lnTo>
                    <a:lnTo>
                      <a:pt x="977691" y="132803"/>
                    </a:lnTo>
                    <a:lnTo>
                      <a:pt x="973448" y="134384"/>
                    </a:lnTo>
                    <a:lnTo>
                      <a:pt x="969735" y="134911"/>
                    </a:lnTo>
                    <a:lnTo>
                      <a:pt x="965492" y="134384"/>
                    </a:lnTo>
                    <a:lnTo>
                      <a:pt x="961249" y="132803"/>
                    </a:lnTo>
                    <a:lnTo>
                      <a:pt x="783037" y="30566"/>
                    </a:lnTo>
                    <a:lnTo>
                      <a:pt x="779854" y="28458"/>
                    </a:lnTo>
                    <a:lnTo>
                      <a:pt x="777733" y="26350"/>
                    </a:lnTo>
                    <a:lnTo>
                      <a:pt x="775611" y="23188"/>
                    </a:lnTo>
                    <a:lnTo>
                      <a:pt x="775081" y="20553"/>
                    </a:lnTo>
                    <a:lnTo>
                      <a:pt x="774550" y="17918"/>
                    </a:lnTo>
                    <a:lnTo>
                      <a:pt x="774550" y="14229"/>
                    </a:lnTo>
                    <a:lnTo>
                      <a:pt x="775081" y="11594"/>
                    </a:lnTo>
                    <a:lnTo>
                      <a:pt x="776672" y="8432"/>
                    </a:lnTo>
                    <a:lnTo>
                      <a:pt x="778793" y="5797"/>
                    </a:lnTo>
                    <a:lnTo>
                      <a:pt x="780915" y="3689"/>
                    </a:lnTo>
                    <a:lnTo>
                      <a:pt x="783567" y="2108"/>
                    </a:lnTo>
                    <a:lnTo>
                      <a:pt x="786749" y="527"/>
                    </a:lnTo>
                    <a:close/>
                    <a:moveTo>
                      <a:pt x="231201" y="0"/>
                    </a:moveTo>
                    <a:lnTo>
                      <a:pt x="233846" y="527"/>
                    </a:lnTo>
                    <a:lnTo>
                      <a:pt x="237550" y="1581"/>
                    </a:lnTo>
                    <a:lnTo>
                      <a:pt x="240195" y="2635"/>
                    </a:lnTo>
                    <a:lnTo>
                      <a:pt x="419019" y="104345"/>
                    </a:lnTo>
                    <a:lnTo>
                      <a:pt x="421136" y="106453"/>
                    </a:lnTo>
                    <a:lnTo>
                      <a:pt x="423252" y="109088"/>
                    </a:lnTo>
                    <a:lnTo>
                      <a:pt x="425368" y="111723"/>
                    </a:lnTo>
                    <a:lnTo>
                      <a:pt x="425897" y="114358"/>
                    </a:lnTo>
                    <a:lnTo>
                      <a:pt x="426955" y="118047"/>
                    </a:lnTo>
                    <a:lnTo>
                      <a:pt x="426955" y="120682"/>
                    </a:lnTo>
                    <a:lnTo>
                      <a:pt x="425897" y="124371"/>
                    </a:lnTo>
                    <a:lnTo>
                      <a:pt x="424839" y="127533"/>
                    </a:lnTo>
                    <a:lnTo>
                      <a:pt x="421665" y="130695"/>
                    </a:lnTo>
                    <a:lnTo>
                      <a:pt x="418490" y="132803"/>
                    </a:lnTo>
                    <a:lnTo>
                      <a:pt x="414787" y="134384"/>
                    </a:lnTo>
                    <a:lnTo>
                      <a:pt x="410554" y="134911"/>
                    </a:lnTo>
                    <a:lnTo>
                      <a:pt x="406322" y="134384"/>
                    </a:lnTo>
                    <a:lnTo>
                      <a:pt x="402618" y="132803"/>
                    </a:lnTo>
                    <a:lnTo>
                      <a:pt x="223794" y="30566"/>
                    </a:lnTo>
                    <a:lnTo>
                      <a:pt x="221149" y="28458"/>
                    </a:lnTo>
                    <a:lnTo>
                      <a:pt x="219033" y="26350"/>
                    </a:lnTo>
                    <a:lnTo>
                      <a:pt x="217445" y="23188"/>
                    </a:lnTo>
                    <a:lnTo>
                      <a:pt x="215858" y="20553"/>
                    </a:lnTo>
                    <a:lnTo>
                      <a:pt x="215858" y="17918"/>
                    </a:lnTo>
                    <a:lnTo>
                      <a:pt x="215858" y="14229"/>
                    </a:lnTo>
                    <a:lnTo>
                      <a:pt x="216916" y="11594"/>
                    </a:lnTo>
                    <a:lnTo>
                      <a:pt x="217975" y="8432"/>
                    </a:lnTo>
                    <a:lnTo>
                      <a:pt x="220620" y="5797"/>
                    </a:lnTo>
                    <a:lnTo>
                      <a:pt x="222736" y="3689"/>
                    </a:lnTo>
                    <a:lnTo>
                      <a:pt x="225381" y="2108"/>
                    </a:lnTo>
                    <a:lnTo>
                      <a:pt x="228027" y="527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2000" dirty="0">
                  <a:solidFill>
                    <a:srgbClr val="295E7E"/>
                  </a:solidFill>
                </a:endParaRPr>
              </a:p>
            </p:txBody>
          </p:sp>
        </p:grpSp>
        <p:sp>
          <p:nvSpPr>
            <p:cNvPr id="33" name="Rectangle 32"/>
            <p:cNvSpPr/>
            <p:nvPr/>
          </p:nvSpPr>
          <p:spPr>
            <a:xfrm rot="2700000">
              <a:off x="5327791" y="2644123"/>
              <a:ext cx="1529464" cy="1529464"/>
            </a:xfrm>
            <a:prstGeom prst="rect">
              <a:avLst/>
            </a:prstGeom>
            <a:noFill/>
            <a:ln w="19050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Rectangle 34"/>
            <p:cNvSpPr/>
            <p:nvPr/>
          </p:nvSpPr>
          <p:spPr>
            <a:xfrm>
              <a:off x="4441303" y="1676699"/>
              <a:ext cx="3213498" cy="584775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 marL="0" lvl="3" algn="ctr">
                <a:defRPr/>
              </a:pPr>
              <a:r>
                <a:rPr lang="en-US" sz="1600" dirty="0">
                  <a:solidFill>
                    <a:srgbClr val="1F4174"/>
                  </a:solidFill>
                  <a:latin typeface="+mj-lt"/>
                  <a:cs typeface="Arial" panose="020B0604020202020204" pitchFamily="34" charset="0"/>
                  <a:sym typeface="Calibri"/>
                </a:rPr>
                <a:t>Cluster </a:t>
              </a:r>
              <a:r>
                <a:rPr lang="en-US" sz="1600" dirty="0" smtClean="0">
                  <a:solidFill>
                    <a:srgbClr val="1F4174"/>
                  </a:solidFill>
                  <a:latin typeface="+mj-lt"/>
                  <a:cs typeface="Arial" panose="020B0604020202020204" pitchFamily="34" charset="0"/>
                  <a:sym typeface="Calibri"/>
                </a:rPr>
                <a:t>#1:</a:t>
              </a:r>
              <a:endParaRPr lang="en-US" sz="1600" dirty="0">
                <a:solidFill>
                  <a:srgbClr val="1F4174"/>
                </a:solidFill>
                <a:latin typeface="+mj-lt"/>
                <a:cs typeface="Arial" panose="020B0604020202020204" pitchFamily="34" charset="0"/>
                <a:sym typeface="Calibri"/>
              </a:endParaRPr>
            </a:p>
            <a:p>
              <a:pPr marL="0" lvl="3" algn="ctr">
                <a:defRPr/>
              </a:pPr>
              <a:r>
                <a:rPr lang="en-US" sz="1600" kern="0" dirty="0">
                  <a:solidFill>
                    <a:srgbClr val="1F4174"/>
                  </a:solidFill>
                  <a:latin typeface="+mj-lt"/>
                  <a:cs typeface="Arial" panose="020B0604020202020204" pitchFamily="34" charset="0"/>
                  <a:sym typeface="Calibri"/>
                </a:rPr>
                <a:t>Life and Health Sciences</a:t>
              </a: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4441303" y="5057839"/>
              <a:ext cx="3213498" cy="738664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 marL="225425" lvl="1" indent="-225425">
                <a:buClr>
                  <a:srgbClr val="1F4174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sz="1400" dirty="0" smtClean="0">
                  <a:cs typeface="Arial" panose="020B0604020202020204" pitchFamily="34" charset="0"/>
                </a:rPr>
                <a:t>Pharma / biotech </a:t>
              </a:r>
              <a:r>
                <a:rPr lang="en-US" sz="1400" dirty="0">
                  <a:cs typeface="Arial" panose="020B0604020202020204" pitchFamily="34" charset="0"/>
                </a:rPr>
                <a:t>drug discovery</a:t>
              </a:r>
            </a:p>
            <a:p>
              <a:pPr marL="225425" lvl="1" indent="-225425">
                <a:buClr>
                  <a:srgbClr val="1F4174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sz="1400" dirty="0" smtClean="0">
                  <a:cs typeface="Arial" panose="020B0604020202020204" pitchFamily="34" charset="0"/>
                </a:rPr>
                <a:t>Medical technology</a:t>
              </a:r>
            </a:p>
            <a:p>
              <a:pPr marL="225425" lvl="1" indent="-225425">
                <a:buClr>
                  <a:srgbClr val="1F4174">
                    <a:lumMod val="100000"/>
                  </a:srgb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en-US" sz="1400" dirty="0" smtClean="0">
                  <a:cs typeface="Arial" panose="020B0604020202020204" pitchFamily="34" charset="0"/>
                </a:rPr>
                <a:t>Agricultural bioscience</a:t>
              </a:r>
              <a:endParaRPr lang="en-US" sz="1400" dirty="0">
                <a:cs typeface="Arial" panose="020B0604020202020204" pitchFamily="34" charset="0"/>
              </a:endParaRPr>
            </a:p>
          </p:txBody>
        </p:sp>
        <p:sp>
          <p:nvSpPr>
            <p:cNvPr id="45" name="Rectangle 44"/>
            <p:cNvSpPr/>
            <p:nvPr/>
          </p:nvSpPr>
          <p:spPr>
            <a:xfrm>
              <a:off x="4441303" y="4473064"/>
              <a:ext cx="3213498" cy="584775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 marL="0" lvl="3" algn="ctr">
                <a:defRPr/>
              </a:pPr>
              <a:r>
                <a:rPr lang="en-US" sz="1600" i="1" dirty="0">
                  <a:solidFill>
                    <a:srgbClr val="295E7E"/>
                  </a:solidFill>
                  <a:latin typeface="Arial" panose="020B0604020202020204" pitchFamily="34" charset="0"/>
                  <a:cs typeface="Arial" panose="020B0604020202020204" pitchFamily="34" charset="0"/>
                  <a:sym typeface="Calibri"/>
                </a:rPr>
                <a:t>“Improving health and sustainability”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80229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EE4P_LANGUAGE_ID" val="1033"/>
  <p:tag name="EE4P_STYLE_NAME" val="P33 Grid 16:9"/>
  <p:tag name="EE4P_MASTERWIZARD_MARGINS" val="0"/>
  <p:tag name="EE4P_MASTERWIZARD_DRAFT" val="1"/>
  <p:tag name="EE4P_AGENDAWIZARD" val="&lt;ee4p&gt;&lt;layouts&gt;&lt;layout name=&quot;Section Header&quot; id=&quot;227_1-1&quot;&gt;&lt;standard&gt;&lt;textframe horizontalAnchor=&quot;1&quot; marginBottom=&quot;0&quot; marginLeft=&quot;0&quot; marginRight=&quot;0&quot; marginTop=&quot;0&quot; orientation=&quot;1&quot; verticalAnchor=&quot;1&quot; /&gt;&lt;font name=&quot;Arial&quot; bold=&quot;0&quot; italic=&quot;0&quot; color=&quot;#ffffff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&quot; title=&quot;&quot; subtitle=&quot;&quot; sizingModeId=&quot;1&quot; fontSize=&quot;24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position left=&quot;395.4111&quot; top=&quot;116.9109&quot; width=&quot;515.0769&quot; height=&quot;345.2203&quot; /&gt;&lt;!--&#10;      &lt;subtitle&gt;&#10;      &#10;        &lt;position left=&quot;197.597&quot; top=&quot;369.3848&quot; width=&quot;123.634&quot; height=&quot;115.6044&quot; autoshape=&quot;1&quot; rotation=&quot;0&quot; /&gt;&#10;        &lt;line visible=&quot;1&quot; weight=&quot;0.75&quot; style=&quot;1&quot; dashStyle=&quot;1&quot; foreColor=&quot;14&quot; /&gt;&#10;        &lt;fill visible=&quot;0&quot; /&gt;&#10;        &lt;textframe horizontalAnchor=&quot;1&quot; verticalAnchor=&quot;1&quot; orientation=&quot;1&quot; wordWrap=&quot;1&quot; autoSize=&quot;0&quot; marginLeft=&quot;8.503937&quot; marginRight=&quot;0&quot; marginTop=&quot;14.17323&quot; marginBottom=&quot;0&quot; /&gt;&#10;        &lt;paragraphformat alignment=&quot;1&quot; lineRuleBefore=&quot;0&quot; lineRuleWithin=&quot;1&quot; lineRuleAfter=&quot;0&quot; spaceBefore=&quot;0&quot; spaceWithin=&quot;0.95&quot; spaceAfter=&quot;0&quot; /&gt;&#10;        &lt;font name=&quot;Trebuchet MS&quot; size=&quot;10&quot; bold=&quot;0&quot; italic=&quot;0&quot; underlineStyle=&quot;0&quot; color=&quot;#ffffff&quot; spacing=&quot;0&quot; kerning=&quot;12&quot; /&gt;&#10;      &#10;      &lt;/subtitle&gt;&#10;      --&gt;&lt;settings allowedSizingModeIds=&quot;1|2&quot; allowedFontSizes=&quot;8|9|10.5|11|12|14|16|18|20|22|24&quot; allowedTimeFormatIds=&quot;1|2|3&quot; slideLayout=&quot;11&quot; customLayoutName=&quot;Blank green|Presentation¦Blank green&quot; customLayoutIndex=&quot;&quot; showBreak=&quot;0&quot; singleAgendaSlideSelected=&quot;0&quot; backupSlideTitle=&quot;Unused Slides&quot; topMargin=&quot;0&quot; leftMargin=&quot;0&quot; allowedLevels=&quot;2&quot; itemNoFormats=&quot;{1}¦{1}.{2}¦{3:alphaLC}¦{3:alphaLC}.{4:alphaLC}&quot; customLayoutNameBackup=&quot;Special gray|Presentation¦Special gray&quot; titlePrompt=&quot;Insert Title&quot; namePrompt=&quot;Insert Date&quot; /&gt;&lt;cases&gt;&lt;case level=&quot;1&quot; single=&quot;1&quot; break=&quot;0&quot; topMinSpacing=&quot;5&quot; topMaxSpacing=&quot;15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pageno&quot; type=&quot;autoshape&quot; autoShapeType=&quot;1&quot;&gt;&lt;paragraphformat alignment=&quot;3&quot; /&gt;&lt;/element&gt;&lt;/case&gt;&lt;case level=&quot;2&quot; single=&quot;1&quot; break=&quot;0&quot; topMinSpacing=&quot;4&quot; topMaxSpacing=&quot;4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relativeSize=&quot;0.75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pageno&quot; type=&quot;autoshape&quot; autoShapeType=&quot;1&quot;&gt;&lt;paragraphformat alignment=&quot;3&quot; /&gt;&lt;font relativeSize=&quot;0.75&quot; /&gt;&lt;/element&gt;&lt;/case&gt;&lt;/cases&gt;&lt;elements&gt;&lt;element type=&quot;autoshape&quot; autoShapeType=&quot;1&quot; value=&quot;%agendaTitle%&quot; slideType=&quot;1&quot;&gt;&lt;position left=&quot;-345.68251&quot; top=&quot;-45.376146&quot; width=&quot;271.5024&quot; height=&quot;274.7323&quot; autoshape=&quot;1&quot; rotation=&quot;0&quot; /&gt;&lt;line visible=&quot;1&quot; weight=&quot;0.75&quot; style=&quot;1&quot; dashStyle=&quot;1&quot; foreColor=&quot;#ffffff&quot; /&gt;&lt;fill visible=&quot;0&quot; /&gt;&lt;textframe horizontalAnchor=&quot;1&quot; verticalAnchor=&quot;1&quot; orientation=&quot;1&quot; wordWrap=&quot;1&quot; autoSize=&quot;0&quot; marginLeft=&quot;0&quot; marginRight=&quot;0&quot; marginTop=&quot;19.84252&quot; marginBottom=&quot;0&quot; /&gt;&lt;paragraphformat alignment=&quot;2&quot; lineRuleBefore=&quot;0&quot; lineRuleWithin=&quot;1&quot; lineRuleAfter=&quot;0&quot; spaceBefore=&quot;0&quot; spaceWithin=&quot;0.95&quot; spaceAfter=&quot;0&quot; /&gt;&lt;font name=&quot;Arial Black&quot; size=&quot;54&quot; bold=&quot;0&quot; italic=&quot;0&quot; underlineStyle=&quot;0&quot; color=&quot;#ffffff&quot; spacing=&quot;0&quot; kerning=&quot;12&quot; /&gt;&lt;/element&gt;&lt;element type=&quot;autoshape&quot; autoShapeType=&quot;1&quot; value=&quot;%agendaName%&quot; slideType=&quot;1&quot;&gt;&lt;position left=&quot;-197.81411&quot; top=&quot;252.473934&quot; width=&quot;123.634&quot; height=&quot;115.6044&quot; autoshape=&quot;1&quot; rotation=&quot;0&quot; /&gt;&lt;line visible=&quot;1&quot; weight=&quot;0.75&quot; style=&quot;1&quot; dashStyle=&quot;1&quot; foreColor=&quot;#ffffff&quot; /&gt;&lt;fill visible=&quot;0&quot; /&gt;&lt;textframe horizontalAnchor=&quot;1&quot; verticalAnchor=&quot;1&quot; orientation=&quot;1&quot; wordWrap=&quot;1&quot; autoSize=&quot;0&quot; marginLeft=&quot;8.503937&quot; marginRight=&quot;0&quot; marginTop=&quot;14.17323&quot; marginBottom=&quot;0&quot; /&gt;&lt;paragraphformat alignment=&quot;1&quot; lineRuleBefore=&quot;0&quot; lineRuleWithin=&quot;1&quot; lineRuleAfter=&quot;0&quot; spaceBefore=&quot;0&quot; spaceWithin=&quot;0.95&quot; spaceAfter=&quot;0&quot; /&gt;&lt;font name=&quot;Arial&quot; size=&quot;10&quot; bold=&quot;0&quot; italic=&quot;0&quot; underlineStyle=&quot;0&quot; color=&quot;#ffffff&quot; spacing=&quot;0&quot; kerning=&quot;12&quot; /&gt;&lt;/element&gt;&lt;element type=&quot;autoshape&quot; autoShapeType=&quot;1&quot; value=&quot;&quot; slideType=&quot;1&quot;&gt;&lt;position left=&quot;-286.10831&quot; top=&quot;252.473934&quot; width=&quot;73.17614&quot; height=&quot;78.41528&quot; autoshape=&quot;1&quot; rotation=&quot;0&quot; /&gt;&lt;line visible=&quot;1&quot; weight=&quot;0.75&quot; style=&quot;1&quot; dashStyle=&quot;1&quot; foreColor=&quot;#ffffff&quot; /&gt;&lt;fill visible=&quot;0&quot; /&gt;&lt;/element&gt;&lt;element type=&quot;autoshape&quot; autoShapeType=&quot;1&quot; value=&quot;&quot; slideType=&quot;2&quot;&gt;&lt;position left=&quot;-294.2502816&quot; top=&quot;-4.4596064&quot; width=&quot;74.61984&quot; height=&quot;74.61984&quot; autoshape=&quot;1&quot; rotation=&quot;0&quot; /&gt;&lt;line visible=&quot;1&quot; weight=&quot;0.75&quot; style=&quot;1&quot; dashStyle=&quot;1&quot; foreColor=&quot;#ffffff&quot; /&gt;&lt;fill visible=&quot;0&quot; /&gt;&lt;/element&gt;&lt;element type=&quot;autoshape&quot; autoShapeType=&quot;1&quot; value=&quot;%topic%&quot; slideType=&quot;2&quot;&gt;&lt;position left=&quot;-294.2502816&quot; top=&quot;93.1711075&quot; width=&quot;758.6493&quot; height=&quot;252.2583&quot; autoshape=&quot;1&quot; rotation=&quot;0&quot; /&gt;&lt;line visible=&quot;1&quot; weight=&quot;0.75&quot; style=&quot;1&quot; dashStyle=&quot;1&quot; foreColor=&quot;#ffffff&quot; /&gt;&lt;fill visible=&quot;0&quot; /&gt;&lt;textframe horizontalAnchor=&quot;1&quot; verticalAnchor=&quot;4&quot; orientation=&quot;1&quot; wordWrap=&quot;1&quot; autoSize=&quot;0&quot; marginLeft=&quot;21.6&quot; marginRight=&quot;21.6&quot; marginTop=&quot;21.6&quot; marginBottom=&quot;10.8&quot; /&gt;&lt;paragraphformat alignment=&quot;1&quot; lineRuleBefore=&quot;0&quot; lineRuleWithin=&quot;0&quot; lineRuleAfter=&quot;0&quot; spaceBefore=&quot;0&quot; spaceWithin=&quot;60&quot; spaceAfter=&quot;0&quot; /&gt;&lt;font name=&quot;Arial Black&quot; size=&quot;54&quot; bold=&quot;0&quot; italic=&quot;0&quot; underlineStyle=&quot;0&quot; color=&quot;#ffffff&quot; spacing=&quot;0&quot; kerning=&quot;12&quot; /&gt;&lt;/element&gt;&lt;/elements&gt;&lt;/layout&gt;&lt;/layouts&gt;&lt;contents&gt;&lt;agenda name=&quot;&quot; title=&quot;&quot; subtitle=&quot;&quot; sizingModeId=&quot;1&quot; fontSize=&quot;24&quot; fontSizeAuto=&quot;1&quot; startTime=&quot;540&quot; timeFormatId=&quot;1&quot; startItemNo=&quot;1&quot; createSingleAgendaSlide=&quot;1&quot; createSeparatingSlides=&quot;1&quot; createBackupSlide=&quot;1&quot; layoutId=&quot;227_1-1&quot; createSections=&quot;0&quot;&gt;&lt;columns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items /&gt;&lt;/agenda&gt;&lt;/contents&gt;&lt;/ee4p&gt;"/>
  <p:tag name="EE4P_STYLE_ID" val="39dcc26a-7131-49f4-a9eb-1c0521500c03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flFwyvROq.s6ebd1roo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.pJiER5.x2eaqgU3zi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9fA5wVRKivmiwZ98irq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6TwH_FqTDONQbjT1K5JG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RbPv5LTiueI5BfH_W_C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ZibZNpR8a2kp40h.Jic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uKfNoDS9GV3q2yC3GT_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TqhTm4Rm2GXhYKUzekM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f8pcDJRmadaarSNEuLp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VjjqjJT9WKGX_dX7w8d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FirFxuRaiyQK5EPP4Fy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Nu.ZTPTWaUtEFYkcGJZ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gloVXAQzi1cPyHq49uG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t6YS2vTlWLIenoxgmwf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Zk5i75SeGnko3pkwXg5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jQLl9gSF.ehT8F0QyTi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vi0l6wQw6Exvfgjtm4Q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v61yypTc.G0taSHV_Mc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UlWaN8SqqGlQLoFfpMg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IaKPGiQmOCJCTjDOibA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pz3tDpS1OFGQn0DA66K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_.WZVrwTzekM4f0jaN9n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TLP1bdRby8xLZC57PiF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XgXxyJSDSM1V5R7yv6L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42g6oi4RxKTSv.9p1UtB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xQ6O0QSIuV.91k484X5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tyP.X2S1GQI7rpC6Ssz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GjgtUESheJieGFcsjDR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qzLso0QOW0Yl9cezc2o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YDBCLkSbiqLUkZDf.L9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GjgtUESheJieGFcsjD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THdBObSm6AwsKa5LlC5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GjgtUESheJieGFcsjDR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c2fgKEQx.F3svekuWlL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ixU8ZXRcCQgqCygpiZ5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9hNfAgQqyVZoNxqSd7X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ZCh2m0Tn6tyQBcTGgu8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YXWDKYRKibannwyB48H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c7t9y0QAi2Tp_EjPuVW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j9iaUrTAaiAr0zofx0S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a2CDl_RguF8LDTOHCWG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U2ra.FR2KAuA5SRNyKd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JEvln8SfmNTGTlrx.ut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2VZnOySxaaDrlaio6v5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E6VcjPRk6mom39EWH2I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nngb0HR6GpgXBOuetV5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51JmJ.SU.QFjwybTLDX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2WNacBSjm5.X7Tnhj3x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ppowXVQNK1vSImZ3uWc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Y3wCJcQGa5STdN3YEzA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JHEI_zT8aG_jMtDDs5O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jV1.0xQ42KwUa5K2aJm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kx_u4tS3Cm7.QQVg_CD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mC2_ZDTtuhfkcXvU.nM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51JmJ.SU.QFjwybTLDX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kuiDXCSu.cplzwsTYQC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IaKPGiQmOCJCTjDOibA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Q8ntQFQfKODMsC9SFyk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vSBRnZSQmLGxoOrW1ep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J_1MVRSHiFh18rEq5nB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2v9x0fTr.kKYJESOYCU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_UaKA1Rxy31hzvifZhg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p33">
      <a:dk1>
        <a:srgbClr val="000000"/>
      </a:dk1>
      <a:lt1>
        <a:sysClr val="window" lastClr="FFFFFF"/>
      </a:lt1>
      <a:dk2>
        <a:srgbClr val="1F4174"/>
      </a:dk2>
      <a:lt2>
        <a:srgbClr val="F2F2F2"/>
      </a:lt2>
      <a:accent1>
        <a:srgbClr val="162D4E"/>
      </a:accent1>
      <a:accent2>
        <a:srgbClr val="295E7E"/>
      </a:accent2>
      <a:accent3>
        <a:srgbClr val="D4DF33"/>
      </a:accent3>
      <a:accent4>
        <a:srgbClr val="2B9CDA"/>
      </a:accent4>
      <a:accent5>
        <a:srgbClr val="606164"/>
      </a:accent5>
      <a:accent6>
        <a:srgbClr val="8064A2"/>
      </a:accent6>
      <a:hlink>
        <a:srgbClr val="1F4174"/>
      </a:hlink>
      <a:folHlink>
        <a:srgbClr val="1A365E"/>
      </a:folHlink>
    </a:clrScheme>
    <a:fontScheme name="3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noFill/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07</TotalTime>
  <Words>1199</Words>
  <Application>Microsoft Office PowerPoint</Application>
  <PresentationFormat>Widescreen</PresentationFormat>
  <Paragraphs>192</Paragraphs>
  <Slides>14</Slides>
  <Notes>10</Notes>
  <HiddenSlides>0</HiddenSlides>
  <MMClips>0</MMClips>
  <ScaleCrop>false</ScaleCrop>
  <HeadingPairs>
    <vt:vector size="10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  <vt:variant>
        <vt:lpstr>Custom Shows</vt:lpstr>
      </vt:variant>
      <vt:variant>
        <vt:i4>1</vt:i4>
      </vt:variant>
    </vt:vector>
  </HeadingPairs>
  <TitlesOfParts>
    <vt:vector size="24" baseType="lpstr">
      <vt:lpstr>Arial</vt:lpstr>
      <vt:lpstr>Arial Black</vt:lpstr>
      <vt:lpstr>Calibri</vt:lpstr>
      <vt:lpstr>Proxima Nova Semibold</vt:lpstr>
      <vt:lpstr>Roboto</vt:lpstr>
      <vt:lpstr>Roboto Black</vt:lpstr>
      <vt:lpstr>Trebuchet MS</vt:lpstr>
      <vt:lpstr>BCG Grid 16:9</vt:lpstr>
      <vt:lpstr>think-cell Slide</vt:lpstr>
      <vt:lpstr>PowerPoint Presentation</vt:lpstr>
      <vt:lpstr>Chicago HAS TIER 1 innovation ASSETs…</vt:lpstr>
      <vt:lpstr>…HOWEVER, WE have Tier 2 outcomes</vt:lpstr>
      <vt:lpstr>P33's mission  Transform Chicago into a tier one INNOVATION hub and promote inclusive economic growth</vt:lpstr>
      <vt:lpstr>BY EXECUTING three core Objectives, together, we can lead Chicago into its next chapter</vt:lpstr>
      <vt:lpstr>Over the last year, P33 brought together many city leaders to develop our strategy</vt:lpstr>
      <vt:lpstr>TO succeed, we must fit the puzzle pieces together…</vt:lpstr>
      <vt:lpstr>…and address gaps that hold back our full strength</vt:lpstr>
      <vt:lpstr>p33 will FOCUS ON three clusters where Chicago has an authentic "right to win"</vt:lpstr>
      <vt:lpstr>Life and health sciences is an attractive cluster to target…</vt:lpstr>
      <vt:lpstr>…and CHICAGO HAS strong assets to compete</vt:lpstr>
      <vt:lpstr>INDUSTRY Workshop surfaced key gaps and challenges</vt:lpstr>
      <vt:lpstr>What p33 hopes to help enable </vt:lpstr>
      <vt:lpstr>PowerPoint Presentation</vt:lpstr>
      <vt:lpstr>Format Guide Workshop</vt:lpstr>
    </vt:vector>
  </TitlesOfParts>
  <Company>The Boston Consulting 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e Boston Consulting Group</dc:creator>
  <cp:lastModifiedBy>Brad Henderson</cp:lastModifiedBy>
  <cp:revision>530</cp:revision>
  <cp:lastPrinted>2000-01-01T05:00:00Z</cp:lastPrinted>
  <dcterms:created xsi:type="dcterms:W3CDTF">2019-05-01T14:58:03Z</dcterms:created>
  <dcterms:modified xsi:type="dcterms:W3CDTF">2019-05-23T18:22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488649</vt:lpwstr>
  </property>
  <property fmtid="{D5CDD505-2E9C-101B-9397-08002B2CF9AE}" pid="4" name="NXPowerLiteSettings">
    <vt:lpwstr>87000AA0054001</vt:lpwstr>
  </property>
  <property fmtid="{D5CDD505-2E9C-101B-9397-08002B2CF9AE}" pid="5" name="NXPowerLiteVersion">
    <vt:lpwstr>D7.1.8</vt:lpwstr>
  </property>
  <property fmtid="{D5CDD505-2E9C-101B-9397-08002B2CF9AE}" pid="6" name="Template Name">
    <vt:lpwstr>16x9</vt:lpwstr>
  </property>
</Properties>
</file>